
<file path=[Content_Types].xml><?xml version="1.0" encoding="utf-8"?>
<Types xmlns="http://schemas.openxmlformats.org/package/2006/content-types">
  <Default Extension="1&amp;auto=format&amp;fit=crop&amp;w=1350&amp;q=80" ContentType="image/jpeg"/>
  <Default Extension="1&amp;auto=format&amp;fit=crop&amp;w=1352&amp;q=80" ContentType="image/jpeg"/>
  <Default Extension="1&amp;auto=format&amp;fit=crop&amp;w=1355&amp;q=80" ContentType="image/jpeg"/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713" r:id="rId4"/>
    <p:sldMasterId id="2147483732" r:id="rId5"/>
    <p:sldMasterId id="2147483744" r:id="rId6"/>
  </p:sldMasterIdLst>
  <p:notesMasterIdLst>
    <p:notesMasterId r:id="rId96"/>
  </p:notesMasterIdLst>
  <p:handoutMasterIdLst>
    <p:handoutMasterId r:id="rId97"/>
  </p:handoutMasterIdLst>
  <p:sldIdLst>
    <p:sldId id="256" r:id="rId7"/>
    <p:sldId id="271" r:id="rId8"/>
    <p:sldId id="400" r:id="rId9"/>
    <p:sldId id="401" r:id="rId10"/>
    <p:sldId id="418" r:id="rId11"/>
    <p:sldId id="412" r:id="rId12"/>
    <p:sldId id="419" r:id="rId13"/>
    <p:sldId id="420" r:id="rId14"/>
    <p:sldId id="421" r:id="rId15"/>
    <p:sldId id="452" r:id="rId16"/>
    <p:sldId id="331" r:id="rId17"/>
    <p:sldId id="422" r:id="rId18"/>
    <p:sldId id="423" r:id="rId19"/>
    <p:sldId id="424" r:id="rId20"/>
    <p:sldId id="425" r:id="rId21"/>
    <p:sldId id="426" r:id="rId22"/>
    <p:sldId id="427" r:id="rId23"/>
    <p:sldId id="430" r:id="rId24"/>
    <p:sldId id="428" r:id="rId25"/>
    <p:sldId id="471" r:id="rId26"/>
    <p:sldId id="437" r:id="rId27"/>
    <p:sldId id="431" r:id="rId28"/>
    <p:sldId id="456" r:id="rId29"/>
    <p:sldId id="432" r:id="rId30"/>
    <p:sldId id="433" r:id="rId31"/>
    <p:sldId id="273" r:id="rId32"/>
    <p:sldId id="264" r:id="rId33"/>
    <p:sldId id="434" r:id="rId34"/>
    <p:sldId id="470" r:id="rId35"/>
    <p:sldId id="416" r:id="rId36"/>
    <p:sldId id="436" r:id="rId37"/>
    <p:sldId id="284" r:id="rId38"/>
    <p:sldId id="438" r:id="rId39"/>
    <p:sldId id="458" r:id="rId40"/>
    <p:sldId id="439" r:id="rId41"/>
    <p:sldId id="457" r:id="rId42"/>
    <p:sldId id="459" r:id="rId43"/>
    <p:sldId id="441" r:id="rId44"/>
    <p:sldId id="435" r:id="rId45"/>
    <p:sldId id="440" r:id="rId46"/>
    <p:sldId id="442" r:id="rId47"/>
    <p:sldId id="409" r:id="rId48"/>
    <p:sldId id="479" r:id="rId49"/>
    <p:sldId id="332" r:id="rId50"/>
    <p:sldId id="333" r:id="rId51"/>
    <p:sldId id="334" r:id="rId52"/>
    <p:sldId id="335" r:id="rId53"/>
    <p:sldId id="337" r:id="rId54"/>
    <p:sldId id="339" r:id="rId55"/>
    <p:sldId id="338" r:id="rId56"/>
    <p:sldId id="391" r:id="rId57"/>
    <p:sldId id="460" r:id="rId58"/>
    <p:sldId id="386" r:id="rId59"/>
    <p:sldId id="397" r:id="rId60"/>
    <p:sldId id="387" r:id="rId61"/>
    <p:sldId id="313" r:id="rId62"/>
    <p:sldId id="314" r:id="rId63"/>
    <p:sldId id="398" r:id="rId64"/>
    <p:sldId id="311" r:id="rId65"/>
    <p:sldId id="388" r:id="rId66"/>
    <p:sldId id="467" r:id="rId67"/>
    <p:sldId id="364" r:id="rId68"/>
    <p:sldId id="363" r:id="rId69"/>
    <p:sldId id="394" r:id="rId70"/>
    <p:sldId id="395" r:id="rId71"/>
    <p:sldId id="383" r:id="rId72"/>
    <p:sldId id="396" r:id="rId73"/>
    <p:sldId id="384" r:id="rId74"/>
    <p:sldId id="443" r:id="rId75"/>
    <p:sldId id="453" r:id="rId76"/>
    <p:sldId id="444" r:id="rId77"/>
    <p:sldId id="454" r:id="rId78"/>
    <p:sldId id="472" r:id="rId79"/>
    <p:sldId id="455" r:id="rId80"/>
    <p:sldId id="461" r:id="rId81"/>
    <p:sldId id="473" r:id="rId82"/>
    <p:sldId id="462" r:id="rId83"/>
    <p:sldId id="474" r:id="rId84"/>
    <p:sldId id="463" r:id="rId85"/>
    <p:sldId id="475" r:id="rId86"/>
    <p:sldId id="464" r:id="rId87"/>
    <p:sldId id="465" r:id="rId88"/>
    <p:sldId id="466" r:id="rId89"/>
    <p:sldId id="476" r:id="rId90"/>
    <p:sldId id="477" r:id="rId91"/>
    <p:sldId id="468" r:id="rId92"/>
    <p:sldId id="469" r:id="rId93"/>
    <p:sldId id="478" r:id="rId94"/>
    <p:sldId id="641" r:id="rId95"/>
  </p:sldIdLst>
  <p:sldSz cx="13442950" cy="7561263"/>
  <p:notesSz cx="6858000" cy="9144000"/>
  <p:embeddedFontLst>
    <p:embeddedFont>
      <p:font typeface="Calibri" panose="020F0502020204030204" pitchFamily="34" charset="0"/>
      <p:regular r:id="rId98"/>
      <p:bold r:id="rId99"/>
      <p:italic r:id="rId100"/>
      <p:boldItalic r:id="rId101"/>
    </p:embeddedFont>
    <p:embeddedFont>
      <p:font typeface="Calibri Light" panose="020F0302020204030204" pitchFamily="34" charset="0"/>
      <p:regular r:id="rId102"/>
      <p:italic r:id="rId103"/>
    </p:embeddedFont>
  </p:embeddedFontLst>
  <p:custDataLst>
    <p:tags r:id="rId104"/>
  </p:custDataLst>
  <p:defaultTextStyle>
    <a:defPPr>
      <a:defRPr lang="de-CH"/>
    </a:defPPr>
    <a:lvl1pPr algn="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ullmann, Matthias" initials="CM" lastIdx="1" clrIdx="0">
    <p:extLst>
      <p:ext uri="{19B8F6BF-5375-455C-9EA6-DF929625EA0E}">
        <p15:presenceInfo xmlns:p15="http://schemas.microsoft.com/office/powerpoint/2012/main" userId="S::matthias.cullmann@baloise.com::bb3990f6-40c5-4190-be75-ed93c34a882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854"/>
    <a:srgbClr val="003479"/>
    <a:srgbClr val="E900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F18125-8990-4072-B01F-070E466608BD}" v="49" dt="2021-04-20T14:51:40.5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824" autoAdjust="0"/>
    <p:restoredTop sz="94660"/>
  </p:normalViewPr>
  <p:slideViewPr>
    <p:cSldViewPr snapToGrid="0">
      <p:cViewPr varScale="1">
        <p:scale>
          <a:sx n="96" d="100"/>
          <a:sy n="96" d="100"/>
        </p:scale>
        <p:origin x="186" y="84"/>
      </p:cViewPr>
      <p:guideLst>
        <p:guide orient="horz" pos="2381"/>
        <p:guide pos="423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viewProps" Target="viewProps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font" Target="fonts/font5.fntdata"/><Relationship Id="rId11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font" Target="fonts/font3.fntdata"/><Relationship Id="rId105" Type="http://schemas.openxmlformats.org/officeDocument/2006/relationships/commentAuthors" Target="commentAuthor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font" Target="fonts/font1.fntdata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font" Target="fonts/font6.fntdata"/><Relationship Id="rId108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presProps" Target="presProp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font" Target="fonts/font2.fntdata"/><Relationship Id="rId101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tableStyles" Target="tableStyles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handoutMaster" Target="handoutMasters/handoutMaster1.xml"/><Relationship Id="rId104" Type="http://schemas.openxmlformats.org/officeDocument/2006/relationships/tags" Target="tags/tag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PROD</c:v>
                </c:pt>
              </c:strCache>
            </c:strRef>
          </c:tx>
          <c:invertIfNegative val="0"/>
          <c:cat>
            <c:numRef>
              <c:f>Tabelle1!$A$2:$A$7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95</c:v>
                </c:pt>
                <c:pt idx="1">
                  <c:v>68</c:v>
                </c:pt>
                <c:pt idx="2">
                  <c:v>81</c:v>
                </c:pt>
                <c:pt idx="3">
                  <c:v>171</c:v>
                </c:pt>
                <c:pt idx="4">
                  <c:v>234</c:v>
                </c:pt>
                <c:pt idx="5">
                  <c:v>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D8-4AFB-934C-49F823FA42A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LL</c:v>
                </c:pt>
              </c:strCache>
            </c:strRef>
          </c:tx>
          <c:invertIfNegative val="0"/>
          <c:cat>
            <c:numRef>
              <c:f>Tabelle1!$A$2:$A$7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197</c:v>
                </c:pt>
                <c:pt idx="1">
                  <c:v>197</c:v>
                </c:pt>
                <c:pt idx="2">
                  <c:v>285</c:v>
                </c:pt>
                <c:pt idx="3">
                  <c:v>829</c:v>
                </c:pt>
                <c:pt idx="4">
                  <c:v>1368</c:v>
                </c:pt>
                <c:pt idx="5">
                  <c:v>2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D8-4AFB-934C-49F823FA42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79950336"/>
        <c:axId val="179951872"/>
        <c:axId val="0"/>
      </c:bar3DChart>
      <c:catAx>
        <c:axId val="1799503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79951872"/>
        <c:crosses val="autoZero"/>
        <c:auto val="1"/>
        <c:lblAlgn val="ctr"/>
        <c:lblOffset val="100"/>
        <c:noMultiLvlLbl val="0"/>
      </c:catAx>
      <c:valAx>
        <c:axId val="1799518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79950336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23</c:f>
              <c:numCache>
                <c:formatCode>m/d/yyyy</c:formatCode>
                <c:ptCount val="2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</c:numCache>
            </c:numRef>
          </c:cat>
          <c:val>
            <c:numRef>
              <c:f>Tabelle1!$B$2:$B$23</c:f>
              <c:numCache>
                <c:formatCode>General</c:formatCode>
                <c:ptCount val="22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8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8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CC-4A61-99E1-FFE36BFCDFA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Tabelle1!$A$2:$A$23</c:f>
              <c:numCache>
                <c:formatCode>m/d/yyyy</c:formatCode>
                <c:ptCount val="2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</c:numCache>
            </c:numRef>
          </c:cat>
          <c:val>
            <c:numRef>
              <c:f>Tabelle1!$C$2:$C$23</c:f>
              <c:numCache>
                <c:formatCode>General</c:formatCode>
                <c:ptCount val="22"/>
              </c:numCache>
            </c:numRef>
          </c:val>
          <c:extLst>
            <c:ext xmlns:c16="http://schemas.microsoft.com/office/drawing/2014/chart" uri="{C3380CC4-5D6E-409C-BE32-E72D297353CC}">
              <c16:uniqueId val="{00000001-B7CC-4A61-99E1-FFE36BFCDF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45154736"/>
        <c:axId val="1245155064"/>
      </c:areaChart>
      <c:dateAx>
        <c:axId val="124515473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245155064"/>
        <c:crosses val="autoZero"/>
        <c:auto val="1"/>
        <c:lblOffset val="100"/>
        <c:baseTimeUnit val="days"/>
      </c:dateAx>
      <c:valAx>
        <c:axId val="12451550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2451547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23</c:f>
              <c:numCache>
                <c:formatCode>m/d/yyyy</c:formatCode>
                <c:ptCount val="2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</c:numCache>
            </c:numRef>
          </c:cat>
          <c:val>
            <c:numRef>
              <c:f>Tabelle1!$B$2:$B$23</c:f>
              <c:numCache>
                <c:formatCode>General</c:formatCode>
                <c:ptCount val="22"/>
                <c:pt idx="0">
                  <c:v>10</c:v>
                </c:pt>
                <c:pt idx="1">
                  <c:v>8</c:v>
                </c:pt>
                <c:pt idx="2">
                  <c:v>9</c:v>
                </c:pt>
                <c:pt idx="3">
                  <c:v>7</c:v>
                </c:pt>
                <c:pt idx="4">
                  <c:v>6</c:v>
                </c:pt>
                <c:pt idx="5">
                  <c:v>4</c:v>
                </c:pt>
                <c:pt idx="6">
                  <c:v>4</c:v>
                </c:pt>
                <c:pt idx="7">
                  <c:v>5</c:v>
                </c:pt>
                <c:pt idx="8">
                  <c:v>7</c:v>
                </c:pt>
                <c:pt idx="9">
                  <c:v>8</c:v>
                </c:pt>
                <c:pt idx="10">
                  <c:v>6</c:v>
                </c:pt>
                <c:pt idx="11">
                  <c:v>6</c:v>
                </c:pt>
                <c:pt idx="12">
                  <c:v>5</c:v>
                </c:pt>
                <c:pt idx="13">
                  <c:v>6</c:v>
                </c:pt>
                <c:pt idx="14">
                  <c:v>5</c:v>
                </c:pt>
                <c:pt idx="15">
                  <c:v>6</c:v>
                </c:pt>
                <c:pt idx="16">
                  <c:v>7</c:v>
                </c:pt>
                <c:pt idx="17">
                  <c:v>6</c:v>
                </c:pt>
                <c:pt idx="18">
                  <c:v>8</c:v>
                </c:pt>
                <c:pt idx="19">
                  <c:v>11</c:v>
                </c:pt>
                <c:pt idx="20">
                  <c:v>11</c:v>
                </c:pt>
                <c:pt idx="2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F7-43A0-8B55-F037A942EB6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Tabelle1!$A$2:$A$23</c:f>
              <c:numCache>
                <c:formatCode>m/d/yyyy</c:formatCode>
                <c:ptCount val="2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</c:numCache>
            </c:numRef>
          </c:cat>
          <c:val>
            <c:numRef>
              <c:f>Tabelle1!$C$2:$C$23</c:f>
              <c:numCache>
                <c:formatCode>General</c:formatCode>
                <c:ptCount val="22"/>
              </c:numCache>
            </c:numRef>
          </c:val>
          <c:extLst>
            <c:ext xmlns:c16="http://schemas.microsoft.com/office/drawing/2014/chart" uri="{C3380CC4-5D6E-409C-BE32-E72D297353CC}">
              <c16:uniqueId val="{00000001-FCF7-43A0-8B55-F037A942EB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45154736"/>
        <c:axId val="1245155064"/>
      </c:areaChart>
      <c:dateAx>
        <c:axId val="124515473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245155064"/>
        <c:crosses val="autoZero"/>
        <c:auto val="1"/>
        <c:lblOffset val="100"/>
        <c:baseTimeUnit val="days"/>
      </c:dateAx>
      <c:valAx>
        <c:axId val="12451550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2451547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766175-CB4E-406C-8231-C68D3E76B91B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925EECC-2C18-4B9A-AE63-C4BC19605C59}">
      <dgm:prSet phldrT="[Text]" custT="1"/>
      <dgm:spPr/>
      <dgm:t>
        <a:bodyPr/>
        <a:lstStyle/>
        <a:p>
          <a:r>
            <a:rPr lang="de-CH" sz="1400" b="0" i="0" err="1">
              <a:solidFill>
                <a:schemeClr val="tx1"/>
              </a:solidFill>
            </a:rPr>
            <a:t>Distribute</a:t>
          </a:r>
          <a:r>
            <a:rPr lang="de-CH" sz="1400" b="0" i="0">
              <a:solidFill>
                <a:schemeClr val="tx1"/>
              </a:solidFill>
            </a:rPr>
            <a:t> </a:t>
          </a:r>
          <a:r>
            <a:rPr lang="de-CH" sz="1400" b="0" i="0" err="1">
              <a:solidFill>
                <a:schemeClr val="tx1"/>
              </a:solidFill>
            </a:rPr>
            <a:t>copies</a:t>
          </a:r>
          <a:r>
            <a:rPr lang="de-CH" sz="1400" b="0" i="0">
              <a:solidFill>
                <a:schemeClr val="tx1"/>
              </a:solidFill>
            </a:rPr>
            <a:t> </a:t>
          </a:r>
          <a:r>
            <a:rPr lang="de-CH" sz="1400" b="0" i="0" err="1">
              <a:solidFill>
                <a:schemeClr val="tx1"/>
              </a:solidFill>
            </a:rPr>
            <a:t>of</a:t>
          </a:r>
          <a:r>
            <a:rPr lang="de-CH" sz="1400" b="0" i="0">
              <a:solidFill>
                <a:schemeClr val="tx1"/>
              </a:solidFill>
            </a:rPr>
            <a:t> </a:t>
          </a:r>
          <a:r>
            <a:rPr lang="de-CH" sz="1400" b="0" i="0" err="1">
              <a:solidFill>
                <a:schemeClr val="tx1"/>
              </a:solidFill>
            </a:rPr>
            <a:t>your</a:t>
          </a:r>
          <a:r>
            <a:rPr lang="de-CH" sz="1400" b="0" i="0">
              <a:solidFill>
                <a:schemeClr val="tx1"/>
              </a:solidFill>
            </a:rPr>
            <a:t> </a:t>
          </a:r>
          <a:r>
            <a:rPr lang="de-CH" sz="1400" b="0" i="0" err="1">
              <a:solidFill>
                <a:schemeClr val="tx1"/>
              </a:solidFill>
            </a:rPr>
            <a:t>modifications</a:t>
          </a:r>
          <a:endParaRPr lang="en-GB" sz="1400" b="0" i="0">
            <a:solidFill>
              <a:schemeClr val="tx1"/>
            </a:solidFill>
          </a:endParaRPr>
        </a:p>
      </dgm:t>
    </dgm:pt>
    <dgm:pt modelId="{25F1D338-B380-4128-88F6-2B4BA4412EE8}" type="parTrans" cxnId="{1F20F1EF-D6BF-4125-9E09-B0EC7499A872}">
      <dgm:prSet/>
      <dgm:spPr/>
      <dgm:t>
        <a:bodyPr/>
        <a:lstStyle/>
        <a:p>
          <a:endParaRPr lang="en-GB"/>
        </a:p>
      </dgm:t>
    </dgm:pt>
    <dgm:pt modelId="{77623CFD-8B9B-4230-A447-3BA9A97A811F}" type="sibTrans" cxnId="{1F20F1EF-D6BF-4125-9E09-B0EC7499A872}">
      <dgm:prSet/>
      <dgm:spPr/>
      <dgm:t>
        <a:bodyPr/>
        <a:lstStyle/>
        <a:p>
          <a:endParaRPr lang="en-GB"/>
        </a:p>
      </dgm:t>
    </dgm:pt>
    <dgm:pt modelId="{1131E686-AF80-432C-A12D-C96CF128FC61}">
      <dgm:prSet phldrT="[Text]" custT="1"/>
      <dgm:spPr/>
      <dgm:t>
        <a:bodyPr/>
        <a:lstStyle/>
        <a:p>
          <a:r>
            <a:rPr lang="de-CH" sz="1400" b="0" i="0" err="1">
              <a:solidFill>
                <a:schemeClr val="tx1"/>
              </a:solidFill>
            </a:rPr>
            <a:t>Redistribute</a:t>
          </a:r>
          <a:r>
            <a:rPr lang="de-CH" sz="1400" b="0" i="0">
              <a:solidFill>
                <a:schemeClr val="tx1"/>
              </a:solidFill>
            </a:rPr>
            <a:t> </a:t>
          </a:r>
          <a:r>
            <a:rPr lang="de-CH" sz="1400" b="0" i="0" err="1">
              <a:solidFill>
                <a:schemeClr val="tx1"/>
              </a:solidFill>
            </a:rPr>
            <a:t>copies</a:t>
          </a:r>
          <a:endParaRPr lang="en-GB" sz="1400" b="0" i="0">
            <a:solidFill>
              <a:schemeClr val="tx1"/>
            </a:solidFill>
          </a:endParaRPr>
        </a:p>
      </dgm:t>
    </dgm:pt>
    <dgm:pt modelId="{DC3F005C-8B57-48C1-A4F3-1248E46DD6F2}" type="parTrans" cxnId="{3B9830DB-EB3F-4735-A401-F6BC1F7A0F65}">
      <dgm:prSet/>
      <dgm:spPr/>
      <dgm:t>
        <a:bodyPr/>
        <a:lstStyle/>
        <a:p>
          <a:endParaRPr lang="en-GB"/>
        </a:p>
      </dgm:t>
    </dgm:pt>
    <dgm:pt modelId="{DD0F17D3-0731-4F35-A56A-A42A2A84FAEA}" type="sibTrans" cxnId="{3B9830DB-EB3F-4735-A401-F6BC1F7A0F65}">
      <dgm:prSet/>
      <dgm:spPr/>
      <dgm:t>
        <a:bodyPr/>
        <a:lstStyle/>
        <a:p>
          <a:endParaRPr lang="en-GB"/>
        </a:p>
      </dgm:t>
    </dgm:pt>
    <dgm:pt modelId="{E5280097-0242-4B74-90EE-75F4910E60E6}">
      <dgm:prSet phldrT="[Text]" custT="1"/>
      <dgm:spPr/>
      <dgm:t>
        <a:bodyPr/>
        <a:lstStyle/>
        <a:p>
          <a:r>
            <a:rPr lang="en-GB" sz="1400" b="0" i="0">
              <a:solidFill>
                <a:schemeClr val="tx1"/>
              </a:solidFill>
            </a:rPr>
            <a:t>study how it works, and change it </a:t>
          </a:r>
        </a:p>
      </dgm:t>
    </dgm:pt>
    <dgm:pt modelId="{E1DF8330-62AD-4CD9-92F9-342889E7B4AE}" type="parTrans" cxnId="{FFDA0BB9-14DD-45F5-9329-E1D679BBDEE1}">
      <dgm:prSet/>
      <dgm:spPr/>
      <dgm:t>
        <a:bodyPr/>
        <a:lstStyle/>
        <a:p>
          <a:endParaRPr lang="en-GB"/>
        </a:p>
      </dgm:t>
    </dgm:pt>
    <dgm:pt modelId="{15AA4248-18DA-48B6-B693-CE74E4D7C96D}" type="sibTrans" cxnId="{FFDA0BB9-14DD-45F5-9329-E1D679BBDEE1}">
      <dgm:prSet/>
      <dgm:spPr/>
      <dgm:t>
        <a:bodyPr/>
        <a:lstStyle/>
        <a:p>
          <a:endParaRPr lang="en-GB"/>
        </a:p>
      </dgm:t>
    </dgm:pt>
    <dgm:pt modelId="{317985F0-D2B1-431A-A364-E6E36416E5E3}">
      <dgm:prSet phldrT="[Text]" custT="1"/>
      <dgm:spPr/>
      <dgm:t>
        <a:bodyPr/>
        <a:lstStyle/>
        <a:p>
          <a:r>
            <a:rPr lang="en-GB" sz="1400" b="0" i="0">
              <a:solidFill>
                <a:schemeClr val="tx1"/>
              </a:solidFill>
            </a:rPr>
            <a:t>Use it as you wish for any purpose.</a:t>
          </a:r>
        </a:p>
      </dgm:t>
    </dgm:pt>
    <dgm:pt modelId="{D5C7D794-A7AC-4482-B542-F9B5EF477CA5}" type="parTrans" cxnId="{93514AB7-9D02-41E9-B4DB-9C3B63240443}">
      <dgm:prSet/>
      <dgm:spPr/>
      <dgm:t>
        <a:bodyPr/>
        <a:lstStyle/>
        <a:p>
          <a:endParaRPr lang="en-GB"/>
        </a:p>
      </dgm:t>
    </dgm:pt>
    <dgm:pt modelId="{A023699A-1AB9-41BB-8037-A79A8B53D01C}" type="sibTrans" cxnId="{93514AB7-9D02-41E9-B4DB-9C3B63240443}">
      <dgm:prSet/>
      <dgm:spPr/>
      <dgm:t>
        <a:bodyPr/>
        <a:lstStyle/>
        <a:p>
          <a:endParaRPr lang="en-GB"/>
        </a:p>
      </dgm:t>
    </dgm:pt>
    <dgm:pt modelId="{D98C499F-9B97-41AE-98A1-B031237B954B}" type="pres">
      <dgm:prSet presAssocID="{A6766175-CB4E-406C-8231-C68D3E76B91B}" presName="Name0" presStyleCnt="0">
        <dgm:presLayoutVars>
          <dgm:chMax val="7"/>
          <dgm:resizeHandles val="exact"/>
        </dgm:presLayoutVars>
      </dgm:prSet>
      <dgm:spPr/>
    </dgm:pt>
    <dgm:pt modelId="{3401A2C1-25EC-454F-9E49-A8CFF281FB2F}" type="pres">
      <dgm:prSet presAssocID="{A6766175-CB4E-406C-8231-C68D3E76B91B}" presName="comp1" presStyleCnt="0"/>
      <dgm:spPr/>
    </dgm:pt>
    <dgm:pt modelId="{A19F89AF-6110-409F-B06D-F299A6064D14}" type="pres">
      <dgm:prSet presAssocID="{A6766175-CB4E-406C-8231-C68D3E76B91B}" presName="circle1" presStyleLbl="node1" presStyleIdx="0" presStyleCnt="4"/>
      <dgm:spPr/>
    </dgm:pt>
    <dgm:pt modelId="{FC950A98-6557-48EE-90F9-74D59D2112FA}" type="pres">
      <dgm:prSet presAssocID="{A6766175-CB4E-406C-8231-C68D3E76B91B}" presName="c1text" presStyleLbl="node1" presStyleIdx="0" presStyleCnt="4">
        <dgm:presLayoutVars>
          <dgm:bulletEnabled val="1"/>
        </dgm:presLayoutVars>
      </dgm:prSet>
      <dgm:spPr/>
    </dgm:pt>
    <dgm:pt modelId="{2A6A9EBB-A0C0-4459-B0D6-4A814818857C}" type="pres">
      <dgm:prSet presAssocID="{A6766175-CB4E-406C-8231-C68D3E76B91B}" presName="comp2" presStyleCnt="0"/>
      <dgm:spPr/>
    </dgm:pt>
    <dgm:pt modelId="{3CBBD214-1CB7-485E-81D3-43CF03251712}" type="pres">
      <dgm:prSet presAssocID="{A6766175-CB4E-406C-8231-C68D3E76B91B}" presName="circle2" presStyleLbl="node1" presStyleIdx="1" presStyleCnt="4"/>
      <dgm:spPr/>
    </dgm:pt>
    <dgm:pt modelId="{D1C3EBA7-CA16-4192-B042-F3AE413D01C6}" type="pres">
      <dgm:prSet presAssocID="{A6766175-CB4E-406C-8231-C68D3E76B91B}" presName="c2text" presStyleLbl="node1" presStyleIdx="1" presStyleCnt="4">
        <dgm:presLayoutVars>
          <dgm:bulletEnabled val="1"/>
        </dgm:presLayoutVars>
      </dgm:prSet>
      <dgm:spPr/>
    </dgm:pt>
    <dgm:pt modelId="{9E463FCB-AD8A-4FE8-A087-74CE44FCDEDE}" type="pres">
      <dgm:prSet presAssocID="{A6766175-CB4E-406C-8231-C68D3E76B91B}" presName="comp3" presStyleCnt="0"/>
      <dgm:spPr/>
    </dgm:pt>
    <dgm:pt modelId="{B0FAD5D1-4DF0-4DB6-8413-8F4AF629BAF1}" type="pres">
      <dgm:prSet presAssocID="{A6766175-CB4E-406C-8231-C68D3E76B91B}" presName="circle3" presStyleLbl="node1" presStyleIdx="2" presStyleCnt="4"/>
      <dgm:spPr/>
    </dgm:pt>
    <dgm:pt modelId="{C241DA8B-F674-4531-92F9-F4E9F0B9F30D}" type="pres">
      <dgm:prSet presAssocID="{A6766175-CB4E-406C-8231-C68D3E76B91B}" presName="c3text" presStyleLbl="node1" presStyleIdx="2" presStyleCnt="4">
        <dgm:presLayoutVars>
          <dgm:bulletEnabled val="1"/>
        </dgm:presLayoutVars>
      </dgm:prSet>
      <dgm:spPr/>
    </dgm:pt>
    <dgm:pt modelId="{AAA9B798-6E87-4450-996F-5C89DF4AC9A1}" type="pres">
      <dgm:prSet presAssocID="{A6766175-CB4E-406C-8231-C68D3E76B91B}" presName="comp4" presStyleCnt="0"/>
      <dgm:spPr/>
    </dgm:pt>
    <dgm:pt modelId="{35AB5069-0D16-47FF-B607-44FA1AA2B927}" type="pres">
      <dgm:prSet presAssocID="{A6766175-CB4E-406C-8231-C68D3E76B91B}" presName="circle4" presStyleLbl="node1" presStyleIdx="3" presStyleCnt="4"/>
      <dgm:spPr/>
    </dgm:pt>
    <dgm:pt modelId="{12B7E616-B94E-4925-B070-9BCE2930C428}" type="pres">
      <dgm:prSet presAssocID="{A6766175-CB4E-406C-8231-C68D3E76B91B}" presName="c4text" presStyleLbl="node1" presStyleIdx="3" presStyleCnt="4">
        <dgm:presLayoutVars>
          <dgm:bulletEnabled val="1"/>
        </dgm:presLayoutVars>
      </dgm:prSet>
      <dgm:spPr/>
    </dgm:pt>
  </dgm:ptLst>
  <dgm:cxnLst>
    <dgm:cxn modelId="{8FBF6A14-0615-4642-9124-457590964F64}" type="presOf" srcId="{A6766175-CB4E-406C-8231-C68D3E76B91B}" destId="{D98C499F-9B97-41AE-98A1-B031237B954B}" srcOrd="0" destOrd="0" presId="urn:microsoft.com/office/officeart/2005/8/layout/venn2"/>
    <dgm:cxn modelId="{EB463F40-AE65-4D95-9D35-31D7DC1016CD}" type="presOf" srcId="{317985F0-D2B1-431A-A364-E6E36416E5E3}" destId="{35AB5069-0D16-47FF-B607-44FA1AA2B927}" srcOrd="0" destOrd="0" presId="urn:microsoft.com/office/officeart/2005/8/layout/venn2"/>
    <dgm:cxn modelId="{1FBC5765-B7B5-4D6C-B32C-40B1A2148F17}" type="presOf" srcId="{317985F0-D2B1-431A-A364-E6E36416E5E3}" destId="{12B7E616-B94E-4925-B070-9BCE2930C428}" srcOrd="1" destOrd="0" presId="urn:microsoft.com/office/officeart/2005/8/layout/venn2"/>
    <dgm:cxn modelId="{E43BAD80-7001-4421-9D72-AD732C456402}" type="presOf" srcId="{E5280097-0242-4B74-90EE-75F4910E60E6}" destId="{B0FAD5D1-4DF0-4DB6-8413-8F4AF629BAF1}" srcOrd="0" destOrd="0" presId="urn:microsoft.com/office/officeart/2005/8/layout/venn2"/>
    <dgm:cxn modelId="{73B3E585-FB25-43CF-959F-41107FCAC2B2}" type="presOf" srcId="{1131E686-AF80-432C-A12D-C96CF128FC61}" destId="{3CBBD214-1CB7-485E-81D3-43CF03251712}" srcOrd="0" destOrd="0" presId="urn:microsoft.com/office/officeart/2005/8/layout/venn2"/>
    <dgm:cxn modelId="{5832E4AA-D97C-47BE-BC85-2EB3A024B73C}" type="presOf" srcId="{E5280097-0242-4B74-90EE-75F4910E60E6}" destId="{C241DA8B-F674-4531-92F9-F4E9F0B9F30D}" srcOrd="1" destOrd="0" presId="urn:microsoft.com/office/officeart/2005/8/layout/venn2"/>
    <dgm:cxn modelId="{93514AB7-9D02-41E9-B4DB-9C3B63240443}" srcId="{A6766175-CB4E-406C-8231-C68D3E76B91B}" destId="{317985F0-D2B1-431A-A364-E6E36416E5E3}" srcOrd="3" destOrd="0" parTransId="{D5C7D794-A7AC-4482-B542-F9B5EF477CA5}" sibTransId="{A023699A-1AB9-41BB-8037-A79A8B53D01C}"/>
    <dgm:cxn modelId="{FFDA0BB9-14DD-45F5-9329-E1D679BBDEE1}" srcId="{A6766175-CB4E-406C-8231-C68D3E76B91B}" destId="{E5280097-0242-4B74-90EE-75F4910E60E6}" srcOrd="2" destOrd="0" parTransId="{E1DF8330-62AD-4CD9-92F9-342889E7B4AE}" sibTransId="{15AA4248-18DA-48B6-B693-CE74E4D7C96D}"/>
    <dgm:cxn modelId="{E39342C4-C23A-4976-B1EA-989A33693F56}" type="presOf" srcId="{F925EECC-2C18-4B9A-AE63-C4BC19605C59}" destId="{FC950A98-6557-48EE-90F9-74D59D2112FA}" srcOrd="1" destOrd="0" presId="urn:microsoft.com/office/officeart/2005/8/layout/venn2"/>
    <dgm:cxn modelId="{3B9830DB-EB3F-4735-A401-F6BC1F7A0F65}" srcId="{A6766175-CB4E-406C-8231-C68D3E76B91B}" destId="{1131E686-AF80-432C-A12D-C96CF128FC61}" srcOrd="1" destOrd="0" parTransId="{DC3F005C-8B57-48C1-A4F3-1248E46DD6F2}" sibTransId="{DD0F17D3-0731-4F35-A56A-A42A2A84FAEA}"/>
    <dgm:cxn modelId="{996F8CE0-93CB-48CE-A877-183BC7704349}" type="presOf" srcId="{F925EECC-2C18-4B9A-AE63-C4BC19605C59}" destId="{A19F89AF-6110-409F-B06D-F299A6064D14}" srcOrd="0" destOrd="0" presId="urn:microsoft.com/office/officeart/2005/8/layout/venn2"/>
    <dgm:cxn modelId="{1B7E20E6-0B5B-4242-B02F-25EDC60467EE}" type="presOf" srcId="{1131E686-AF80-432C-A12D-C96CF128FC61}" destId="{D1C3EBA7-CA16-4192-B042-F3AE413D01C6}" srcOrd="1" destOrd="0" presId="urn:microsoft.com/office/officeart/2005/8/layout/venn2"/>
    <dgm:cxn modelId="{1F20F1EF-D6BF-4125-9E09-B0EC7499A872}" srcId="{A6766175-CB4E-406C-8231-C68D3E76B91B}" destId="{F925EECC-2C18-4B9A-AE63-C4BC19605C59}" srcOrd="0" destOrd="0" parTransId="{25F1D338-B380-4128-88F6-2B4BA4412EE8}" sibTransId="{77623CFD-8B9B-4230-A447-3BA9A97A811F}"/>
    <dgm:cxn modelId="{78CC95A4-BF41-4588-B226-F0AEFCF0FE9E}" type="presParOf" srcId="{D98C499F-9B97-41AE-98A1-B031237B954B}" destId="{3401A2C1-25EC-454F-9E49-A8CFF281FB2F}" srcOrd="0" destOrd="0" presId="urn:microsoft.com/office/officeart/2005/8/layout/venn2"/>
    <dgm:cxn modelId="{DD428C11-F88A-4ED5-9116-951417431C89}" type="presParOf" srcId="{3401A2C1-25EC-454F-9E49-A8CFF281FB2F}" destId="{A19F89AF-6110-409F-B06D-F299A6064D14}" srcOrd="0" destOrd="0" presId="urn:microsoft.com/office/officeart/2005/8/layout/venn2"/>
    <dgm:cxn modelId="{9C262851-2FA7-4D5B-AF84-0B22AC29AE71}" type="presParOf" srcId="{3401A2C1-25EC-454F-9E49-A8CFF281FB2F}" destId="{FC950A98-6557-48EE-90F9-74D59D2112FA}" srcOrd="1" destOrd="0" presId="urn:microsoft.com/office/officeart/2005/8/layout/venn2"/>
    <dgm:cxn modelId="{D38BAD4A-6441-4EB4-8401-0763B4A3F18F}" type="presParOf" srcId="{D98C499F-9B97-41AE-98A1-B031237B954B}" destId="{2A6A9EBB-A0C0-4459-B0D6-4A814818857C}" srcOrd="1" destOrd="0" presId="urn:microsoft.com/office/officeart/2005/8/layout/venn2"/>
    <dgm:cxn modelId="{0F53D18B-9F4C-4CC1-95BE-58B1884D7CE3}" type="presParOf" srcId="{2A6A9EBB-A0C0-4459-B0D6-4A814818857C}" destId="{3CBBD214-1CB7-485E-81D3-43CF03251712}" srcOrd="0" destOrd="0" presId="urn:microsoft.com/office/officeart/2005/8/layout/venn2"/>
    <dgm:cxn modelId="{3D6F2719-3C77-4F4E-B677-67A6FE804F6E}" type="presParOf" srcId="{2A6A9EBB-A0C0-4459-B0D6-4A814818857C}" destId="{D1C3EBA7-CA16-4192-B042-F3AE413D01C6}" srcOrd="1" destOrd="0" presId="urn:microsoft.com/office/officeart/2005/8/layout/venn2"/>
    <dgm:cxn modelId="{3A66F455-D6A1-4B51-8106-F31A27C3B574}" type="presParOf" srcId="{D98C499F-9B97-41AE-98A1-B031237B954B}" destId="{9E463FCB-AD8A-4FE8-A087-74CE44FCDEDE}" srcOrd="2" destOrd="0" presId="urn:microsoft.com/office/officeart/2005/8/layout/venn2"/>
    <dgm:cxn modelId="{B8B231FE-3295-4AF0-8002-C8826261DE8D}" type="presParOf" srcId="{9E463FCB-AD8A-4FE8-A087-74CE44FCDEDE}" destId="{B0FAD5D1-4DF0-4DB6-8413-8F4AF629BAF1}" srcOrd="0" destOrd="0" presId="urn:microsoft.com/office/officeart/2005/8/layout/venn2"/>
    <dgm:cxn modelId="{1068925D-FA1C-474C-BCC5-DEC053D7F250}" type="presParOf" srcId="{9E463FCB-AD8A-4FE8-A087-74CE44FCDEDE}" destId="{C241DA8B-F674-4531-92F9-F4E9F0B9F30D}" srcOrd="1" destOrd="0" presId="urn:microsoft.com/office/officeart/2005/8/layout/venn2"/>
    <dgm:cxn modelId="{BDA6F2C6-B301-42E8-9E77-553F79F35DC3}" type="presParOf" srcId="{D98C499F-9B97-41AE-98A1-B031237B954B}" destId="{AAA9B798-6E87-4450-996F-5C89DF4AC9A1}" srcOrd="3" destOrd="0" presId="urn:microsoft.com/office/officeart/2005/8/layout/venn2"/>
    <dgm:cxn modelId="{DB1EB9CC-AD5C-46ED-AC38-B308F9E0F20E}" type="presParOf" srcId="{AAA9B798-6E87-4450-996F-5C89DF4AC9A1}" destId="{35AB5069-0D16-47FF-B607-44FA1AA2B927}" srcOrd="0" destOrd="0" presId="urn:microsoft.com/office/officeart/2005/8/layout/venn2"/>
    <dgm:cxn modelId="{79201EF1-FE93-43CB-90E1-146368A978F7}" type="presParOf" srcId="{AAA9B798-6E87-4450-996F-5C89DF4AC9A1}" destId="{12B7E616-B94E-4925-B070-9BCE2930C428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9F89AF-6110-409F-B06D-F299A6064D14}">
      <dsp:nvSpPr>
        <dsp:cNvPr id="0" name=""/>
        <dsp:cNvSpPr/>
      </dsp:nvSpPr>
      <dsp:spPr>
        <a:xfrm>
          <a:off x="1530086" y="0"/>
          <a:ext cx="5214936" cy="521493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400" b="0" i="0" kern="1200" err="1">
              <a:solidFill>
                <a:schemeClr val="tx1"/>
              </a:solidFill>
            </a:rPr>
            <a:t>Distribute</a:t>
          </a:r>
          <a:r>
            <a:rPr lang="de-CH" sz="1400" b="0" i="0" kern="1200">
              <a:solidFill>
                <a:schemeClr val="tx1"/>
              </a:solidFill>
            </a:rPr>
            <a:t> </a:t>
          </a:r>
          <a:r>
            <a:rPr lang="de-CH" sz="1400" b="0" i="0" kern="1200" err="1">
              <a:solidFill>
                <a:schemeClr val="tx1"/>
              </a:solidFill>
            </a:rPr>
            <a:t>copies</a:t>
          </a:r>
          <a:r>
            <a:rPr lang="de-CH" sz="1400" b="0" i="0" kern="1200">
              <a:solidFill>
                <a:schemeClr val="tx1"/>
              </a:solidFill>
            </a:rPr>
            <a:t> </a:t>
          </a:r>
          <a:r>
            <a:rPr lang="de-CH" sz="1400" b="0" i="0" kern="1200" err="1">
              <a:solidFill>
                <a:schemeClr val="tx1"/>
              </a:solidFill>
            </a:rPr>
            <a:t>of</a:t>
          </a:r>
          <a:r>
            <a:rPr lang="de-CH" sz="1400" b="0" i="0" kern="1200">
              <a:solidFill>
                <a:schemeClr val="tx1"/>
              </a:solidFill>
            </a:rPr>
            <a:t> </a:t>
          </a:r>
          <a:r>
            <a:rPr lang="de-CH" sz="1400" b="0" i="0" kern="1200" err="1">
              <a:solidFill>
                <a:schemeClr val="tx1"/>
              </a:solidFill>
            </a:rPr>
            <a:t>your</a:t>
          </a:r>
          <a:r>
            <a:rPr lang="de-CH" sz="1400" b="0" i="0" kern="1200">
              <a:solidFill>
                <a:schemeClr val="tx1"/>
              </a:solidFill>
            </a:rPr>
            <a:t> </a:t>
          </a:r>
          <a:r>
            <a:rPr lang="de-CH" sz="1400" b="0" i="0" kern="1200" err="1">
              <a:solidFill>
                <a:schemeClr val="tx1"/>
              </a:solidFill>
            </a:rPr>
            <a:t>modifications</a:t>
          </a:r>
          <a:endParaRPr lang="en-GB" sz="1400" b="0" i="0" kern="1200">
            <a:solidFill>
              <a:schemeClr val="tx1"/>
            </a:solidFill>
          </a:endParaRPr>
        </a:p>
      </dsp:txBody>
      <dsp:txXfrm>
        <a:off x="3408506" y="260746"/>
        <a:ext cx="1458096" cy="782240"/>
      </dsp:txXfrm>
    </dsp:sp>
    <dsp:sp modelId="{3CBBD214-1CB7-485E-81D3-43CF03251712}">
      <dsp:nvSpPr>
        <dsp:cNvPr id="0" name=""/>
        <dsp:cNvSpPr/>
      </dsp:nvSpPr>
      <dsp:spPr>
        <a:xfrm>
          <a:off x="2051579" y="1042987"/>
          <a:ext cx="4171949" cy="417194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400" b="0" i="0" kern="1200" err="1">
              <a:solidFill>
                <a:schemeClr val="tx1"/>
              </a:solidFill>
            </a:rPr>
            <a:t>Redistribute</a:t>
          </a:r>
          <a:r>
            <a:rPr lang="de-CH" sz="1400" b="0" i="0" kern="1200">
              <a:solidFill>
                <a:schemeClr val="tx1"/>
              </a:solidFill>
            </a:rPr>
            <a:t> </a:t>
          </a:r>
          <a:r>
            <a:rPr lang="de-CH" sz="1400" b="0" i="0" kern="1200" err="1">
              <a:solidFill>
                <a:schemeClr val="tx1"/>
              </a:solidFill>
            </a:rPr>
            <a:t>copies</a:t>
          </a:r>
          <a:endParaRPr lang="en-GB" sz="1400" b="0" i="0" kern="1200">
            <a:solidFill>
              <a:schemeClr val="tx1"/>
            </a:solidFill>
          </a:endParaRPr>
        </a:p>
      </dsp:txBody>
      <dsp:txXfrm>
        <a:off x="3408506" y="1293304"/>
        <a:ext cx="1458096" cy="750950"/>
      </dsp:txXfrm>
    </dsp:sp>
    <dsp:sp modelId="{B0FAD5D1-4DF0-4DB6-8413-8F4AF629BAF1}">
      <dsp:nvSpPr>
        <dsp:cNvPr id="0" name=""/>
        <dsp:cNvSpPr/>
      </dsp:nvSpPr>
      <dsp:spPr>
        <a:xfrm>
          <a:off x="2573073" y="2085974"/>
          <a:ext cx="3128962" cy="312896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i="0" kern="1200">
              <a:solidFill>
                <a:schemeClr val="tx1"/>
              </a:solidFill>
            </a:rPr>
            <a:t>study how it works, and change it </a:t>
          </a:r>
        </a:p>
      </dsp:txBody>
      <dsp:txXfrm>
        <a:off x="3408506" y="2320646"/>
        <a:ext cx="1458096" cy="704016"/>
      </dsp:txXfrm>
    </dsp:sp>
    <dsp:sp modelId="{35AB5069-0D16-47FF-B607-44FA1AA2B927}">
      <dsp:nvSpPr>
        <dsp:cNvPr id="0" name=""/>
        <dsp:cNvSpPr/>
      </dsp:nvSpPr>
      <dsp:spPr>
        <a:xfrm>
          <a:off x="3094567" y="3128962"/>
          <a:ext cx="2085974" cy="208597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i="0" kern="1200">
              <a:solidFill>
                <a:schemeClr val="tx1"/>
              </a:solidFill>
            </a:rPr>
            <a:t>Use it as you wish for any purpose.</a:t>
          </a:r>
        </a:p>
      </dsp:txBody>
      <dsp:txXfrm>
        <a:off x="3400051" y="3650455"/>
        <a:ext cx="1475006" cy="10429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CH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fld id="{C74B13BA-36C6-4300-B5B6-6C1D152DFF13}" type="slidenum">
              <a:rPr lang="de-CH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28857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CH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/>
              <a:t>Textmasterformate durch Klicken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fld id="{058061DB-DF71-4765-99A4-14E22DF63CCF}" type="slidenum">
              <a:rPr lang="de-CH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977471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8061DB-DF71-4765-99A4-14E22DF63CC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41445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baloise.github.io/open-x-day/index.de.htm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005019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baloise.github.io/open-x-day/index.de.htm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68199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2B9E238-3526-4E05-9047-1D406FF3DE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EE1ED2C-5E5F-476E-BCAF-8DB5520C5E8A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r>
              <a:rPr lang="de-CH"/>
              <a:t>Story Ralph Müll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1E953F-CE72-41C7-BB96-8CD3762D8A5C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55C421E3-9417-44D2-AC97-1E2C144E3155}" type="slidenum">
              <a:t>51</a:t>
            </a:fld>
            <a:endParaRPr lang="de-CH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3A36CA-5703-44CE-8633-116E0A6043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34557FE-2C02-47E1-BBD9-61463E3F4ACD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r>
              <a:rPr lang="de-CH"/>
              <a:t>Story Ralph Müll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162E05-2E04-4785-AC7E-9081C279E222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9D8D5E8D-3AF0-40F3-9EBF-95CA6AC5AE4E}" type="slidenum">
              <a:t>60</a:t>
            </a:fld>
            <a:endParaRPr lang="de-CH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https://www.propublica.org/article/federal-judge-unseals-new-york-crime-labs-software-for-analyzing-dna-evidenc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708383-3718-4E06-AAFE-92AFD93AFEF3}" type="slidenum">
              <a:rPr lang="de-CH" smtClean="0"/>
              <a:t>6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15311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5299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CH" altLang="de-DE" dirty="0">
                <a:latin typeface="Arial" pitchFamily="34" charset="0"/>
                <a:ea typeface="ヒラギノ角ゴ Pro W3"/>
                <a:cs typeface="ヒラギノ角ゴ Pro W3"/>
              </a:rPr>
              <a:t>Titel und Inhal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23922-EA55-48C0-A093-F275FF7952E4}" type="datetime1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.04.202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56B6ED-1553-4721-9501-A617DB7EA3CE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orace Wells                           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Georges de </a:t>
            </a:r>
            <a:r>
              <a:rPr lang="en-GB" sz="1200" b="0" i="0" u="none" strike="noStrike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Mestral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</a:t>
            </a:r>
            <a:br>
              <a:rPr lang="en-GB" dirty="0"/>
            </a:br>
            <a:r>
              <a:rPr lang="en-GB" b="1" dirty="0"/>
              <a:t>Year: </a:t>
            </a:r>
            <a:r>
              <a:rPr lang="en-GB" dirty="0"/>
              <a:t>1844</a:t>
            </a:r>
            <a:br>
              <a:rPr lang="en-GB" dirty="0"/>
            </a:br>
            <a:r>
              <a:rPr lang="en-GB" dirty="0"/>
              <a:t>nitrous oxid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3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500941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3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0378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5299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CH" altLang="de-DE">
                <a:latin typeface="Arial" pitchFamily="34" charset="0"/>
                <a:ea typeface="ヒラギノ角ゴ Pro W3"/>
                <a:cs typeface="ヒラギノ角ゴ Pro W3"/>
              </a:rPr>
              <a:t>Titel und Inhal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23922-EA55-48C0-A093-F275FF7952E4}" type="datetime1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.04.202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56B6ED-1553-4721-9501-A617DB7EA3CE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informatik-aktuell.de/management-und-recht/projektmanagement/slack-time-open-space.htm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27599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informatik-aktuell.de/management-und-recht/projektmanagement/slack-time-open-space.htm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8878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baloise.github.io/open-x-day/index.de.htm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1760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baloise.github.io/open-x-day/index.de.htm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83763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927995" y="1978025"/>
            <a:ext cx="11582969" cy="2857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baseline="0"/>
            </a:lvl1pPr>
          </a:lstStyle>
          <a:p>
            <a:pPr>
              <a:spcBef>
                <a:spcPct val="0"/>
              </a:spcBef>
            </a:pPr>
            <a:r>
              <a:rPr lang="de-DE" sz="2600"/>
              <a:t>Untertitel der Präsentation</a:t>
            </a:r>
            <a:endParaRPr lang="de-CH" sz="2600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der Präsentatio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743200"/>
            <a:ext cx="12531534" cy="4140000"/>
          </a:xfrm>
          <a:solidFill>
            <a:schemeClr val="accent1"/>
          </a:solidFill>
        </p:spPr>
        <p:txBody>
          <a:bodyPr wrap="none" lIns="720000" tIns="108000" rIns="720000" bIns="108000" anchor="ctr" anchorCtr="0"/>
          <a:lstStyle>
            <a:lvl1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100" b="0" baseline="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10429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1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urch Bild ersetzen (Grösse und Position beibehalten)</a:t>
            </a: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276000"/>
            <a:ext cx="927759" cy="3081600"/>
          </a:xfrm>
          <a:solidFill>
            <a:srgbClr val="003479"/>
          </a:solidFill>
        </p:spPr>
        <p:txBody>
          <a:bodyPr/>
          <a:lstStyle>
            <a:lvl5pPr marL="1252537" indent="0">
              <a:buNone/>
              <a:defRPr/>
            </a:lvl5pPr>
          </a:lstStyle>
          <a:p>
            <a:pPr lvl="4"/>
            <a:r>
              <a:rPr lang="de-CH"/>
              <a:t> </a:t>
            </a:r>
          </a:p>
        </p:txBody>
      </p:sp>
      <p:pic>
        <p:nvPicPr>
          <p:cNvPr id="7" name="Grafik 6" descr="FHNW_HW_10mm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075" y="252000"/>
            <a:ext cx="3438096" cy="54025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367" y="279452"/>
            <a:ext cx="1201547" cy="51280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9C389B4-5F52-4045-9FAC-949BB41C605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827" y="184150"/>
            <a:ext cx="1584176" cy="638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18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1188DD-6605-4EF4-9E67-B567F731CE68}" type="slidenum">
              <a:rPr lang="de-CH">
                <a:solidFill>
                  <a:srgbClr val="000000"/>
                </a:solidFill>
              </a:rPr>
              <a:pPr/>
              <a:t>‹#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 hasCustomPrompt="1"/>
          </p:nvPr>
        </p:nvSpPr>
        <p:spPr>
          <a:xfrm>
            <a:off x="925999" y="1509712"/>
            <a:ext cx="11582969" cy="361951"/>
          </a:xfrm>
        </p:spPr>
        <p:txBody>
          <a:bodyPr/>
          <a:lstStyle>
            <a:lvl1pPr>
              <a:defRPr sz="2000" b="1" i="0" baseline="0"/>
            </a:lvl1pPr>
          </a:lstStyle>
          <a:p>
            <a:r>
              <a:rPr lang="de-DE"/>
              <a:t>Titel durch Klicken hinzufügen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1" hasCustomPrompt="1"/>
          </p:nvPr>
        </p:nvSpPr>
        <p:spPr>
          <a:xfrm>
            <a:off x="927996" y="2197100"/>
            <a:ext cx="11582969" cy="4464050"/>
          </a:xfrm>
        </p:spPr>
        <p:txBody>
          <a:bodyPr/>
          <a:lstStyle>
            <a:lvl1pPr>
              <a:spcBef>
                <a:spcPts val="1200"/>
              </a:spcBef>
              <a:defRPr sz="2000" b="0" i="0" baseline="0"/>
            </a:lvl1pPr>
          </a:lstStyle>
          <a:p>
            <a:pPr lvl="0"/>
            <a:r>
              <a:rPr lang="de-DE"/>
              <a:t>Tex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1626622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08221" y="2348893"/>
            <a:ext cx="11426508" cy="162077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016443" y="4284716"/>
            <a:ext cx="9410065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4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3471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07765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61900" y="4858812"/>
            <a:ext cx="11426508" cy="1501751"/>
          </a:xfrm>
        </p:spPr>
        <p:txBody>
          <a:bodyPr anchor="t"/>
          <a:lstStyle>
            <a:lvl1pPr algn="l">
              <a:defRPr sz="441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61900" y="3204786"/>
            <a:ext cx="11426508" cy="1654026"/>
          </a:xfrm>
        </p:spPr>
        <p:txBody>
          <a:bodyPr anchor="b"/>
          <a:lstStyle>
            <a:lvl1pPr marL="0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1pPr>
            <a:lvl2pPr marL="504063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100812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512189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4pPr>
            <a:lvl5pPr marL="2016252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5pPr>
            <a:lvl6pPr marL="2520315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6pPr>
            <a:lvl7pPr marL="3024378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7pPr>
            <a:lvl8pPr marL="3528441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8pPr>
            <a:lvl9pPr marL="4032504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8817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72147" y="1764295"/>
            <a:ext cx="5937303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33500" y="1764295"/>
            <a:ext cx="5937303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95806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72148" y="1692533"/>
            <a:ext cx="5939637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72148" y="2397901"/>
            <a:ext cx="5939637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828832" y="1692533"/>
            <a:ext cx="5941971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828832" y="2397901"/>
            <a:ext cx="5941971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96034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17351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5365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2148" y="301050"/>
            <a:ext cx="4422638" cy="1281214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55820" y="301051"/>
            <a:ext cx="7514982" cy="6453328"/>
          </a:xfrm>
        </p:spPr>
        <p:txBody>
          <a:bodyPr/>
          <a:lstStyle>
            <a:lvl1pPr>
              <a:defRPr sz="3528"/>
            </a:lvl1pPr>
            <a:lvl2pPr>
              <a:defRPr sz="3087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72148" y="1582265"/>
            <a:ext cx="4422638" cy="5172114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364569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4912" y="5292884"/>
            <a:ext cx="8065770" cy="624855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634912" y="675613"/>
            <a:ext cx="8065770" cy="4536758"/>
          </a:xfrm>
        </p:spPr>
        <p:txBody>
          <a:bodyPr/>
          <a:lstStyle>
            <a:lvl1pPr marL="0" indent="0">
              <a:buNone/>
              <a:defRPr sz="3528"/>
            </a:lvl1pPr>
            <a:lvl2pPr marL="504063" indent="0">
              <a:buNone/>
              <a:defRPr sz="3087"/>
            </a:lvl2pPr>
            <a:lvl3pPr marL="1008126" indent="0">
              <a:buNone/>
              <a:defRPr sz="2646"/>
            </a:lvl3pPr>
            <a:lvl4pPr marL="1512189" indent="0">
              <a:buNone/>
              <a:defRPr sz="2205"/>
            </a:lvl4pPr>
            <a:lvl5pPr marL="2016252" indent="0">
              <a:buNone/>
              <a:defRPr sz="2205"/>
            </a:lvl5pPr>
            <a:lvl6pPr marL="2520315" indent="0">
              <a:buNone/>
              <a:defRPr sz="2205"/>
            </a:lvl6pPr>
            <a:lvl7pPr marL="3024378" indent="0">
              <a:buNone/>
              <a:defRPr sz="2205"/>
            </a:lvl7pPr>
            <a:lvl8pPr marL="3528441" indent="0">
              <a:buNone/>
              <a:defRPr sz="2205"/>
            </a:lvl8pPr>
            <a:lvl9pPr marL="4032504" indent="0">
              <a:buNone/>
              <a:defRPr sz="2205"/>
            </a:lvl9pPr>
          </a:lstStyle>
          <a:p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634912" y="5917739"/>
            <a:ext cx="8065770" cy="887398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32742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1188DD-6605-4EF4-9E67-B567F731CE68}" type="slidenum">
              <a:rPr lang="de-CH">
                <a:solidFill>
                  <a:srgbClr val="000000"/>
                </a:solidFill>
              </a:rPr>
              <a:pPr/>
              <a:t>‹#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 hasCustomPrompt="1"/>
          </p:nvPr>
        </p:nvSpPr>
        <p:spPr>
          <a:xfrm>
            <a:off x="925999" y="1509713"/>
            <a:ext cx="11582969" cy="361950"/>
          </a:xfrm>
        </p:spPr>
        <p:txBody>
          <a:bodyPr/>
          <a:lstStyle>
            <a:lvl1pPr>
              <a:defRPr sz="2000" b="1" i="0" baseline="0"/>
            </a:lvl1pPr>
          </a:lstStyle>
          <a:p>
            <a:r>
              <a:rPr lang="de-DE"/>
              <a:t>Titel durch Klicken hinzufügen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1" hasCustomPrompt="1"/>
          </p:nvPr>
        </p:nvSpPr>
        <p:spPr>
          <a:xfrm>
            <a:off x="927995" y="2197100"/>
            <a:ext cx="11582969" cy="4464050"/>
          </a:xfrm>
        </p:spPr>
        <p:txBody>
          <a:bodyPr/>
          <a:lstStyle>
            <a:lvl1pPr>
              <a:spcBef>
                <a:spcPts val="1200"/>
              </a:spcBef>
              <a:defRPr sz="2000" b="0" i="0" baseline="0"/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017834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89408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746139" y="302802"/>
            <a:ext cx="3024664" cy="645157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72148" y="302802"/>
            <a:ext cx="8849942" cy="645157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25096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08221" y="2348893"/>
            <a:ext cx="11426508" cy="162077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016443" y="4284716"/>
            <a:ext cx="9410065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4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7497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517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61900" y="4858812"/>
            <a:ext cx="11426508" cy="1501751"/>
          </a:xfrm>
        </p:spPr>
        <p:txBody>
          <a:bodyPr anchor="t"/>
          <a:lstStyle>
            <a:lvl1pPr algn="l">
              <a:defRPr sz="441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61900" y="3204786"/>
            <a:ext cx="11426508" cy="1654026"/>
          </a:xfrm>
        </p:spPr>
        <p:txBody>
          <a:bodyPr anchor="b"/>
          <a:lstStyle>
            <a:lvl1pPr marL="0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1pPr>
            <a:lvl2pPr marL="504063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100812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512189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4pPr>
            <a:lvl5pPr marL="2016252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5pPr>
            <a:lvl6pPr marL="2520315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6pPr>
            <a:lvl7pPr marL="3024378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7pPr>
            <a:lvl8pPr marL="3528441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8pPr>
            <a:lvl9pPr marL="4032504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2561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72147" y="1764295"/>
            <a:ext cx="5937303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33500" y="1764295"/>
            <a:ext cx="5937303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272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72148" y="1692533"/>
            <a:ext cx="5939637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72148" y="2397901"/>
            <a:ext cx="5939637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828832" y="1692533"/>
            <a:ext cx="5941971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828832" y="2397901"/>
            <a:ext cx="5941971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8228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8761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6590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2148" y="301050"/>
            <a:ext cx="4422638" cy="1281214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55820" y="301051"/>
            <a:ext cx="7514982" cy="6453328"/>
          </a:xfrm>
        </p:spPr>
        <p:txBody>
          <a:bodyPr/>
          <a:lstStyle>
            <a:lvl1pPr>
              <a:defRPr sz="3528"/>
            </a:lvl1pPr>
            <a:lvl2pPr>
              <a:defRPr sz="3087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72148" y="1582265"/>
            <a:ext cx="4422638" cy="5172114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8017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73514E-FF0B-4619-AA18-8F9E33EC021F}" type="slidenum">
              <a:rPr lang="de-CH">
                <a:solidFill>
                  <a:srgbClr val="000000"/>
                </a:solidFill>
              </a:rPr>
              <a:pPr/>
              <a:t>‹#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927758" y="2843999"/>
            <a:ext cx="11590198" cy="3816000"/>
          </a:xfrm>
          <a:solidFill>
            <a:schemeClr val="accent1"/>
          </a:solidFill>
        </p:spPr>
        <p:txBody>
          <a:bodyPr anchor="ctr"/>
          <a:lstStyle>
            <a:lvl1pPr algn="ctr">
              <a:defRPr sz="2100" b="0" baseline="0"/>
            </a:lvl1pPr>
          </a:lstStyle>
          <a:p>
            <a:pPr lvl="0"/>
            <a:r>
              <a:rPr lang="de-CH"/>
              <a:t>Durch Bild oder Grafik ersetzen (Grösse und Position beibehalten)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927759" y="1508399"/>
            <a:ext cx="11581147" cy="1119600"/>
          </a:xfrm>
        </p:spPr>
        <p:txBody>
          <a:bodyPr/>
          <a:lstStyle>
            <a:lvl1pPr>
              <a:spcBef>
                <a:spcPts val="900"/>
              </a:spcBef>
              <a:defRPr sz="1700" b="0"/>
            </a:lvl1pPr>
          </a:lstStyle>
          <a:p>
            <a:pPr lvl="0"/>
            <a:r>
              <a:rPr lang="de-CH"/>
              <a:t>Tex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1136310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4912" y="5292884"/>
            <a:ext cx="8065770" cy="624855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634912" y="675613"/>
            <a:ext cx="8065770" cy="4536758"/>
          </a:xfrm>
        </p:spPr>
        <p:txBody>
          <a:bodyPr/>
          <a:lstStyle>
            <a:lvl1pPr marL="0" indent="0">
              <a:buNone/>
              <a:defRPr sz="3528"/>
            </a:lvl1pPr>
            <a:lvl2pPr marL="504063" indent="0">
              <a:buNone/>
              <a:defRPr sz="3087"/>
            </a:lvl2pPr>
            <a:lvl3pPr marL="1008126" indent="0">
              <a:buNone/>
              <a:defRPr sz="2646"/>
            </a:lvl3pPr>
            <a:lvl4pPr marL="1512189" indent="0">
              <a:buNone/>
              <a:defRPr sz="2205"/>
            </a:lvl4pPr>
            <a:lvl5pPr marL="2016252" indent="0">
              <a:buNone/>
              <a:defRPr sz="2205"/>
            </a:lvl5pPr>
            <a:lvl6pPr marL="2520315" indent="0">
              <a:buNone/>
              <a:defRPr sz="2205"/>
            </a:lvl6pPr>
            <a:lvl7pPr marL="3024378" indent="0">
              <a:buNone/>
              <a:defRPr sz="2205"/>
            </a:lvl7pPr>
            <a:lvl8pPr marL="3528441" indent="0">
              <a:buNone/>
              <a:defRPr sz="2205"/>
            </a:lvl8pPr>
            <a:lvl9pPr marL="4032504" indent="0">
              <a:buNone/>
              <a:defRPr sz="2205"/>
            </a:lvl9pPr>
          </a:lstStyle>
          <a:p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634912" y="5917739"/>
            <a:ext cx="8065770" cy="887398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0593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649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746139" y="302802"/>
            <a:ext cx="3024664" cy="645157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72148" y="302802"/>
            <a:ext cx="8849942" cy="645157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3640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73514E-FF0B-4619-AA18-8F9E33EC021F}" type="slidenum">
              <a:rPr lang="de-CH">
                <a:solidFill>
                  <a:srgbClr val="000000"/>
                </a:solidFill>
              </a:rPr>
              <a:pPr/>
              <a:t>‹#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758" y="1512000"/>
            <a:ext cx="11590198" cy="4788000"/>
          </a:xfrm>
          <a:solidFill>
            <a:schemeClr val="accent1"/>
          </a:solidFill>
        </p:spPr>
        <p:txBody>
          <a:bodyPr anchor="ctr"/>
          <a:lstStyle>
            <a:lvl1pPr algn="ctr">
              <a:defRPr sz="2100" b="0" baseline="0"/>
            </a:lvl1pPr>
          </a:lstStyle>
          <a:p>
            <a:pPr lvl="0"/>
            <a:r>
              <a:rPr lang="de-CH"/>
              <a:t>Durch Bild oder Grafik ersetzen (Grösse und Position beibehalten)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27995" y="6476400"/>
            <a:ext cx="11581147" cy="720000"/>
          </a:xfrm>
        </p:spPr>
        <p:txBody>
          <a:bodyPr/>
          <a:lstStyle>
            <a:lvl1pPr>
              <a:spcBef>
                <a:spcPts val="800"/>
              </a:spcBef>
              <a:defRPr sz="1500" b="0"/>
            </a:lvl1pPr>
          </a:lstStyle>
          <a:p>
            <a:pPr lvl="0"/>
            <a:r>
              <a:rPr lang="de-CH"/>
              <a:t>Tex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260773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1188DD-6605-4EF4-9E67-B567F731CE68}" type="slidenum">
              <a:rPr lang="de-CH">
                <a:solidFill>
                  <a:srgbClr val="000000"/>
                </a:solidFill>
              </a:rPr>
              <a:pPr/>
              <a:t>‹#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>
          <a:xfrm>
            <a:off x="6903084" y="1509713"/>
            <a:ext cx="5605885" cy="361950"/>
          </a:xfrm>
        </p:spPr>
        <p:txBody>
          <a:bodyPr/>
          <a:lstStyle>
            <a:lvl1pPr>
              <a:defRPr sz="2000" b="1" i="0" baseline="0"/>
            </a:lvl1pPr>
          </a:lstStyle>
          <a:p>
            <a:r>
              <a:rPr lang="de-DE"/>
              <a:t>Titel durch Klicken hinzufügen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body" idx="1" hasCustomPrompt="1"/>
          </p:nvPr>
        </p:nvSpPr>
        <p:spPr>
          <a:xfrm>
            <a:off x="6903084" y="2197100"/>
            <a:ext cx="5607881" cy="4464050"/>
          </a:xfrm>
        </p:spPr>
        <p:txBody>
          <a:bodyPr/>
          <a:lstStyle>
            <a:lvl1pPr>
              <a:spcBef>
                <a:spcPts val="1200"/>
              </a:spcBef>
              <a:defRPr sz="2000" b="0" i="0" baseline="0"/>
            </a:lvl1pPr>
          </a:lstStyle>
          <a:p>
            <a:pPr lvl="0"/>
            <a:r>
              <a:rPr lang="de-DE"/>
              <a:t>Text durch Klicken hinzufüg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927759" y="1512000"/>
            <a:ext cx="5616336" cy="5151600"/>
          </a:xfrm>
          <a:solidFill>
            <a:schemeClr val="accent1"/>
          </a:solidFill>
        </p:spPr>
        <p:txBody>
          <a:bodyPr anchor="ctr"/>
          <a:lstStyle>
            <a:lvl1pPr algn="ctr">
              <a:defRPr sz="2100" b="0" baseline="0"/>
            </a:lvl1pPr>
          </a:lstStyle>
          <a:p>
            <a:pPr lvl="0"/>
            <a:r>
              <a:rPr lang="de-CH" sz="2000" b="0"/>
              <a:t>Durch Bild oder Grafik ersetzen (Grösse und Position beibehalten)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80484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4587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A1275-6D2D-4DD1-BB2E-2C12375A9584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46A64D8-B037-4315-B191-DA634CEB8468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954D43-5332-458E-8B2E-242292506F5B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68A499-DE0A-41C3-89C2-125D0872371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0134D6-EFC8-48BD-977A-480BD6CBD03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A3351B6-6F56-4BD2-ADAD-8AE2EAEFFAEF}" type="slidenum"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745581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927996" y="1978025"/>
            <a:ext cx="11582969" cy="2857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baseline="0"/>
            </a:lvl1pPr>
          </a:lstStyle>
          <a:p>
            <a:pPr>
              <a:spcBef>
                <a:spcPct val="0"/>
              </a:spcBef>
            </a:pPr>
            <a:r>
              <a:rPr lang="de-DE" sz="2600"/>
              <a:t>Untertitel der Präsentation</a:t>
            </a:r>
            <a:endParaRPr lang="de-CH" sz="2600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der Präsentatio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2743200"/>
            <a:ext cx="12531534" cy="4140000"/>
          </a:xfrm>
          <a:solidFill>
            <a:schemeClr val="accent1"/>
          </a:solidFill>
        </p:spPr>
        <p:txBody>
          <a:bodyPr wrap="none" lIns="720000" tIns="108000" rIns="720000" bIns="108000" anchor="ctr" anchorCtr="0"/>
          <a:lstStyle>
            <a:lvl1pPr marL="0" marR="0" indent="0" algn="ctr" defTabSz="10428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99" b="0" baseline="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10428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99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urch Bild ersetzen (Grösse und Position beibehalten)</a:t>
            </a:r>
            <a:endParaRPr kumimoji="0" lang="de-CH" sz="1799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276001"/>
            <a:ext cx="927759" cy="3081599"/>
          </a:xfrm>
          <a:solidFill>
            <a:srgbClr val="003479"/>
          </a:solidFill>
        </p:spPr>
        <p:txBody>
          <a:bodyPr/>
          <a:lstStyle>
            <a:lvl5pPr marL="1252358" indent="0">
              <a:buNone/>
              <a:defRPr/>
            </a:lvl5pPr>
          </a:lstStyle>
          <a:p>
            <a:pPr lvl="4"/>
            <a:r>
              <a:rPr lang="de-CH"/>
              <a:t> </a:t>
            </a:r>
          </a:p>
        </p:txBody>
      </p:sp>
      <p:pic>
        <p:nvPicPr>
          <p:cNvPr id="7" name="Grafik 6" descr="FHNW_HW_10mm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075" y="252000"/>
            <a:ext cx="3438096" cy="54025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367" y="279452"/>
            <a:ext cx="1201547" cy="51280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9C389B4-5F52-4045-9FAC-949BB41C605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827" y="184151"/>
            <a:ext cx="1584176" cy="638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362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1188DD-6605-4EF4-9E67-B567F731CE68}" type="slidenum">
              <a:rPr lang="de-CH">
                <a:solidFill>
                  <a:srgbClr val="000000"/>
                </a:solidFill>
              </a:rPr>
              <a:pPr/>
              <a:t>‹#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 hasCustomPrompt="1"/>
          </p:nvPr>
        </p:nvSpPr>
        <p:spPr>
          <a:xfrm>
            <a:off x="925999" y="1509712"/>
            <a:ext cx="11582969" cy="361951"/>
          </a:xfrm>
        </p:spPr>
        <p:txBody>
          <a:bodyPr/>
          <a:lstStyle>
            <a:lvl1pPr>
              <a:defRPr sz="2000" b="1" i="0" baseline="0"/>
            </a:lvl1pPr>
          </a:lstStyle>
          <a:p>
            <a:r>
              <a:rPr lang="de-DE"/>
              <a:t>Titel durch Klicken hinzufügen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1" hasCustomPrompt="1"/>
          </p:nvPr>
        </p:nvSpPr>
        <p:spPr>
          <a:xfrm>
            <a:off x="927996" y="2197100"/>
            <a:ext cx="11582969" cy="4464050"/>
          </a:xfrm>
        </p:spPr>
        <p:txBody>
          <a:bodyPr/>
          <a:lstStyle>
            <a:lvl1pPr>
              <a:spcBef>
                <a:spcPts val="1200"/>
              </a:spcBef>
              <a:defRPr sz="2000" b="0" i="0" baseline="0"/>
            </a:lvl1pPr>
          </a:lstStyle>
          <a:p>
            <a:pPr lvl="0"/>
            <a:r>
              <a:rPr lang="de-DE"/>
              <a:t>Tex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8549273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3EA588A-C0EA-4601-8C32-AE18A47FC8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32374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4" imgW="360" imgH="360" progId="TCLayout.ActiveDocument.1">
                  <p:embed/>
                </p:oleObj>
              </mc:Choice>
              <mc:Fallback>
                <p:oleObj name="think-cell Folie" r:id="rId14" imgW="360" imgH="36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3EA588A-C0EA-4601-8C32-AE18A47FC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25999" y="1509713"/>
            <a:ext cx="11582969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27995" y="2197101"/>
            <a:ext cx="11582969" cy="2591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335666" y="7197725"/>
            <a:ext cx="1087649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1042988">
              <a:defRPr sz="1200"/>
            </a:lvl1pPr>
          </a:lstStyle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26000" y="7197725"/>
            <a:ext cx="9409666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1042988">
              <a:defRPr sz="1200"/>
            </a:lvl1pPr>
          </a:lstStyle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23314" y="7197725"/>
            <a:ext cx="1085654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defTabSz="1042988">
              <a:defRPr sz="1200"/>
            </a:lvl1pPr>
          </a:lstStyle>
          <a:p>
            <a:fld id="{8C812475-90CC-411E-A993-929AF0D0895B}" type="slidenum">
              <a:rPr lang="de-CH">
                <a:solidFill>
                  <a:srgbClr val="000000"/>
                </a:solidFill>
              </a:rPr>
              <a:pPr/>
              <a:t>‹#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27995" y="7161213"/>
            <a:ext cx="11582969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 sz="2100">
              <a:solidFill>
                <a:srgbClr val="000000"/>
              </a:solidFill>
            </a:endParaRPr>
          </a:p>
        </p:txBody>
      </p:sp>
      <p:pic>
        <p:nvPicPr>
          <p:cNvPr id="9" name="Grafik 8" descr="FHNW_HW_10mm"/>
          <p:cNvPicPr/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075" y="252000"/>
            <a:ext cx="3438096" cy="5402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367" y="279452"/>
            <a:ext cx="1201547" cy="51280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2B7FAB4-2CA7-4158-BF0D-85D563B8FF93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827" y="184150"/>
            <a:ext cx="1584176" cy="638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402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20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56" r:id="rId8"/>
    <p:sldLayoutId id="2147483757" r:id="rId9"/>
    <p:sldLayoutId id="2147483758" r:id="rId10"/>
  </p:sldLayoutIdLst>
  <p:hf hdr="0"/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36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defTabSz="1042988" rtl="0" eaLnBrk="1" fontAlgn="base" hangingPunct="1">
        <a:lnSpc>
          <a:spcPct val="115000"/>
        </a:lnSpc>
        <a:spcBef>
          <a:spcPct val="100000"/>
        </a:spcBef>
        <a:spcAft>
          <a:spcPct val="0"/>
        </a:spcAft>
        <a:defRPr sz="2600" b="1">
          <a:solidFill>
            <a:schemeClr val="tx1"/>
          </a:solidFill>
          <a:latin typeface="+mn-lt"/>
          <a:ea typeface="+mn-ea"/>
          <a:cs typeface="+mn-cs"/>
        </a:defRPr>
      </a:lvl1pPr>
      <a:lvl2pPr marL="352425" indent="-171450" algn="l" defTabSz="1042988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2pPr>
      <a:lvl3pPr marL="712788" indent="-169863" algn="l" defTabSz="1042988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1073150" indent="-180975" algn="l" defTabSz="1042988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1431925" indent="-179388" algn="l" defTabSz="1042988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1889125" indent="-179388" algn="l" defTabSz="1042988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6pPr>
      <a:lvl7pPr marL="2346325" indent="-179388" algn="l" defTabSz="1042988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7pPr>
      <a:lvl8pPr marL="2803525" indent="-179388" algn="l" defTabSz="1042988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8pPr>
      <a:lvl9pPr marL="3260725" indent="-179388" algn="l" defTabSz="1042988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72148" y="302801"/>
            <a:ext cx="12098655" cy="12602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72148" y="1764295"/>
            <a:ext cx="12098655" cy="49900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72148" y="7008171"/>
            <a:ext cx="3136688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20.04.2021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593008" y="7008171"/>
            <a:ext cx="4256934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/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634114" y="7008171"/>
            <a:ext cx="3136688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0D590A-C341-4716-93FB-45321B7DB12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1293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/>
  <p:txStyles>
    <p:titleStyle>
      <a:lvl1pPr algn="ctr" defTabSz="1008126" rtl="0" eaLnBrk="1" latinLnBrk="0" hangingPunct="1"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8047" indent="-378047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19102" indent="-315039" algn="l" defTabSz="1008126" rtl="0" eaLnBrk="1" latinLnBrk="0" hangingPunct="1">
        <a:spcBef>
          <a:spcPct val="20000"/>
        </a:spcBef>
        <a:buFont typeface="Arial" panose="020B0604020202020204" pitchFamily="34" charset="0"/>
        <a:buChar char="–"/>
        <a:defRPr sz="3087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8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–"/>
        <a:defRPr sz="220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»"/>
        <a:defRPr sz="220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72148" y="302801"/>
            <a:ext cx="12098655" cy="12602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72148" y="1764295"/>
            <a:ext cx="12098655" cy="49900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72148" y="7008171"/>
            <a:ext cx="3136688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.04.2021</a:t>
            </a:r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593008" y="7008171"/>
            <a:ext cx="4256934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634114" y="7008171"/>
            <a:ext cx="3136688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2E129-9DB3-4F8C-A795-127B2F5731EA}" type="slidenum">
              <a:rPr lang="de-CH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C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16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hdr="0"/>
  <p:txStyles>
    <p:titleStyle>
      <a:lvl1pPr algn="ctr" defTabSz="1008126" rtl="0" eaLnBrk="1" latinLnBrk="0" hangingPunct="1"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8047" indent="-378047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19102" indent="-315039" algn="l" defTabSz="1008126" rtl="0" eaLnBrk="1" latinLnBrk="0" hangingPunct="1">
        <a:spcBef>
          <a:spcPct val="20000"/>
        </a:spcBef>
        <a:buFont typeface="Arial" panose="020B0604020202020204" pitchFamily="34" charset="0"/>
        <a:buChar char="–"/>
        <a:defRPr sz="3087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8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–"/>
        <a:defRPr sz="220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»"/>
        <a:defRPr sz="220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g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hyperlink" Target="https://de.wikipedia.org/wiki/Integrierter_Schaltkreis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olframalpha.com/input/?i=299792458*3.6%3D20*+2%5Ex" TargetMode="External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41.png"/><Relationship Id="rId4" Type="http://schemas.openxmlformats.org/officeDocument/2006/relationships/image" Target="../media/image40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1&amp;auto=format&amp;fit=crop&amp;w=1350&amp;q=80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8.1&amp;auto=format&amp;fit=crop&amp;w=1350&amp;q=80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9.gi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g"/><Relationship Id="rId3" Type="http://schemas.openxmlformats.org/officeDocument/2006/relationships/image" Target="../media/image53.jpg"/><Relationship Id="rId7" Type="http://schemas.openxmlformats.org/officeDocument/2006/relationships/image" Target="../media/image5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hyperlink" Target="https://www.flickr.com/photos/19027848@N00/4094486505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baloise.github.io/open-x-day/index.de.htm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svg"/><Relationship Id="rId4" Type="http://schemas.openxmlformats.org/officeDocument/2006/relationships/image" Target="../media/image5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8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8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62.png"/><Relationship Id="rId4" Type="http://schemas.openxmlformats.org/officeDocument/2006/relationships/notesSlide" Target="../notesSlides/notesSlide1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ickbox.org/" TargetMode="External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5.jpg"/><Relationship Id="rId4" Type="http://schemas.openxmlformats.org/officeDocument/2006/relationships/image" Target="../media/image6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ickbox.org/" TargetMode="External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7.png"/><Relationship Id="rId4" Type="http://schemas.openxmlformats.org/officeDocument/2006/relationships/image" Target="../media/image64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sv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1&amp;auto=format&amp;fit=crop&amp;w=1352&amp;q=80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1.svg"/><Relationship Id="rId5" Type="http://schemas.openxmlformats.org/officeDocument/2006/relationships/image" Target="../media/image80.png"/><Relationship Id="rId4" Type="http://schemas.openxmlformats.org/officeDocument/2006/relationships/hyperlink" Target="https://github.com/baloise/open-source/pull/77/files" TargetMode="Externa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s/photos/recycling?utm_source=unsplash&amp;utm_medium=referral&amp;utm_content=creditCopyText" TargetMode="External"/><Relationship Id="rId2" Type="http://schemas.openxmlformats.org/officeDocument/2006/relationships/hyperlink" Target="https://unsplash.com/@pawel_czerwinski?utm_source=unsplash&amp;utm_medium=referral&amp;utm_content=creditCopyText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3.jpe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13" Type="http://schemas.openxmlformats.org/officeDocument/2006/relationships/image" Target="../media/image93.svg"/><Relationship Id="rId3" Type="http://schemas.openxmlformats.org/officeDocument/2006/relationships/hyperlink" Target="https://unsplash.com/s/photos/earth?utm_source=unsplash&amp;utm_medium=referral&amp;utm_content=creditCopyText" TargetMode="External"/><Relationship Id="rId7" Type="http://schemas.openxmlformats.org/officeDocument/2006/relationships/image" Target="../media/image87.svg"/><Relationship Id="rId12" Type="http://schemas.openxmlformats.org/officeDocument/2006/relationships/image" Target="../media/image92.png"/><Relationship Id="rId2" Type="http://schemas.openxmlformats.org/officeDocument/2006/relationships/hyperlink" Target="https://unsplash.com/@nypl?utm_source=unsplash&amp;utm_medium=referral&amp;utm_content=creditCopyText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6.png"/><Relationship Id="rId11" Type="http://schemas.openxmlformats.org/officeDocument/2006/relationships/image" Target="../media/image91.svg"/><Relationship Id="rId5" Type="http://schemas.openxmlformats.org/officeDocument/2006/relationships/image" Target="../media/image85.png"/><Relationship Id="rId10" Type="http://schemas.openxmlformats.org/officeDocument/2006/relationships/image" Target="../media/image90.png"/><Relationship Id="rId4" Type="http://schemas.openxmlformats.org/officeDocument/2006/relationships/image" Target="../media/image84.png"/><Relationship Id="rId9" Type="http://schemas.openxmlformats.org/officeDocument/2006/relationships/image" Target="../media/image89.sv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s/photos/secret?utm_source=unsplash&amp;utm_medium=referral&amp;utm_content=creditCopyText" TargetMode="External"/><Relationship Id="rId3" Type="http://schemas.openxmlformats.org/officeDocument/2006/relationships/hyperlink" Target="https://unsplash.com/@srhhrbch?utm_source=unsplash&amp;utm_medium=referral&amp;utm_content=creditCopyText" TargetMode="External"/><Relationship Id="rId7" Type="http://schemas.openxmlformats.org/officeDocument/2006/relationships/hyperlink" Target="https://unsplash.com/@wflwong?utm_source=unsplash&amp;utm_medium=referral&amp;utm_content=creditCopyText" TargetMode="External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6.png"/><Relationship Id="rId5" Type="http://schemas.openxmlformats.org/officeDocument/2006/relationships/image" Target="../media/image95.jpeg"/><Relationship Id="rId10" Type="http://schemas.openxmlformats.org/officeDocument/2006/relationships/image" Target="../media/image98.svg"/><Relationship Id="rId4" Type="http://schemas.openxmlformats.org/officeDocument/2006/relationships/hyperlink" Target="https://unsplash.com/s/photos/security?utm_source=unsplash&amp;utm_medium=referral&amp;utm_content=creditCopyText" TargetMode="External"/><Relationship Id="rId9" Type="http://schemas.openxmlformats.org/officeDocument/2006/relationships/image" Target="../media/image97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s/photos/sinner?utm_source=unsplash&amp;utm_medium=referral&amp;utm_content=creditCopyText" TargetMode="External"/><Relationship Id="rId2" Type="http://schemas.openxmlformats.org/officeDocument/2006/relationships/hyperlink" Target="https://unsplash.com/@jmuniz?utm_source=unsplash&amp;utm_medium=referral&amp;utm_content=creditCopyText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9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jp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4.jpeg"/><Relationship Id="rId7" Type="http://schemas.openxmlformats.org/officeDocument/2006/relationships/image" Target="../media/image108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7.png"/><Relationship Id="rId11" Type="http://schemas.openxmlformats.org/officeDocument/2006/relationships/image" Target="../media/image112.svg"/><Relationship Id="rId5" Type="http://schemas.openxmlformats.org/officeDocument/2006/relationships/image" Target="../media/image106.svg"/><Relationship Id="rId10" Type="http://schemas.openxmlformats.org/officeDocument/2006/relationships/image" Target="../media/image111.png"/><Relationship Id="rId4" Type="http://schemas.openxmlformats.org/officeDocument/2006/relationships/image" Target="../media/image105.png"/><Relationship Id="rId9" Type="http://schemas.openxmlformats.org/officeDocument/2006/relationships/image" Target="../media/image110.sv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3.svg"/><Relationship Id="rId18" Type="http://schemas.openxmlformats.org/officeDocument/2006/relationships/image" Target="../media/image128.png"/><Relationship Id="rId3" Type="http://schemas.microsoft.com/office/2007/relationships/hdphoto" Target="../media/hdphoto4.wdp"/><Relationship Id="rId21" Type="http://schemas.openxmlformats.org/officeDocument/2006/relationships/image" Target="../media/image131.svg"/><Relationship Id="rId7" Type="http://schemas.openxmlformats.org/officeDocument/2006/relationships/image" Target="../media/image117.svg"/><Relationship Id="rId12" Type="http://schemas.openxmlformats.org/officeDocument/2006/relationships/image" Target="../media/image122.png"/><Relationship Id="rId17" Type="http://schemas.openxmlformats.org/officeDocument/2006/relationships/image" Target="../media/image127.svg"/><Relationship Id="rId2" Type="http://schemas.openxmlformats.org/officeDocument/2006/relationships/image" Target="../media/image113.png"/><Relationship Id="rId16" Type="http://schemas.openxmlformats.org/officeDocument/2006/relationships/image" Target="../media/image126.png"/><Relationship Id="rId20" Type="http://schemas.openxmlformats.org/officeDocument/2006/relationships/image" Target="../media/image13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6.png"/><Relationship Id="rId11" Type="http://schemas.openxmlformats.org/officeDocument/2006/relationships/image" Target="../media/image121.svg"/><Relationship Id="rId5" Type="http://schemas.openxmlformats.org/officeDocument/2006/relationships/image" Target="../media/image115.svg"/><Relationship Id="rId15" Type="http://schemas.openxmlformats.org/officeDocument/2006/relationships/image" Target="../media/image125.svg"/><Relationship Id="rId10" Type="http://schemas.openxmlformats.org/officeDocument/2006/relationships/image" Target="../media/image120.png"/><Relationship Id="rId19" Type="http://schemas.openxmlformats.org/officeDocument/2006/relationships/image" Target="../media/image129.svg"/><Relationship Id="rId4" Type="http://schemas.openxmlformats.org/officeDocument/2006/relationships/image" Target="../media/image114.png"/><Relationship Id="rId9" Type="http://schemas.openxmlformats.org/officeDocument/2006/relationships/image" Target="../media/image119.svg"/><Relationship Id="rId14" Type="http://schemas.openxmlformats.org/officeDocument/2006/relationships/image" Target="../media/image124.png"/></Relationships>
</file>

<file path=ppt/slides/_rels/slide6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hyperlink" Target="https://de.wikipedia.org/wiki/Digitale_Nachhaltigkeit" TargetMode="External"/><Relationship Id="rId3" Type="http://schemas.openxmlformats.org/officeDocument/2006/relationships/image" Target="../media/image133.png"/><Relationship Id="rId7" Type="http://schemas.openxmlformats.org/officeDocument/2006/relationships/image" Target="../media/image135.jpeg"/><Relationship Id="rId2" Type="http://schemas.openxmlformats.org/officeDocument/2006/relationships/hyperlink" Target="https://en.wikipedia.org/wiki/Information_Awareness_Office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en.wikipedia.org/" TargetMode="External"/><Relationship Id="rId5" Type="http://schemas.openxmlformats.org/officeDocument/2006/relationships/image" Target="../media/image134.png"/><Relationship Id="rId10" Type="http://schemas.openxmlformats.org/officeDocument/2006/relationships/image" Target="../media/image137.svg"/><Relationship Id="rId4" Type="http://schemas.openxmlformats.org/officeDocument/2006/relationships/hyperlink" Target="https://en.wikipedia.org/wiki/Mushroom_management" TargetMode="External"/><Relationship Id="rId9" Type="http://schemas.openxmlformats.org/officeDocument/2006/relationships/image" Target="../media/image136.png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1&amp;auto=format&amp;fit=crop&amp;w=1355&amp;q=80"/><Relationship Id="rId1" Type="http://schemas.openxmlformats.org/officeDocument/2006/relationships/slideLayout" Target="../slideLayouts/slideLayout8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hyperlink" Target="https://camo.githubusercontent.com/9e918e1e7cd28a73246cf1c8d2c9903da3e487a65931c823a2391afe4b4a0d04/68747470733a2f2f6c6963656e7365627574746f6e732e6e65742f702f7a65726f2f312e302f38387833312e706e67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229844-0D32-4CBA-992C-40C4DDCB1D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522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229844-0D32-4CBA-992C-40C4DDCB1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DA66A836-FB57-4E19-8371-3263CD4BDF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887987"/>
            <a:ext cx="12554124" cy="3857625"/>
          </a:xfrm>
          <a:prstGeom prst="rect">
            <a:avLst/>
          </a:prstGeom>
        </p:spPr>
      </p:pic>
      <p:sp>
        <p:nvSpPr>
          <p:cNvPr id="12" name="Untertitel 11"/>
          <p:cNvSpPr>
            <a:spLocks noGrp="1"/>
          </p:cNvSpPr>
          <p:nvPr>
            <p:ph type="subTitle" idx="1"/>
          </p:nvPr>
        </p:nvSpPr>
        <p:spPr>
          <a:xfrm>
            <a:off x="890596" y="2214225"/>
            <a:ext cx="11582969" cy="285750"/>
          </a:xfrm>
        </p:spPr>
        <p:txBody>
          <a:bodyPr/>
          <a:lstStyle/>
          <a:p>
            <a:r>
              <a:rPr lang="de-CH"/>
              <a:t>Softwareentwicklungsansätze 2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Fachmodul Digital Banking &amp; Insurance, FS21</a:t>
            </a:r>
          </a:p>
        </p:txBody>
      </p:sp>
    </p:spTree>
    <p:extLst>
      <p:ext uri="{BB962C8B-B14F-4D97-AF65-F5344CB8AC3E}">
        <p14:creationId xmlns:p14="http://schemas.microsoft.com/office/powerpoint/2010/main" val="15654900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56E916-8CBE-4936-AC51-1E1045006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498C45F-22F4-4B3D-9357-E0D0C9246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4C556-72F4-414F-B940-1E322AEFB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3514E-FF0B-4619-AA18-8F9E33EC021F}" type="slidenum">
              <a:rPr lang="de-CH" smtClean="0">
                <a:solidFill>
                  <a:srgbClr val="000000"/>
                </a:solidFill>
              </a:rPr>
              <a:pPr/>
              <a:t>10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FCAC69D-3B20-434E-A836-F7E86C5719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sz="2400" b="1" dirty="0"/>
              <a:t>Geschäftsmodelle</a:t>
            </a:r>
            <a:r>
              <a:rPr lang="de-CH" dirty="0"/>
              <a:t> </a:t>
            </a:r>
            <a:endParaRPr lang="en-GB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415BCED-7E0E-4778-B9BE-61A53725670F}"/>
              </a:ext>
            </a:extLst>
          </p:cNvPr>
          <p:cNvSpPr txBox="1"/>
          <p:nvPr/>
        </p:nvSpPr>
        <p:spPr>
          <a:xfrm>
            <a:off x="926000" y="2019300"/>
            <a:ext cx="11581147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dirty="0"/>
              <a:t>Produkt verkaufen ( Kunde = Eigentümer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dirty="0" err="1"/>
              <a:t>Subscription</a:t>
            </a:r>
            <a:r>
              <a:rPr lang="de-CH" dirty="0"/>
              <a:t> Modell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dirty="0"/>
              <a:t>Sharing Econom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dirty="0"/>
              <a:t>Second Han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dirty="0"/>
              <a:t>Support / Reparatur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dirty="0"/>
          </a:p>
          <a:p>
            <a:pPr algn="l"/>
            <a:r>
              <a:rPr lang="de-CH" dirty="0"/>
              <a:t>Tendenz zu </a:t>
            </a:r>
            <a:r>
              <a:rPr lang="de-CH" dirty="0" err="1"/>
              <a:t>Subscription</a:t>
            </a:r>
            <a:r>
              <a:rPr lang="de-CH" dirty="0"/>
              <a:t> bei Software, gibt es aber auch bei Auto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33C677F-884F-4129-9D16-590A0920D7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000" y="5428847"/>
            <a:ext cx="2172003" cy="53347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5ED87F0-B4F6-43A8-BD44-6A90EE593A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3230" y="4828688"/>
            <a:ext cx="8840434" cy="600159"/>
          </a:xfrm>
          <a:prstGeom prst="rect">
            <a:avLst/>
          </a:prstGeom>
        </p:spPr>
      </p:pic>
      <p:pic>
        <p:nvPicPr>
          <p:cNvPr id="10" name="Grafik 9" descr="Ein Bild, das Text, Mann enthält.&#10;&#10;Automatisch generierte Beschreibung">
            <a:extLst>
              <a:ext uri="{FF2B5EF4-FFF2-40B4-BE49-F238E27FC236}">
                <a16:creationId xmlns:a16="http://schemas.microsoft.com/office/drawing/2014/main" id="{AA23D073-B0E9-463D-8DCF-084469D361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1037" y="1282481"/>
            <a:ext cx="3856905" cy="24037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9CD8CF-341F-4B77-8D74-49B66A14547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0066" y="5580062"/>
            <a:ext cx="2426495" cy="1617663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B4F5B40-F43D-45A8-93A1-B9CD0A8595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5153" y="6114015"/>
            <a:ext cx="2067213" cy="457264"/>
          </a:xfrm>
          <a:prstGeom prst="rect">
            <a:avLst/>
          </a:prstGeom>
        </p:spPr>
      </p:pic>
      <p:pic>
        <p:nvPicPr>
          <p:cNvPr id="4098" name="Picture 2" descr="AutoScout24: Auto kaufen &amp; verkaufen in der Schweiz">
            <a:extLst>
              <a:ext uri="{FF2B5EF4-FFF2-40B4-BE49-F238E27FC236}">
                <a16:creationId xmlns:a16="http://schemas.microsoft.com/office/drawing/2014/main" id="{1A266F41-69D3-4CB9-8C3E-25A2E3295E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9633" y="5818475"/>
            <a:ext cx="2456070" cy="122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 descr="Ein Bild, das Text, Geschirr enthält.&#10;&#10;Automatisch generierte Beschreibung">
            <a:extLst>
              <a:ext uri="{FF2B5EF4-FFF2-40B4-BE49-F238E27FC236}">
                <a16:creationId xmlns:a16="http://schemas.microsoft.com/office/drawing/2014/main" id="{CAD41AD6-F3FE-4966-8B42-26CA85FBFE2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0634" y="4040564"/>
            <a:ext cx="2536326" cy="78812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7624EDBA-C2FA-42C7-93BD-21937CFD780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23447" y="3052506"/>
            <a:ext cx="2476846" cy="876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7900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8BB65A3-B5C6-4F4B-89E3-12AC7D4425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Innova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6755550-4202-414A-B01F-F282A5CBAF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34FF791-23CB-41CF-A7AB-97CC9600A8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56859" y="2753070"/>
            <a:ext cx="4750399" cy="4142573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59D92A86-91BE-4C00-9CF9-E1C61D62771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sz="1600" dirty="0"/>
              <a:t>„Eine wirklich gute Idee erkennt man daran, dass ihre Verwirklichung von vorne herein ausgeschlossen erscheint.“ </a:t>
            </a:r>
            <a:br>
              <a:rPr lang="de-CH" sz="1600" dirty="0"/>
            </a:br>
            <a:r>
              <a:rPr lang="de-CH" sz="1600" dirty="0"/>
              <a:t>― Albert Einstein</a:t>
            </a:r>
          </a:p>
          <a:p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7996294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A82D2DD-9E1F-4E4F-A586-5A81EEFAB6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F230BA-38B0-457D-A992-9D81E6019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2F388E-A754-4140-BD1B-3BC93BA39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2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06C66C3-A4B5-444E-AC0A-83B8C679A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uto 1936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74CA7F-8DED-4D98-B4A9-A1B9F38BFA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at 500 "</a:t>
            </a:r>
            <a:r>
              <a:rPr lang="en-GB" dirty="0" err="1"/>
              <a:t>Topolino</a:t>
            </a:r>
            <a:r>
              <a:rPr lang="en-GB" dirty="0"/>
              <a:t>"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8C396B9-0E52-417A-9081-7A832C988E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" name="Grafik 8" descr="Ein Bild, das Boden, Transport, alt, Auto enthält.&#10;&#10;Automatisch generierte Beschreibung">
            <a:extLst>
              <a:ext uri="{FF2B5EF4-FFF2-40B4-BE49-F238E27FC236}">
                <a16:creationId xmlns:a16="http://schemas.microsoft.com/office/drawing/2014/main" id="{511F37EF-632D-44EE-B383-B712C36F734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6957" y="1512081"/>
            <a:ext cx="6042910" cy="515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664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A82D2DD-9E1F-4E4F-A586-5A81EEFAB6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F230BA-38B0-457D-A992-9D81E6019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2F388E-A754-4140-BD1B-3BC93BA39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3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06C66C3-A4B5-444E-AC0A-83B8C679A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uto 2020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74CA7F-8DED-4D98-B4A9-A1B9F38BFA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at 500 “2020"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11F37EF-632D-44EE-B383-B712C36F73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6000" y="1509713"/>
            <a:ext cx="5616336" cy="3883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6523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A82D2DD-9E1F-4E4F-A586-5A81EEFAB6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F230BA-38B0-457D-A992-9D81E6019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2F388E-A754-4140-BD1B-3BC93BA39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4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06C66C3-A4B5-444E-AC0A-83B8C679A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omputer 1936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74CA7F-8DED-4D98-B4A9-A1B9F38BFA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onrad </a:t>
            </a:r>
            <a:r>
              <a:rPr lang="en-GB" dirty="0" err="1"/>
              <a:t>Zuse</a:t>
            </a:r>
            <a:r>
              <a:rPr lang="en-GB" dirty="0"/>
              <a:t> Z1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11F37EF-632D-44EE-B383-B712C36F73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981" y="1509713"/>
            <a:ext cx="5616336" cy="4188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1252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A82D2DD-9E1F-4E4F-A586-5A81EEFAB6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F230BA-38B0-457D-A992-9D81E6019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2F388E-A754-4140-BD1B-3BC93BA39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5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06C66C3-A4B5-444E-AC0A-83B8C679A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omputer 2020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74CA7F-8DED-4D98-B4A9-A1B9F38BFA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aspberry Pi</a:t>
            </a:r>
          </a:p>
          <a:p>
            <a:r>
              <a:rPr lang="en-GB" dirty="0"/>
              <a:t>30$ / 🍔 🍔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11F37EF-632D-44EE-B383-B712C36F73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981" y="1951366"/>
            <a:ext cx="5616336" cy="3305147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09B5B1E5-B14D-407F-B5E3-3E7F12228A94}"/>
              </a:ext>
            </a:extLst>
          </p:cNvPr>
          <p:cNvCxnSpPr>
            <a:stCxn id="9" idx="1"/>
            <a:endCxn id="9" idx="2"/>
          </p:cNvCxnSpPr>
          <p:nvPr/>
        </p:nvCxnSpPr>
        <p:spPr bwMode="auto">
          <a:xfrm>
            <a:off x="933981" y="3603940"/>
            <a:ext cx="2808168" cy="165257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A883FC74-8395-4001-AEB8-5D7F53842B20}"/>
              </a:ext>
            </a:extLst>
          </p:cNvPr>
          <p:cNvSpPr txBox="1"/>
          <p:nvPr/>
        </p:nvSpPr>
        <p:spPr>
          <a:xfrm rot="1844133">
            <a:off x="1520687" y="4263887"/>
            <a:ext cx="934278" cy="417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85mm</a:t>
            </a:r>
            <a:endParaRPr lang="en-GB" dirty="0"/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04C1E705-5618-44D0-910E-6AEE312F9726}"/>
              </a:ext>
            </a:extLst>
          </p:cNvPr>
          <p:cNvCxnSpPr/>
          <p:nvPr/>
        </p:nvCxnSpPr>
        <p:spPr bwMode="auto">
          <a:xfrm flipV="1">
            <a:off x="4287798" y="4169353"/>
            <a:ext cx="2310302" cy="124431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52706005-8CB0-4E80-8AAC-A9D958E42B31}"/>
              </a:ext>
            </a:extLst>
          </p:cNvPr>
          <p:cNvSpPr txBox="1"/>
          <p:nvPr/>
        </p:nvSpPr>
        <p:spPr>
          <a:xfrm rot="19807765">
            <a:off x="5265388" y="4712718"/>
            <a:ext cx="934278" cy="417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56m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56934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A82D2DD-9E1F-4E4F-A586-5A81EEFAB6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F230BA-38B0-457D-A992-9D81E6019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2F388E-A754-4140-BD1B-3BC93BA39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6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06C66C3-A4B5-444E-AC0A-83B8C679A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omputer 1984 - Ergonomie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74CA7F-8DED-4D98-B4A9-A1B9F38BFA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pple </a:t>
            </a:r>
            <a:r>
              <a:rPr lang="en-GB" dirty="0" err="1"/>
              <a:t>IIc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11F37EF-632D-44EE-B383-B712C36F73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47922" y="1509713"/>
            <a:ext cx="4188453" cy="4188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8282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A82D2DD-9E1F-4E4F-A586-5A81EEFAB6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F230BA-38B0-457D-A992-9D81E6019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2F388E-A754-4140-BD1B-3BC93BA39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7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06C66C3-A4B5-444E-AC0A-83B8C679A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omputer 2014 - Ergonomie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74CA7F-8DED-4D98-B4A9-A1B9F38BFA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pple Watch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11F37EF-632D-44EE-B383-B712C36F73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17351" y="1951366"/>
            <a:ext cx="2649595" cy="3305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9633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D12A2B4-BC6E-45C8-9EF9-F7207EF3C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1BC380D-922A-4C45-9F9C-68112B66D3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151FC29-5B9A-4FBB-8FB9-85619A0AA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3514E-FF0B-4619-AA18-8F9E33EC021F}" type="slidenum">
              <a:rPr lang="de-CH" smtClean="0">
                <a:solidFill>
                  <a:srgbClr val="000000"/>
                </a:solidFill>
              </a:rPr>
              <a:pPr/>
              <a:t>18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5ADDFFA-CD50-4A0C-81A3-02D5B7D41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https://www.lemulot.fr/cars/voitures_poids_puissance_prix.php?year=1940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E02460A-81DF-4824-BE36-D15C0B0AC8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87" y="2196477"/>
            <a:ext cx="5964272" cy="344347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1535FE5-F848-4395-BB02-EEE5D6B98B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2558" y="2196478"/>
            <a:ext cx="5898774" cy="3443477"/>
          </a:xfrm>
          <a:prstGeom prst="rect">
            <a:avLst/>
          </a:prstGeom>
        </p:spPr>
      </p:pic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C2131DF-537B-4656-87AF-9E37475F8931}"/>
              </a:ext>
            </a:extLst>
          </p:cNvPr>
          <p:cNvSpPr txBox="1">
            <a:spLocks/>
          </p:cNvSpPr>
          <p:nvPr/>
        </p:nvSpPr>
        <p:spPr bwMode="auto">
          <a:xfrm>
            <a:off x="927759" y="1508399"/>
            <a:ext cx="11581147" cy="111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lnSpc>
                <a:spcPct val="115000"/>
              </a:lnSpc>
              <a:spcBef>
                <a:spcPts val="800"/>
              </a:spcBef>
              <a:spcAft>
                <a:spcPct val="0"/>
              </a:spcAft>
              <a:defRPr sz="15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71450" algn="l" defTabSz="1042988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712788" indent="-169863" algn="l" defTabSz="1042988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1073150" indent="-180975" algn="l" defTabSz="1042988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431925" indent="-179388" algn="l" defTabSz="1042988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5pPr>
            <a:lvl6pPr marL="1889125" indent="-179388" algn="l" defTabSz="1042988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6pPr>
            <a:lvl7pPr marL="2346325" indent="-179388" algn="l" defTabSz="1042988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7pPr>
            <a:lvl8pPr marL="2803525" indent="-179388" algn="l" defTabSz="1042988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8pPr>
            <a:lvl9pPr marL="3260725" indent="-179388" algn="l" defTabSz="1042988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CH" kern="0" dirty="0"/>
              <a:t>Entwicklung Leistung Automobil</a:t>
            </a: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1920460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3A08DC8-6F0E-4EAA-838C-6A9A8939B4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0C678A-48FB-4DC4-9B7E-2425C3CB46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0014316-FF48-4F0C-84C7-53E47D4D0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9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52A44C2-CE2F-4A82-A465-4E238E25F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oresches</a:t>
            </a:r>
            <a:r>
              <a:rPr lang="en-GB" dirty="0"/>
              <a:t> </a:t>
            </a:r>
            <a:r>
              <a:rPr lang="en-GB" dirty="0" err="1"/>
              <a:t>Gesetz</a:t>
            </a:r>
            <a:br>
              <a:rPr lang="en-GB" dirty="0"/>
            </a:b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741DBD1-4EF4-4485-903B-7C6E4B989E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«die Komplexität </a:t>
            </a:r>
            <a:r>
              <a:rPr lang="de-CH" dirty="0">
                <a:hlinkClick r:id="rId2" tooltip="Integrierter Schaltkreis"/>
              </a:rPr>
              <a:t>integrierter Schaltkreise</a:t>
            </a:r>
            <a:r>
              <a:rPr lang="de-CH" dirty="0"/>
              <a:t> mit minimalen Komponentenkosten verdoppelt  sich mir konstanter Frequenz»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7075B24-5192-460E-B062-BCDDC798E5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981" y="1509713"/>
            <a:ext cx="5639056" cy="4172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5071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CB7C3DA-227D-416B-8005-DDCEF9D976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CB7C3DA-227D-416B-8005-DDCEF9D97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4A5E754-006B-44DB-91B3-DB73CE38B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A686FD-FADF-4D04-BFED-AF7C8A7B4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nstitut für Finanzmanagement </a:t>
            </a:r>
            <a:r>
              <a:rPr lang="de-DE" b="1">
                <a:solidFill>
                  <a:srgbClr val="000000"/>
                </a:solidFill>
              </a:rPr>
              <a:t>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34B051-9D2F-4B58-A19A-1D6C0FEC7E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DE" smtClean="0">
                <a:solidFill>
                  <a:srgbClr val="000000"/>
                </a:solidFill>
              </a:rPr>
              <a:pPr/>
              <a:t>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472D806-3E27-48BD-8501-EEB64B471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odulbeschreibung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5741EC4B-82BD-4FDC-A8E6-200C0AEBE2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4398346"/>
              </p:ext>
            </p:extLst>
          </p:nvPr>
        </p:nvGraphicFramePr>
        <p:xfrm>
          <a:off x="928688" y="3249454"/>
          <a:ext cx="11582400" cy="548640"/>
        </p:xfrm>
        <a:graphic>
          <a:graphicData uri="http://schemas.openxmlformats.org/drawingml/2006/table">
            <a:tbl>
              <a:tblPr firstRow="1" firstCol="1" bandRow="1"/>
              <a:tblGrid>
                <a:gridCol w="521662">
                  <a:extLst>
                    <a:ext uri="{9D8B030D-6E8A-4147-A177-3AD203B41FA5}">
                      <a16:colId xmlns:a16="http://schemas.microsoft.com/office/drawing/2014/main" val="1720061592"/>
                    </a:ext>
                  </a:extLst>
                </a:gridCol>
                <a:gridCol w="861050">
                  <a:extLst>
                    <a:ext uri="{9D8B030D-6E8A-4147-A177-3AD203B41FA5}">
                      <a16:colId xmlns:a16="http://schemas.microsoft.com/office/drawing/2014/main" val="493236192"/>
                    </a:ext>
                  </a:extLst>
                </a:gridCol>
                <a:gridCol w="947880">
                  <a:extLst>
                    <a:ext uri="{9D8B030D-6E8A-4147-A177-3AD203B41FA5}">
                      <a16:colId xmlns:a16="http://schemas.microsoft.com/office/drawing/2014/main" val="474988084"/>
                    </a:ext>
                  </a:extLst>
                </a:gridCol>
                <a:gridCol w="1272255">
                  <a:extLst>
                    <a:ext uri="{9D8B030D-6E8A-4147-A177-3AD203B41FA5}">
                      <a16:colId xmlns:a16="http://schemas.microsoft.com/office/drawing/2014/main" val="4144991682"/>
                    </a:ext>
                  </a:extLst>
                </a:gridCol>
                <a:gridCol w="2234515">
                  <a:extLst>
                    <a:ext uri="{9D8B030D-6E8A-4147-A177-3AD203B41FA5}">
                      <a16:colId xmlns:a16="http://schemas.microsoft.com/office/drawing/2014/main" val="1307613158"/>
                    </a:ext>
                  </a:extLst>
                </a:gridCol>
                <a:gridCol w="5745038">
                  <a:extLst>
                    <a:ext uri="{9D8B030D-6E8A-4147-A177-3AD203B41FA5}">
                      <a16:colId xmlns:a16="http://schemas.microsoft.com/office/drawing/2014/main" val="3862887600"/>
                    </a:ext>
                  </a:extLst>
                </a:gridCol>
              </a:tblGrid>
              <a:tr h="466476">
                <a:tc>
                  <a:txBody>
                    <a:bodyPr/>
                    <a:lstStyle/>
                    <a:p>
                      <a:pPr rtl="0"/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708" marR="4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.04.2021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708" marR="477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3.15-17.00 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rtl="0"/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 Lektionen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708" marR="477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tthias Cullmann</a:t>
                      </a:r>
                      <a:b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Baloise)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708" marR="477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ftware Entwicklungsansätze (2)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708" marR="477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lack Time – </a:t>
                      </a:r>
                      <a:r>
                        <a:rPr lang="de-DE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hat</a:t>
                      </a: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DE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s</a:t>
                      </a: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DE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t</a:t>
                      </a: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? </a:t>
                      </a:r>
                      <a:r>
                        <a:rPr lang="de-DE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hy</a:t>
                      </a: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? </a:t>
                      </a:r>
                      <a:r>
                        <a:rPr lang="de-DE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ow</a:t>
                      </a: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rtl="0"/>
                      <a:r>
                        <a:rPr lang="de-DE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penness</a:t>
                      </a:r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&amp; Innovation </a:t>
                      </a:r>
                    </a:p>
                    <a:p>
                      <a:pPr rtl="0"/>
                      <a:r>
                        <a:rPr lang="de-D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pen Source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708" marR="4770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5982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54794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416FA860-628E-42BB-B3F2-297DC7FEB3BB}"/>
              </a:ext>
            </a:extLst>
          </p:cNvPr>
          <p:cNvSpPr txBox="1"/>
          <p:nvPr/>
        </p:nvSpPr>
        <p:spPr>
          <a:xfrm>
            <a:off x="699132" y="1619135"/>
            <a:ext cx="1233337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/>
              <a:t>Wie schnell führen Autos heute, wenn sich die Geschwindigkeit nach Moores Gesetz entwickelt hätte?</a:t>
            </a:r>
            <a:endParaRPr lang="en-GB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D6A7BFD-77F1-447E-9FB3-AF7770167DEA}"/>
              </a:ext>
            </a:extLst>
          </p:cNvPr>
          <p:cNvSpPr txBox="1"/>
          <p:nvPr/>
        </p:nvSpPr>
        <p:spPr>
          <a:xfrm>
            <a:off x="5763491" y="2417617"/>
            <a:ext cx="4852555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l">
              <a:buFont typeface="+mj-lt"/>
              <a:buAutoNum type="alphaUcPeriod" startAt="3"/>
            </a:pPr>
            <a:r>
              <a:rPr lang="de-CH" dirty="0"/>
              <a:t>100.000 Km/h</a:t>
            </a:r>
            <a:br>
              <a:rPr lang="de-CH" dirty="0"/>
            </a:br>
            <a:br>
              <a:rPr lang="de-CH" dirty="0"/>
            </a:br>
            <a:endParaRPr lang="de-CH" dirty="0"/>
          </a:p>
          <a:p>
            <a:pPr marL="457200" indent="-457200" algn="l">
              <a:buAutoNum type="alphaUcPeriod" startAt="3"/>
            </a:pPr>
            <a:r>
              <a:rPr lang="en-GB" dirty="0"/>
              <a:t>1.000.000 Km/h</a:t>
            </a:r>
            <a:endParaRPr lang="de-CH" dirty="0"/>
          </a:p>
          <a:p>
            <a:pPr marL="457200" indent="-457200" algn="l">
              <a:buAutoNum type="alphaUcPeriod" startAt="3"/>
            </a:pPr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AE448B8-85FD-4546-AEA1-06F831611D9A}"/>
              </a:ext>
            </a:extLst>
          </p:cNvPr>
          <p:cNvSpPr txBox="1"/>
          <p:nvPr/>
        </p:nvSpPr>
        <p:spPr>
          <a:xfrm>
            <a:off x="910936" y="2417618"/>
            <a:ext cx="4852555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l">
              <a:buAutoNum type="alphaUcParenR"/>
            </a:pPr>
            <a:r>
              <a:rPr lang="de-CH" dirty="0"/>
              <a:t>2.000 Km/h</a:t>
            </a:r>
            <a:br>
              <a:rPr lang="de-CH" dirty="0"/>
            </a:br>
            <a:br>
              <a:rPr lang="de-CH" dirty="0"/>
            </a:br>
            <a:endParaRPr lang="de-CH" dirty="0"/>
          </a:p>
          <a:p>
            <a:pPr marL="457200" indent="-457200" algn="l">
              <a:buAutoNum type="alphaUcParenR"/>
            </a:pPr>
            <a:r>
              <a:rPr lang="de-CH" dirty="0"/>
              <a:t>20.000 Km/h</a:t>
            </a:r>
          </a:p>
          <a:p>
            <a:pPr marL="457200" indent="-457200" algn="l">
              <a:buAutoNum type="alphaUcParenR"/>
            </a:pPr>
            <a:endParaRPr lang="en-GB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0DBF9E5-C8C0-4BBD-9CFB-722A454F973B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66D964D-6C49-4AD9-8B49-E5533AC39AB7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8AAF7D4-79A8-4AE9-AF01-0F36B5DF1CF0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20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AD74845-FDCF-498C-B52D-A7C7630DF9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7952" y="3866146"/>
            <a:ext cx="3138763" cy="25181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43A429D-FCED-4BEE-9E2F-F48955F76BF3}"/>
              </a:ext>
            </a:extLst>
          </p:cNvPr>
          <p:cNvSpPr/>
          <p:nvPr/>
        </p:nvSpPr>
        <p:spPr>
          <a:xfrm>
            <a:off x="600323" y="6516065"/>
            <a:ext cx="444166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800" dirty="0"/>
              <a:t>1894 Benz Velo – 20 Km/h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FCDE372-9E18-44A7-A47D-C3D0789194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339" y="2456471"/>
            <a:ext cx="2565938" cy="376872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960DEFE-A7FD-48F3-8D7E-717D10877600}"/>
              </a:ext>
            </a:extLst>
          </p:cNvPr>
          <p:cNvSpPr/>
          <p:nvPr/>
        </p:nvSpPr>
        <p:spPr>
          <a:xfrm>
            <a:off x="7548880" y="6304414"/>
            <a:ext cx="5300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dirty="0"/>
              <a:t>1969 Apollo 10 – </a:t>
            </a:r>
            <a:r>
              <a:rPr lang="en-GB" sz="2800" dirty="0">
                <a:latin typeface="Verdana, Geneva,Arial,Helvetica,Sans-Serif"/>
              </a:rPr>
              <a:t>39.897 K</a:t>
            </a:r>
            <a:r>
              <a:rPr lang="en-GB" sz="2800" dirty="0"/>
              <a:t>m/h</a:t>
            </a:r>
          </a:p>
        </p:txBody>
      </p:sp>
    </p:spTree>
    <p:extLst>
      <p:ext uri="{BB962C8B-B14F-4D97-AF65-F5344CB8AC3E}">
        <p14:creationId xmlns:p14="http://schemas.microsoft.com/office/powerpoint/2010/main" val="28831297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0AE448B8-85FD-4546-AEA1-06F831611D9A}"/>
              </a:ext>
            </a:extLst>
          </p:cNvPr>
          <p:cNvSpPr txBox="1"/>
          <p:nvPr/>
        </p:nvSpPr>
        <p:spPr>
          <a:xfrm>
            <a:off x="4388668" y="6575714"/>
            <a:ext cx="4852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CH" sz="2400" b="1" dirty="0" err="1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laubs</a:t>
            </a:r>
            <a:r>
              <a:rPr lang="de-CH" sz="2400" b="1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nicht – rechne es!</a:t>
            </a:r>
            <a:endParaRPr lang="en-GB" sz="2400" b="1" dirty="0">
              <a:solidFill>
                <a:schemeClr val="bg1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0DBF9E5-C8C0-4BBD-9CFB-722A454F973B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66D964D-6C49-4AD9-8B49-E5533AC39AB7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8AAF7D4-79A8-4AE9-AF01-0F36B5DF1CF0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21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AD74845-FDCF-498C-B52D-A7C7630DF9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493" y="1476719"/>
            <a:ext cx="4321588" cy="29795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43A429D-FCED-4BEE-9E2F-F48955F76BF3}"/>
              </a:ext>
            </a:extLst>
          </p:cNvPr>
          <p:cNvSpPr/>
          <p:nvPr/>
        </p:nvSpPr>
        <p:spPr>
          <a:xfrm>
            <a:off x="98802" y="4704630"/>
            <a:ext cx="574170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3600" b="1" dirty="0">
                <a:solidFill>
                  <a:schemeClr val="bg1"/>
                </a:solidFill>
              </a:rPr>
              <a:t>1921</a:t>
            </a:r>
            <a:r>
              <a:rPr lang="en-GB" sz="3600" dirty="0">
                <a:solidFill>
                  <a:schemeClr val="bg1"/>
                </a:solidFill>
              </a:rPr>
              <a:t> </a:t>
            </a:r>
            <a:r>
              <a:rPr lang="en-GB" sz="3600" dirty="0" err="1">
                <a:solidFill>
                  <a:schemeClr val="bg1"/>
                </a:solidFill>
              </a:rPr>
              <a:t>Spyker</a:t>
            </a:r>
            <a:r>
              <a:rPr lang="en-GB" sz="3600" dirty="0">
                <a:solidFill>
                  <a:schemeClr val="bg1"/>
                </a:solidFill>
              </a:rPr>
              <a:t> C4 – 117km/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A4DC69-5C59-4888-8928-AECFE4F41A9C}"/>
              </a:ext>
            </a:extLst>
          </p:cNvPr>
          <p:cNvSpPr/>
          <p:nvPr/>
        </p:nvSpPr>
        <p:spPr>
          <a:xfrm>
            <a:off x="4901573" y="1476719"/>
            <a:ext cx="433965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3600" dirty="0">
                <a:solidFill>
                  <a:schemeClr val="bg1"/>
                </a:solidFill>
              </a:rPr>
              <a:t>1.079.252.850 Km/h</a:t>
            </a:r>
          </a:p>
        </p:txBody>
      </p:sp>
      <p:pic>
        <p:nvPicPr>
          <p:cNvPr id="17" name="Picture 16" descr="A picture containing person, person, older&#10;&#10;Description automatically generated">
            <a:extLst>
              <a:ext uri="{FF2B5EF4-FFF2-40B4-BE49-F238E27FC236}">
                <a16:creationId xmlns:a16="http://schemas.microsoft.com/office/drawing/2014/main" id="{DB0F2ACF-4822-4D3A-8D78-0E4A24A8D8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3991" b="99531" l="2402" r="98799">
                        <a14:foregroundMark x1="55255" y1="45305" x2="69369" y2="52582"/>
                        <a14:foregroundMark x1="69369" y1="52582" x2="55255" y2="47653"/>
                        <a14:foregroundMark x1="55255" y1="47653" x2="65465" y2="47887"/>
                        <a14:foregroundMark x1="28529" y1="70657" x2="40841" y2="77934"/>
                        <a14:foregroundMark x1="40841" y1="77934" x2="56456" y2="78404"/>
                        <a14:foregroundMark x1="56456" y1="78404" x2="42943" y2="72300"/>
                        <a14:foregroundMark x1="42943" y1="72300" x2="51351" y2="73944"/>
                        <a14:foregroundMark x1="37538" y1="80986" x2="52853" y2="82160"/>
                        <a14:foregroundMark x1="52853" y1="82160" x2="37237" y2="80516"/>
                        <a14:foregroundMark x1="37237" y1="80516" x2="36637" y2="78638"/>
                        <a14:foregroundMark x1="54955" y1="12441" x2="32733" y2="8216"/>
                        <a14:foregroundMark x1="52853" y1="4225" x2="41141" y2="6103"/>
                        <a14:foregroundMark x1="90090" y1="43897" x2="91592" y2="56103"/>
                        <a14:foregroundMark x1="91592" y1="56103" x2="83784" y2="77700"/>
                        <a14:foregroundMark x1="44745" y1="45775" x2="39339" y2="50469"/>
                        <a14:foregroundMark x1="20120" y1="48592" x2="21021" y2="53521"/>
                        <a14:foregroundMark x1="13213" y1="59624" x2="20120" y2="57746"/>
                        <a14:foregroundMark x1="11712" y1="61737" x2="17718" y2="64085"/>
                        <a14:foregroundMark x1="25826" y1="68545" x2="5105" y2="88263"/>
                        <a14:foregroundMark x1="5105" y1="88263" x2="17417" y2="97183"/>
                        <a14:foregroundMark x1="17417" y1="97183" x2="69369" y2="92019"/>
                        <a14:foregroundMark x1="69369" y1="92019" x2="85285" y2="95775"/>
                        <a14:foregroundMark x1="85285" y1="95775" x2="98799" y2="87559"/>
                        <a14:foregroundMark x1="98799" y1="87559" x2="99099" y2="74413"/>
                        <a14:foregroundMark x1="99099" y1="74413" x2="84685" y2="69249"/>
                        <a14:foregroundMark x1="84685" y1="69249" x2="69670" y2="67371"/>
                        <a14:foregroundMark x1="69670" y1="67371" x2="69670" y2="67371"/>
                        <a14:foregroundMark x1="32733" y1="82160" x2="17718" y2="90141"/>
                        <a14:foregroundMark x1="17718" y1="90141" x2="46246" y2="86620"/>
                        <a14:foregroundMark x1="46246" y1="86620" x2="68468" y2="87089"/>
                        <a14:foregroundMark x1="68468" y1="87089" x2="50751" y2="91784"/>
                        <a14:foregroundMark x1="50751" y1="91784" x2="74174" y2="91549"/>
                        <a14:foregroundMark x1="74174" y1="91549" x2="46547" y2="93897"/>
                        <a14:foregroundMark x1="46547" y1="93897" x2="30330" y2="99061"/>
                        <a14:foregroundMark x1="30330" y1="99061" x2="15015" y2="96479"/>
                        <a14:foregroundMark x1="15015" y1="96479" x2="29429" y2="95305"/>
                        <a14:foregroundMark x1="76877" y1="92254" x2="57357" y2="96714"/>
                        <a14:foregroundMark x1="57357" y1="96714" x2="77477" y2="98592"/>
                        <a14:foregroundMark x1="77477" y1="98592" x2="96697" y2="90610"/>
                        <a14:foregroundMark x1="96697" y1="90610" x2="83183" y2="99061"/>
                        <a14:foregroundMark x1="83183" y1="99061" x2="42943" y2="93662"/>
                        <a14:foregroundMark x1="42943" y1="93662" x2="41742" y2="92958"/>
                        <a14:foregroundMark x1="5706" y1="79577" x2="2402" y2="91784"/>
                        <a14:foregroundMark x1="2402" y1="91784" x2="5405" y2="9953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9490" y="3791022"/>
            <a:ext cx="2423872" cy="310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5778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B54BFD-C599-43B4-9D42-74708B8CAF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043D3C-9E70-4F39-AFDF-40325A4015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EE4F815-3002-4253-BB8A-7B2FCFD05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3514E-FF0B-4619-AA18-8F9E33EC021F}" type="slidenum">
              <a:rPr lang="de-CH" smtClean="0">
                <a:solidFill>
                  <a:srgbClr val="000000"/>
                </a:solidFill>
              </a:rPr>
              <a:pPr/>
              <a:t>22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C13F177-3712-434C-99B3-DE83148451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7BAB94-DD78-471A-B2AE-D6E53A6434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Es war einmal bei Airbus …</a:t>
            </a:r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B40D2F0-4588-43EE-A990-E95DF60E959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9897"/>
          <a:stretch/>
        </p:blipFill>
        <p:spPr>
          <a:xfrm>
            <a:off x="924994" y="2837728"/>
            <a:ext cx="5744161" cy="4306986"/>
          </a:xfrm>
          <a:prstGeom prst="rect">
            <a:avLst/>
          </a:prstGeom>
        </p:spPr>
      </p:pic>
      <p:pic>
        <p:nvPicPr>
          <p:cNvPr id="10" name="Grafik 9" descr="Ein Bild, das Himmel, draußen, Wasser, Boot enthält.&#10;&#10;Automatisch generierte Beschreibung">
            <a:extLst>
              <a:ext uri="{FF2B5EF4-FFF2-40B4-BE49-F238E27FC236}">
                <a16:creationId xmlns:a16="http://schemas.microsoft.com/office/drawing/2014/main" id="{0BECE194-BC5E-497F-9631-CE2D7E8D11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155" y="2837728"/>
            <a:ext cx="5878617" cy="3919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660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2C4EC70-7A0B-4F65-A58D-D527C84F5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EB2934F-7AA2-4D65-ABD7-A330B2086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181FB3B-882F-4589-B11D-A2DA50231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23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2A89489-8990-424C-BCF6-E383ADF0D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ie gross ist die Halbwertszeit?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5C881B-324D-40DC-AA6F-AF9940DDC8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Wissen </a:t>
            </a:r>
            <a:r>
              <a:rPr lang="de-CH" dirty="0">
                <a:sym typeface="Wingdings" panose="05000000000000000000" pitchFamily="2" charset="2"/>
              </a:rPr>
              <a:t> JavaScript Bingo</a:t>
            </a:r>
            <a:endParaRPr lang="de-CH" dirty="0"/>
          </a:p>
          <a:p>
            <a:r>
              <a:rPr lang="de-CH" dirty="0"/>
              <a:t> </a:t>
            </a:r>
          </a:p>
          <a:p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9D046F8-2842-47BC-8E1F-815BBECA36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427" y="1509713"/>
            <a:ext cx="5715000" cy="4267200"/>
          </a:xfrm>
          <a:prstGeom prst="rect">
            <a:avLst/>
          </a:prstGeom>
        </p:spPr>
      </p:pic>
      <p:sp>
        <p:nvSpPr>
          <p:cNvPr id="7" name="Sprechblase: rechteckig mit abgerundeten Ecken 6">
            <a:extLst>
              <a:ext uri="{FF2B5EF4-FFF2-40B4-BE49-F238E27FC236}">
                <a16:creationId xmlns:a16="http://schemas.microsoft.com/office/drawing/2014/main" id="{280B4880-D158-4E44-AD2D-6B417A163343}"/>
              </a:ext>
            </a:extLst>
          </p:cNvPr>
          <p:cNvSpPr/>
          <p:nvPr/>
        </p:nvSpPr>
        <p:spPr bwMode="auto">
          <a:xfrm>
            <a:off x="6539867" y="2778741"/>
            <a:ext cx="2435087" cy="2252604"/>
          </a:xfrm>
          <a:prstGeom prst="wedgeRoundRectCallout">
            <a:avLst>
              <a:gd name="adj1" fmla="val 86310"/>
              <a:gd name="adj2" fmla="val 56359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GB" b="1" dirty="0"/>
              <a:t>MILK LASTS LONGER THAN SOME JAVASCRIPT FRAMEWORKS</a:t>
            </a:r>
          </a:p>
        </p:txBody>
      </p:sp>
      <p:sp>
        <p:nvSpPr>
          <p:cNvPr id="12" name="Sprechblase: rechteckig mit abgerundeten Ecken 11">
            <a:extLst>
              <a:ext uri="{FF2B5EF4-FFF2-40B4-BE49-F238E27FC236}">
                <a16:creationId xmlns:a16="http://schemas.microsoft.com/office/drawing/2014/main" id="{A5D72E1F-9FFA-4DEA-9D5B-012CCF12D08A}"/>
              </a:ext>
            </a:extLst>
          </p:cNvPr>
          <p:cNvSpPr/>
          <p:nvPr/>
        </p:nvSpPr>
        <p:spPr bwMode="auto">
          <a:xfrm>
            <a:off x="10541049" y="1860943"/>
            <a:ext cx="2781935" cy="3551104"/>
          </a:xfrm>
          <a:prstGeom prst="wedgeRoundRectCallout">
            <a:avLst>
              <a:gd name="adj1" fmla="val -36931"/>
              <a:gd name="adj2" fmla="val 57241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GB" sz="1800" dirty="0"/>
              <a:t>With JavaScript Moore’s Law gets reinvented. Every 18 month a new JavaScript framework replaces another. There is no way you can keep learning stuff at this daunting pace. 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9C643D6-0235-4557-A899-65B5649C2B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01663" y="4945121"/>
            <a:ext cx="2408725" cy="2252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444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2C4EC70-7A0B-4F65-A58D-D527C84F5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EB2934F-7AA2-4D65-ABD7-A330B2086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181FB3B-882F-4589-B11D-A2DA50231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24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2A89489-8990-424C-BCF6-E383ADF0D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ie gross ist die Halbwertszeit?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5C881B-324D-40DC-AA6F-AF9940DDC8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Wissen </a:t>
            </a:r>
            <a:r>
              <a:rPr lang="de-CH" dirty="0">
                <a:sym typeface="Wingdings" panose="05000000000000000000" pitchFamily="2" charset="2"/>
              </a:rPr>
              <a:t> JavaScript Bingo</a:t>
            </a:r>
            <a:endParaRPr lang="de-CH" dirty="0"/>
          </a:p>
          <a:p>
            <a:r>
              <a:rPr lang="de-CH" dirty="0"/>
              <a:t>Hardware &amp; Software </a:t>
            </a:r>
          </a:p>
          <a:p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9D046F8-2842-47BC-8E1F-815BBECA36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427" y="1509713"/>
            <a:ext cx="5715000" cy="42672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C7042C2-4EB4-42AB-A0A2-0AEED53A29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9524" y="3214304"/>
            <a:ext cx="4699745" cy="394369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0D5C010-6854-4E71-864E-2A84A4555B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7121" y="3933703"/>
            <a:ext cx="1279827" cy="3163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041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2C4EC70-7A0B-4F65-A58D-D527C84F5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EB2934F-7AA2-4D65-ABD7-A330B2086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181FB3B-882F-4589-B11D-A2DA50231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25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2A89489-8990-424C-BCF6-E383ADF0D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ie gross ist die Halbwertszeit?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5C881B-324D-40DC-AA6F-AF9940DDC8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Wissen </a:t>
            </a:r>
            <a:r>
              <a:rPr lang="de-CH" dirty="0">
                <a:sym typeface="Wingdings" panose="05000000000000000000" pitchFamily="2" charset="2"/>
              </a:rPr>
              <a:t> </a:t>
            </a:r>
            <a:r>
              <a:rPr lang="de-CH">
                <a:sym typeface="Wingdings" panose="05000000000000000000" pitchFamily="2" charset="2"/>
              </a:rPr>
              <a:t>JavaScript</a:t>
            </a:r>
            <a:r>
              <a:rPr lang="de-CH" dirty="0">
                <a:sym typeface="Wingdings" panose="05000000000000000000" pitchFamily="2" charset="2"/>
              </a:rPr>
              <a:t> Bingo</a:t>
            </a:r>
            <a:endParaRPr lang="de-CH" dirty="0"/>
          </a:p>
          <a:p>
            <a:r>
              <a:rPr lang="de-CH" dirty="0"/>
              <a:t>Hardware </a:t>
            </a:r>
          </a:p>
          <a:p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C7042C2-4EB4-42AB-A0A2-0AEED53A29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9524" y="3214304"/>
            <a:ext cx="4699745" cy="394369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0D5C010-6854-4E71-864E-2A84A4555B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7121" y="3933703"/>
            <a:ext cx="1279827" cy="3163730"/>
          </a:xfrm>
          <a:prstGeom prst="rect">
            <a:avLst/>
          </a:prstGeom>
        </p:spPr>
      </p:pic>
      <p:sp>
        <p:nvSpPr>
          <p:cNvPr id="12" name="Titel 4">
            <a:extLst>
              <a:ext uri="{FF2B5EF4-FFF2-40B4-BE49-F238E27FC236}">
                <a16:creationId xmlns:a16="http://schemas.microsoft.com/office/drawing/2014/main" id="{4188D65E-EE90-4F29-9ED3-EFDECA48F162}"/>
              </a:ext>
            </a:extLst>
          </p:cNvPr>
          <p:cNvSpPr txBox="1">
            <a:spLocks/>
          </p:cNvSpPr>
          <p:nvPr/>
        </p:nvSpPr>
        <p:spPr bwMode="auto">
          <a:xfrm>
            <a:off x="713596" y="1690688"/>
            <a:ext cx="5605885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 i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CH" kern="0" dirty="0">
                <a:sym typeface="Wingdings" panose="05000000000000000000" pitchFamily="2" charset="2"/>
              </a:rPr>
              <a:t> </a:t>
            </a:r>
            <a:r>
              <a:rPr lang="de-CH" kern="0" dirty="0"/>
              <a:t>Time </a:t>
            </a:r>
            <a:r>
              <a:rPr lang="de-CH" kern="0" dirty="0" err="1"/>
              <a:t>to</a:t>
            </a:r>
            <a:r>
              <a:rPr lang="de-CH" kern="0" dirty="0"/>
              <a:t> </a:t>
            </a:r>
            <a:r>
              <a:rPr lang="de-CH" kern="0" dirty="0" err="1"/>
              <a:t>market</a:t>
            </a:r>
            <a:endParaRPr lang="en-GB" kern="0" dirty="0"/>
          </a:p>
        </p:txBody>
      </p:sp>
      <p:pic>
        <p:nvPicPr>
          <p:cNvPr id="8" name="Grafik 7" descr="Ein Bild, das Essen, Obst, Gemüse, verschieden enthält.&#10;&#10;Automatisch generierte Beschreibung">
            <a:extLst>
              <a:ext uri="{FF2B5EF4-FFF2-40B4-BE49-F238E27FC236}">
                <a16:creationId xmlns:a16="http://schemas.microsoft.com/office/drawing/2014/main" id="{FA1E77C4-CFD0-4465-877D-6EDB2F87C4C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597" y="2185465"/>
            <a:ext cx="5389030" cy="359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6666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defTabSz="1008126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prstClr val="white"/>
                </a:solidFill>
                <a:latin typeface="Calibri"/>
              </a:rPr>
              <a:t>20.04.2021</a:t>
            </a:r>
            <a:endParaRPr lang="de-CH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8126" fontAlgn="auto">
              <a:spcBef>
                <a:spcPts val="0"/>
              </a:spcBef>
              <a:spcAft>
                <a:spcPts val="0"/>
              </a:spcAft>
            </a:pPr>
            <a:fld id="{1CEC7F45-5006-4EBF-9E21-A224FA87210C}" type="slidenum">
              <a:rPr lang="de-CH">
                <a:solidFill>
                  <a:prstClr val="white"/>
                </a:solidFill>
                <a:latin typeface="Calibri"/>
              </a:rPr>
              <a:pPr defTabSz="1008126" fontAlgn="auto">
                <a:spcBef>
                  <a:spcPts val="0"/>
                </a:spcBef>
                <a:spcAft>
                  <a:spcPts val="0"/>
                </a:spcAft>
              </a:pPr>
              <a:t>26</a:t>
            </a:fld>
            <a:endParaRPr lang="de-CH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AutoShape 2" descr="http://svx-build04:8080/plugin/global-build-stats/createChart?title=number%20last%20year&amp;buildStatWidth=800&amp;buildStatHeight=600&amp;historicLength=2&amp;historicScale=YEARLY&amp;jobFilter=ALL&amp;nodeFilter=ALL&amp;launcherFilter=ALL&amp;successShown=true&amp;failuresShown=true&amp;unstablesShown=true&amp;abortedShown=true&amp;notBuildsShown=false&amp;yAxisChartType=COUNT&amp;buildStatusesShown=true&amp;totalBuildTimeShown=false&amp;averageBuildTimeShown=false"/>
          <p:cNvSpPr>
            <a:spLocks noChangeAspect="1" noChangeArrowheads="1"/>
          </p:cNvSpPr>
          <p:nvPr/>
        </p:nvSpPr>
        <p:spPr bwMode="auto">
          <a:xfrm>
            <a:off x="1852162" y="-159277"/>
            <a:ext cx="336056" cy="336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pPr algn="l" defTabSz="1008126" fontAlgn="auto">
              <a:spcBef>
                <a:spcPts val="0"/>
              </a:spcBef>
              <a:spcAft>
                <a:spcPts val="0"/>
              </a:spcAft>
            </a:pPr>
            <a:endParaRPr lang="de-CH" sz="1985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AutoShape 4" descr="http://svx-build04:8080/plugin/global-build-stats/createChart?title=number%20last%20year&amp;buildStatWidth=800&amp;buildStatHeight=600&amp;historicLength=2&amp;historicScale=YEARLY&amp;jobFilter=ALL&amp;nodeFilter=ALL&amp;launcherFilter=ALL&amp;successShown=true&amp;failuresShown=true&amp;unstablesShown=true&amp;abortedShown=true&amp;notBuildsShown=false&amp;yAxisChartType=COUNT&amp;buildStatusesShown=true&amp;totalBuildTimeShown=false&amp;averageBuildTimeShown=false"/>
          <p:cNvSpPr>
            <a:spLocks noChangeAspect="1" noChangeArrowheads="1"/>
          </p:cNvSpPr>
          <p:nvPr/>
        </p:nvSpPr>
        <p:spPr bwMode="auto">
          <a:xfrm>
            <a:off x="2020190" y="8751"/>
            <a:ext cx="336056" cy="336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pPr algn="l" defTabSz="1008126" fontAlgn="auto">
              <a:spcBef>
                <a:spcPts val="0"/>
              </a:spcBef>
              <a:spcAft>
                <a:spcPts val="0"/>
              </a:spcAft>
            </a:pPr>
            <a:endParaRPr lang="de-CH" sz="1985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2" name="Diagramm 1"/>
          <p:cNvGraphicFramePr/>
          <p:nvPr/>
        </p:nvGraphicFramePr>
        <p:xfrm>
          <a:off x="3148828" y="1557651"/>
          <a:ext cx="7330169" cy="5019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2012040" y="344808"/>
            <a:ext cx="9073515" cy="1260210"/>
          </a:xfrm>
        </p:spPr>
        <p:txBody>
          <a:bodyPr/>
          <a:lstStyle/>
          <a:p>
            <a:r>
              <a:rPr lang="de-CH" err="1">
                <a:solidFill>
                  <a:schemeClr val="bg1"/>
                </a:solidFill>
              </a:rPr>
              <a:t>continuous</a:t>
            </a:r>
            <a:r>
              <a:rPr lang="de-CH" dirty="0">
                <a:solidFill>
                  <a:schemeClr val="bg1"/>
                </a:solidFill>
              </a:rPr>
              <a:t> </a:t>
            </a:r>
            <a:r>
              <a:rPr lang="de-CH">
                <a:solidFill>
                  <a:schemeClr val="bg1"/>
                </a:solidFill>
              </a:rPr>
              <a:t>release</a:t>
            </a:r>
            <a:endParaRPr lang="de-CH" dirty="0">
              <a:solidFill>
                <a:schemeClr val="bg1"/>
              </a:solidFill>
            </a:endParaRPr>
          </a:p>
        </p:txBody>
      </p:sp>
      <p:pic>
        <p:nvPicPr>
          <p:cNvPr id="2050" name="Picture 2" descr="C:\Users\Public\dev\git\SoftwareManagementConsole\src\resources\smc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1334" y="5807442"/>
            <a:ext cx="878811" cy="87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EB5A33A-5B3A-45D6-9F09-22DB70899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</p:spTree>
    <p:extLst>
      <p:ext uri="{BB962C8B-B14F-4D97-AF65-F5344CB8AC3E}">
        <p14:creationId xmlns:p14="http://schemas.microsoft.com/office/powerpoint/2010/main" val="7623325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4907" y="1875219"/>
            <a:ext cx="8691840" cy="37191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B318C5F-E8C8-4239-AAA0-1EC46E6EC9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.04.2021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EB5F2AF-89A8-46B3-9E2D-FBDB98C6C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6D07FC-82E2-475D-9B5F-A40919D63B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0D590A-C341-4716-93FB-45321B7DB123}" type="slidenum">
              <a:rPr lang="de-CH" smtClean="0"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986845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FD40A663-C10F-46B4-BDD0-AA162EB7383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 err="1"/>
              <a:t>Slacktime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973C55C-9807-477E-8697-CEE05B9660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Innovation fördern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7C35A17-8775-4725-9CD9-CDC97CEECD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E047E4A-5669-4130-A509-AE864A41BC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03409" y="2542974"/>
            <a:ext cx="3814626" cy="381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3428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416FA860-628E-42BB-B3F2-297DC7FEB3BB}"/>
              </a:ext>
            </a:extLst>
          </p:cNvPr>
          <p:cNvSpPr txBox="1"/>
          <p:nvPr/>
        </p:nvSpPr>
        <p:spPr>
          <a:xfrm>
            <a:off x="679057" y="1537855"/>
            <a:ext cx="422545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/>
              <a:t>Was bedeutet Slack auf Deutsch?</a:t>
            </a:r>
            <a:endParaRPr lang="en-GB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D6A7BFD-77F1-447E-9FB3-AF7770167DEA}"/>
              </a:ext>
            </a:extLst>
          </p:cNvPr>
          <p:cNvSpPr txBox="1"/>
          <p:nvPr/>
        </p:nvSpPr>
        <p:spPr>
          <a:xfrm>
            <a:off x="5763491" y="2417617"/>
            <a:ext cx="4852555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l">
              <a:buFont typeface="+mj-lt"/>
              <a:buAutoNum type="alphaUcPeriod" startAt="3"/>
            </a:pPr>
            <a:r>
              <a:rPr lang="de-CH" dirty="0"/>
              <a:t>Müssiggang</a:t>
            </a: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endParaRPr lang="de-CH" dirty="0"/>
          </a:p>
          <a:p>
            <a:pPr marL="457200" indent="-457200" algn="l">
              <a:buAutoNum type="alphaUcPeriod" startAt="3"/>
            </a:pPr>
            <a:r>
              <a:rPr lang="de-CH" dirty="0"/>
              <a:t>Mangel</a:t>
            </a:r>
          </a:p>
          <a:p>
            <a:pPr marL="457200" indent="-457200" algn="l">
              <a:buAutoNum type="alphaUcPeriod" startAt="3"/>
            </a:pPr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AE448B8-85FD-4546-AEA1-06F831611D9A}"/>
              </a:ext>
            </a:extLst>
          </p:cNvPr>
          <p:cNvSpPr txBox="1"/>
          <p:nvPr/>
        </p:nvSpPr>
        <p:spPr>
          <a:xfrm>
            <a:off x="910936" y="2417618"/>
            <a:ext cx="4852555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l">
              <a:buAutoNum type="alphaUcParenR"/>
            </a:pPr>
            <a:r>
              <a:rPr lang="de-CH" dirty="0"/>
              <a:t>Geplauder</a:t>
            </a: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endParaRPr lang="de-CH" dirty="0"/>
          </a:p>
          <a:p>
            <a:pPr marL="457200" indent="-457200" algn="l">
              <a:buAutoNum type="alphaUcParenR"/>
            </a:pPr>
            <a:r>
              <a:rPr lang="de-CH" dirty="0"/>
              <a:t>Dunkelgrau</a:t>
            </a:r>
          </a:p>
          <a:p>
            <a:pPr marL="457200" indent="-457200" algn="l">
              <a:buAutoNum type="alphaUcParenR"/>
            </a:pPr>
            <a:endParaRPr lang="en-GB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0DBF9E5-C8C0-4BBD-9CFB-722A454F973B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66D964D-6C49-4AD9-8B49-E5533AC39AB7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8AAF7D4-79A8-4AE9-AF01-0F36B5DF1CF0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35171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BBEE9B-22DF-4F15-AA03-F622FB685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0.04.2021</a:t>
            </a:r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06D3BA-A3D9-4618-A3E1-01CE1F432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FF9DA5-55AE-4E4E-817A-1715E18ED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3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D1938C5-F4FC-4720-ACDB-F95AEEC8D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Wer sind wir?</a:t>
            </a:r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1FDD44A-416B-4A5B-B605-CA1208771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915" y="846931"/>
            <a:ext cx="8226520" cy="58674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34079104-2276-49CD-8C1E-B07B6E4B83B1}"/>
              </a:ext>
            </a:extLst>
          </p:cNvPr>
          <p:cNvSpPr/>
          <p:nvPr/>
        </p:nvSpPr>
        <p:spPr bwMode="auto">
          <a:xfrm>
            <a:off x="8909868" y="1690688"/>
            <a:ext cx="4368800" cy="48958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75F45AF-0098-449F-A6DE-CECCD0FF94D0}"/>
              </a:ext>
            </a:extLst>
          </p:cNvPr>
          <p:cNvSpPr/>
          <p:nvPr/>
        </p:nvSpPr>
        <p:spPr bwMode="auto">
          <a:xfrm>
            <a:off x="3930314" y="915989"/>
            <a:ext cx="4368800" cy="81121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3600" b="1" dirty="0">
                <a:solidFill>
                  <a:srgbClr val="008854"/>
                </a:solidFill>
              </a:rPr>
              <a:t>Über mich</a:t>
            </a:r>
            <a:endParaRPr kumimoji="0" lang="en-GB" sz="3600" b="1" i="0" u="none" strike="noStrike" cap="none" normalizeH="0" baseline="0" dirty="0">
              <a:ln>
                <a:noFill/>
              </a:ln>
              <a:solidFill>
                <a:srgbClr val="008854"/>
              </a:solidFill>
              <a:effectLst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9A7DB55-F443-485F-BA3A-525B4ACDF390}"/>
              </a:ext>
            </a:extLst>
          </p:cNvPr>
          <p:cNvSpPr/>
          <p:nvPr/>
        </p:nvSpPr>
        <p:spPr bwMode="auto">
          <a:xfrm>
            <a:off x="8219642" y="661988"/>
            <a:ext cx="4368800" cy="120967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9962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416FA860-628E-42BB-B3F2-297DC7FEB3BB}"/>
              </a:ext>
            </a:extLst>
          </p:cNvPr>
          <p:cNvSpPr txBox="1"/>
          <p:nvPr/>
        </p:nvSpPr>
        <p:spPr>
          <a:xfrm>
            <a:off x="910936" y="1537855"/>
            <a:ext cx="332616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CH" dirty="0"/>
              <a:t>Was wurde hier erfunden?</a:t>
            </a:r>
            <a:endParaRPr lang="en-GB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D6A7BFD-77F1-447E-9FB3-AF7770167DEA}"/>
              </a:ext>
            </a:extLst>
          </p:cNvPr>
          <p:cNvSpPr txBox="1"/>
          <p:nvPr/>
        </p:nvSpPr>
        <p:spPr>
          <a:xfrm>
            <a:off x="5763491" y="2018562"/>
            <a:ext cx="4852555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l">
              <a:buFont typeface="+mj-lt"/>
              <a:buAutoNum type="alphaLcParenR" startAt="3"/>
            </a:pPr>
            <a:r>
              <a:rPr lang="de-CH" dirty="0"/>
              <a:t>Im Bad</a:t>
            </a:r>
            <a:br>
              <a:rPr lang="de-CH" dirty="0"/>
            </a:br>
            <a:br>
              <a:rPr lang="de-CH" dirty="0"/>
            </a:br>
            <a:br>
              <a:rPr lang="de-CH" dirty="0"/>
            </a:br>
            <a:endParaRPr lang="de-CH" dirty="0"/>
          </a:p>
          <a:p>
            <a:pPr marL="457200" indent="-457200" algn="l">
              <a:buFont typeface="+mj-lt"/>
              <a:buAutoNum type="alphaLcParenR" startAt="3"/>
            </a:pPr>
            <a:endParaRPr lang="de-CH" dirty="0"/>
          </a:p>
          <a:p>
            <a:pPr algn="l"/>
            <a:br>
              <a:rPr lang="de-CH" dirty="0"/>
            </a:br>
            <a:br>
              <a:rPr lang="de-CH" dirty="0"/>
            </a:br>
            <a:endParaRPr lang="de-CH" dirty="0"/>
          </a:p>
          <a:p>
            <a:pPr marL="457200" indent="-457200" algn="l">
              <a:buFont typeface="+mj-lt"/>
              <a:buAutoNum type="alphaLcParenR" startAt="4"/>
            </a:pPr>
            <a:r>
              <a:rPr lang="de-CH" dirty="0"/>
              <a:t>Beim Hund ausführen</a:t>
            </a:r>
          </a:p>
          <a:p>
            <a:pPr algn="l"/>
            <a:endParaRPr lang="de-CH" dirty="0"/>
          </a:p>
          <a:p>
            <a:pPr marL="457200" indent="-457200" algn="l">
              <a:buAutoNum type="alphaUcPeriod" startAt="3"/>
            </a:pPr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AE448B8-85FD-4546-AEA1-06F831611D9A}"/>
              </a:ext>
            </a:extLst>
          </p:cNvPr>
          <p:cNvSpPr txBox="1"/>
          <p:nvPr/>
        </p:nvSpPr>
        <p:spPr>
          <a:xfrm>
            <a:off x="910936" y="2011218"/>
            <a:ext cx="4852555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l">
              <a:buFont typeface="+mj-lt"/>
              <a:buAutoNum type="alphaLcParenR"/>
            </a:pPr>
            <a:r>
              <a:rPr lang="de-CH" dirty="0"/>
              <a:t>Beim Frühstück</a:t>
            </a: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endParaRPr lang="de-CH" dirty="0"/>
          </a:p>
          <a:p>
            <a:pPr marL="457200" indent="-457200" algn="l">
              <a:buAutoNum type="alphaLcParenR"/>
            </a:pPr>
            <a:r>
              <a:rPr lang="de-CH" dirty="0"/>
              <a:t>An der </a:t>
            </a:r>
            <a:br>
              <a:rPr lang="de-CH" dirty="0"/>
            </a:br>
            <a:r>
              <a:rPr lang="de-CH" dirty="0"/>
              <a:t>Party</a:t>
            </a:r>
          </a:p>
          <a:p>
            <a:pPr marL="457200" indent="-457200" algn="l">
              <a:buAutoNum type="alphaLcParenR"/>
            </a:pPr>
            <a:endParaRPr lang="en-GB" dirty="0"/>
          </a:p>
        </p:txBody>
      </p:sp>
      <p:pic>
        <p:nvPicPr>
          <p:cNvPr id="6" name="Grafik 5" descr="Ein Bild, das Tisch, Tasse, Teller, Kaffee enthält.&#10;&#10;Automatisch generierte Beschreibung">
            <a:extLst>
              <a:ext uri="{FF2B5EF4-FFF2-40B4-BE49-F238E27FC236}">
                <a16:creationId xmlns:a16="http://schemas.microsoft.com/office/drawing/2014/main" id="{EA08EECF-1996-4CA3-9C5D-785D9D70C0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2138222" y="2467403"/>
            <a:ext cx="2875967" cy="191431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5983EE4-A8DA-4550-8AE1-93E35CAAE2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93581" y="2018562"/>
            <a:ext cx="2230991" cy="2230991"/>
          </a:xfrm>
          <a:prstGeom prst="rect">
            <a:avLst/>
          </a:prstGeom>
        </p:spPr>
      </p:pic>
      <p:pic>
        <p:nvPicPr>
          <p:cNvPr id="10" name="Grafik 9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5F45C846-4F56-4380-8707-0C080CEC36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666" y="4548979"/>
            <a:ext cx="2944973" cy="2484821"/>
          </a:xfrm>
          <a:prstGeom prst="rect">
            <a:avLst/>
          </a:prstGeom>
        </p:spPr>
      </p:pic>
      <p:pic>
        <p:nvPicPr>
          <p:cNvPr id="12" name="Grafik 11" descr="Ein Bild, das draußen, Himmel, Person, Mann enthält.&#10;&#10;Automatisch generierte Beschreibung">
            <a:extLst>
              <a:ext uri="{FF2B5EF4-FFF2-40B4-BE49-F238E27FC236}">
                <a16:creationId xmlns:a16="http://schemas.microsoft.com/office/drawing/2014/main" id="{45BFC425-E736-42A0-B958-914B8A700C8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4343" y="5036458"/>
            <a:ext cx="2600483" cy="1857488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4DF47E0-32F4-4FFD-9FB8-81D5BAE57797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3A93409-0EDE-45A9-A4C3-A93052C360DC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3F5893A-5385-49E4-A3D0-5E6BCCF7766F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374972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47ECC87-8944-4924-8772-25CDE6FC4F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B8E28F-E608-446E-B3B3-C6069BC9D9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4B9E8C-10CA-42FA-A395-37EC55253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31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E782E87-6079-4EF5-B1F7-048B7E284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3084" y="1509713"/>
            <a:ext cx="6217171" cy="361950"/>
          </a:xfrm>
        </p:spPr>
        <p:txBody>
          <a:bodyPr/>
          <a:lstStyle/>
          <a:p>
            <a:r>
              <a:rPr lang="de-CH" dirty="0"/>
              <a:t>Projekt: Presales / Kickoff / Vorstudie / Entwicklung / Abnahme / Bugfixing</a:t>
            </a:r>
            <a:endParaRPr lang="en-GB" dirty="0"/>
          </a:p>
        </p:txBody>
      </p:sp>
      <p:sp>
        <p:nvSpPr>
          <p:cNvPr id="9" name="Datumsplatzhalter 1">
            <a:extLst>
              <a:ext uri="{FF2B5EF4-FFF2-40B4-BE49-F238E27FC236}">
                <a16:creationId xmlns:a16="http://schemas.microsoft.com/office/drawing/2014/main" id="{34B0BA23-61AF-43B9-985F-0535F4F62625}"/>
              </a:ext>
            </a:extLst>
          </p:cNvPr>
          <p:cNvSpPr txBox="1">
            <a:spLocks/>
          </p:cNvSpPr>
          <p:nvPr/>
        </p:nvSpPr>
        <p:spPr bwMode="auto">
          <a:xfrm>
            <a:off x="3936886" y="7197725"/>
            <a:ext cx="1087649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de-CH"/>
            </a:defPPr>
            <a:lvl1pPr algn="l" defTabSz="1042988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D9971BB6-46C7-4A52-965D-8907B9155E58}"/>
              </a:ext>
            </a:extLst>
          </p:cNvPr>
          <p:cNvSpPr txBox="1">
            <a:spLocks/>
          </p:cNvSpPr>
          <p:nvPr/>
        </p:nvSpPr>
        <p:spPr bwMode="auto">
          <a:xfrm>
            <a:off x="5024534" y="7197725"/>
            <a:ext cx="1085654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de-CH"/>
            </a:defPPr>
            <a:lvl1pPr algn="r" defTabSz="1042988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31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11" name="Titel 4">
            <a:extLst>
              <a:ext uri="{FF2B5EF4-FFF2-40B4-BE49-F238E27FC236}">
                <a16:creationId xmlns:a16="http://schemas.microsoft.com/office/drawing/2014/main" id="{B0476064-8DB1-4316-8E70-357E52A1E5B0}"/>
              </a:ext>
            </a:extLst>
          </p:cNvPr>
          <p:cNvSpPr txBox="1">
            <a:spLocks/>
          </p:cNvSpPr>
          <p:nvPr/>
        </p:nvSpPr>
        <p:spPr bwMode="auto">
          <a:xfrm>
            <a:off x="504304" y="1509713"/>
            <a:ext cx="6217171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 i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CH" kern="0" dirty="0"/>
              <a:t>SCRUM : 9 Tage Arbeit / 1Tag Sprintwechsel / Daily Stand Up / </a:t>
            </a:r>
            <a:r>
              <a:rPr lang="de-CH" kern="0" dirty="0" err="1"/>
              <a:t>Self</a:t>
            </a:r>
            <a:r>
              <a:rPr lang="de-CH" kern="0" dirty="0"/>
              <a:t> </a:t>
            </a:r>
            <a:r>
              <a:rPr lang="de-CH" kern="0" dirty="0" err="1"/>
              <a:t>committed</a:t>
            </a:r>
            <a:r>
              <a:rPr lang="de-CH" kern="0" dirty="0"/>
              <a:t> / Velocity</a:t>
            </a:r>
            <a:endParaRPr lang="en-GB" kern="0" dirty="0"/>
          </a:p>
        </p:txBody>
      </p:sp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F1C58BC6-D581-4326-9014-3690137F94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43055"/>
              </p:ext>
            </p:extLst>
          </p:nvPr>
        </p:nvGraphicFramePr>
        <p:xfrm>
          <a:off x="337251" y="2646499"/>
          <a:ext cx="5772938" cy="4377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Diagramm 15">
            <a:extLst>
              <a:ext uri="{FF2B5EF4-FFF2-40B4-BE49-F238E27FC236}">
                <a16:creationId xmlns:a16="http://schemas.microsoft.com/office/drawing/2014/main" id="{5699C338-E9AC-43A4-8932-E9E6DA42EA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5173473"/>
              </p:ext>
            </p:extLst>
          </p:nvPr>
        </p:nvGraphicFramePr>
        <p:xfrm>
          <a:off x="6589691" y="2646499"/>
          <a:ext cx="6217171" cy="4266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E2A49270-8177-4D1E-AF7F-2DAAAC72AA5A}"/>
              </a:ext>
            </a:extLst>
          </p:cNvPr>
          <p:cNvCxnSpPr/>
          <p:nvPr/>
        </p:nvCxnSpPr>
        <p:spPr bwMode="auto">
          <a:xfrm>
            <a:off x="0" y="3449782"/>
            <a:ext cx="134429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B57A952F-5944-49CC-8BBE-8E623890FE4D}"/>
              </a:ext>
            </a:extLst>
          </p:cNvPr>
          <p:cNvSpPr txBox="1"/>
          <p:nvPr/>
        </p:nvSpPr>
        <p:spPr>
          <a:xfrm>
            <a:off x="-98125" y="3044676"/>
            <a:ext cx="870751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/>
              <a:t>100%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24363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 defTabSz="1008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20.04.2021</a:t>
            </a:r>
            <a:endParaRPr lang="de-CH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8126" fontAlgn="auto">
              <a:spcBef>
                <a:spcPts val="0"/>
              </a:spcBef>
              <a:spcAft>
                <a:spcPts val="0"/>
              </a:spcAft>
              <a:defRPr/>
            </a:pPr>
            <a:fld id="{1CEC7F45-5006-4EBF-9E21-A224FA87210C}" type="slidenum">
              <a:rPr lang="de-CH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008126" fontAlgn="auto">
                <a:spcBef>
                  <a:spcPts val="0"/>
                </a:spcBef>
                <a:spcAft>
                  <a:spcPts val="0"/>
                </a:spcAft>
                <a:defRPr/>
              </a:pPr>
              <a:t>32</a:t>
            </a:fld>
            <a:endParaRPr lang="de-CH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78554" y="287376"/>
            <a:ext cx="9073515" cy="1260210"/>
          </a:xfrm>
        </p:spPr>
        <p:txBody>
          <a:bodyPr/>
          <a:lstStyle/>
          <a:p>
            <a:r>
              <a:rPr lang="de-CH" dirty="0">
                <a:solidFill>
                  <a:schemeClr val="bg1"/>
                </a:solidFill>
              </a:rPr>
              <a:t> … </a:t>
            </a:r>
            <a:r>
              <a:rPr lang="de-CH" dirty="0" err="1">
                <a:solidFill>
                  <a:schemeClr val="bg1"/>
                </a:solidFill>
              </a:rPr>
              <a:t>when</a:t>
            </a:r>
            <a:r>
              <a:rPr lang="de-CH" dirty="0">
                <a:solidFill>
                  <a:schemeClr val="bg1"/>
                </a:solidFill>
              </a:rPr>
              <a:t> SRUM </a:t>
            </a:r>
            <a:r>
              <a:rPr lang="de-CH" dirty="0" err="1">
                <a:solidFill>
                  <a:schemeClr val="bg1"/>
                </a:solidFill>
              </a:rPr>
              <a:t>lied</a:t>
            </a:r>
            <a:r>
              <a:rPr lang="de-CH" dirty="0">
                <a:solidFill>
                  <a:schemeClr val="bg1"/>
                </a:solidFill>
              </a:rPr>
              <a:t> </a:t>
            </a:r>
            <a:r>
              <a:rPr lang="de-CH" dirty="0" err="1">
                <a:solidFill>
                  <a:schemeClr val="bg1"/>
                </a:solidFill>
              </a:rPr>
              <a:t>to</a:t>
            </a:r>
            <a:r>
              <a:rPr lang="de-CH" dirty="0">
                <a:solidFill>
                  <a:schemeClr val="bg1"/>
                </a:solidFill>
              </a:rPr>
              <a:t> </a:t>
            </a:r>
            <a:r>
              <a:rPr lang="de-CH" dirty="0" err="1">
                <a:solidFill>
                  <a:schemeClr val="bg1"/>
                </a:solidFill>
              </a:rPr>
              <a:t>me</a:t>
            </a:r>
            <a:endParaRPr lang="de-CH" dirty="0">
              <a:solidFill>
                <a:schemeClr val="bg1"/>
              </a:solidFill>
            </a:endParaRPr>
          </a:p>
        </p:txBody>
      </p:sp>
      <p:pic>
        <p:nvPicPr>
          <p:cNvPr id="58370" name="Picture 2" descr="https://lh4.googleusercontent.com/-qiLLAJF0IEE/URtqx2kl-xI/AAAAAAAAFyI/d9q4L1UoFuA/w506-h750/Screen%2BShot%2B2012-09-20%2Bat%2B5.59.25%2BPM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942750" y="1557651"/>
            <a:ext cx="5313887" cy="524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0C202C-6C33-4E61-B36C-B7C5B9968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prstClr val="black">
                    <a:tint val="75000"/>
                  </a:prstClr>
                </a:solidFill>
              </a:rPr>
              <a:t>Institut für Finanzmanagement IFF</a:t>
            </a:r>
          </a:p>
        </p:txBody>
      </p:sp>
    </p:spTree>
    <p:extLst>
      <p:ext uri="{BB962C8B-B14F-4D97-AF65-F5344CB8AC3E}">
        <p14:creationId xmlns:p14="http://schemas.microsoft.com/office/powerpoint/2010/main" val="37477605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9760A09-BE22-4838-99B3-4E48E0139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BA30E59-D820-4336-8EEB-66117DD45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5A6D3B-45E1-40DD-AFF6-D3B8D2E08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33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2E7D3E1-7CF1-4046-B5A7-989CDEA92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5 Wege, Slack-Time zu schaffen</a:t>
            </a:r>
            <a:br>
              <a:rPr lang="de-CH" dirty="0"/>
            </a:b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81C687-9EBE-4835-A3B2-55C9CD279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800" b="1" dirty="0"/>
              <a:t>Pause zwischen Sprints</a:t>
            </a:r>
            <a:br>
              <a:rPr lang="de-CH" sz="1800" dirty="0"/>
            </a:br>
            <a:r>
              <a:rPr lang="de-CH" sz="1800" dirty="0"/>
              <a:t>Je nach dem, wie lange der Sprint dauert, beginnt der nächste Sprint erst vier Stunden bis zwei Tage nachdem der alte endete.</a:t>
            </a:r>
          </a:p>
          <a:p>
            <a:r>
              <a:rPr lang="de-CH" sz="1800" b="1" dirty="0"/>
              <a:t>6x2+1</a:t>
            </a:r>
            <a:br>
              <a:rPr lang="de-CH" sz="1800" dirty="0"/>
            </a:br>
            <a:r>
              <a:rPr lang="de-CH" sz="1800" dirty="0"/>
              <a:t>Mike Cohn schlägt eine Woche Pause nach je sechs Zwei-Wochen-Sprints vor.</a:t>
            </a:r>
          </a:p>
          <a:p>
            <a:r>
              <a:rPr lang="de-CH" sz="1800" b="1" dirty="0"/>
              <a:t>Entwickler-Freitag</a:t>
            </a:r>
            <a:br>
              <a:rPr lang="de-CH" sz="1800" dirty="0"/>
            </a:br>
            <a:r>
              <a:rPr lang="de-CH" sz="1800" dirty="0"/>
              <a:t>Der Legende nach haben Entwickler bei Google jeden Freitag Zeit für Nebenprojekte.</a:t>
            </a:r>
          </a:p>
          <a:p>
            <a:r>
              <a:rPr lang="de-CH" sz="1800" b="1" dirty="0"/>
              <a:t>Gold Cards</a:t>
            </a:r>
            <a:br>
              <a:rPr lang="de-CH" sz="1800" dirty="0"/>
            </a:br>
            <a:r>
              <a:rPr lang="de-CH" sz="1800" dirty="0"/>
              <a:t>In jeder Iteration bekommt jeder Entwickler einen Gutschein, den er gegen einen "freien" Tag einlösen kann.</a:t>
            </a:r>
          </a:p>
          <a:p>
            <a:r>
              <a:rPr lang="de-CH" sz="1800" b="1" dirty="0"/>
              <a:t>FedEx-Day</a:t>
            </a:r>
            <a:br>
              <a:rPr lang="de-CH" sz="1800" dirty="0"/>
            </a:br>
            <a:r>
              <a:rPr lang="de-CH" sz="1800" dirty="0"/>
              <a:t>Einmal pro Quartal kommen alle Entwickler für anderthalb Tage zusammen um coole neue Sachen zu bauen. Heute würde man das wohl Hackathon nennen.</a:t>
            </a:r>
          </a:p>
          <a:p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17421586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9760A09-BE22-4838-99B3-4E48E0139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BA30E59-D820-4336-8EEB-66117DD45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5A6D3B-45E1-40DD-AFF6-D3B8D2E08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34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2E7D3E1-7CF1-4046-B5A7-989CDEA92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5 Wege, Slack-Time zu schaffen</a:t>
            </a:r>
            <a:br>
              <a:rPr lang="de-CH" dirty="0"/>
            </a:b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81C687-9EBE-4835-A3B2-55C9CD279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800" b="1" dirty="0"/>
              <a:t>Pause zwischen Sprints</a:t>
            </a:r>
            <a:br>
              <a:rPr lang="de-CH" sz="1800" dirty="0"/>
            </a:br>
            <a:r>
              <a:rPr lang="de-CH" sz="1800" dirty="0"/>
              <a:t>Je nach dem, wie lange der Sprint dauert, beginnt der nächste Sprint erst vier Stunden bis zwei Tage nachdem der alte endete.</a:t>
            </a:r>
          </a:p>
          <a:p>
            <a:r>
              <a:rPr lang="de-CH" sz="1800" b="1" dirty="0"/>
              <a:t>6x2+1</a:t>
            </a:r>
            <a:br>
              <a:rPr lang="de-CH" sz="1800" dirty="0"/>
            </a:br>
            <a:r>
              <a:rPr lang="de-CH" sz="1800" dirty="0"/>
              <a:t>Mike Cohn schlägt eine Woche Pause nach je sechs Zwei-Wochen-Sprints vor.</a:t>
            </a:r>
          </a:p>
          <a:p>
            <a:r>
              <a:rPr lang="de-CH" sz="1800" b="1" dirty="0"/>
              <a:t>Entwickler-Freitag</a:t>
            </a:r>
            <a:br>
              <a:rPr lang="de-CH" sz="1800" dirty="0"/>
            </a:br>
            <a:r>
              <a:rPr lang="de-CH" sz="1800" dirty="0"/>
              <a:t>Der Legende nach haben Entwickler bei Google jeden Freitag Zeit für Nebenprojekte.</a:t>
            </a:r>
          </a:p>
          <a:p>
            <a:r>
              <a:rPr lang="de-CH" sz="1800" b="1" dirty="0"/>
              <a:t>Gold Cards</a:t>
            </a:r>
            <a:br>
              <a:rPr lang="de-CH" sz="1800" dirty="0"/>
            </a:br>
            <a:r>
              <a:rPr lang="de-CH" sz="1800" dirty="0"/>
              <a:t>In jeder Iteration bekommt jeder Entwickler einen Gutschein, den er gegen einen "freien" Tag einlösen kann.</a:t>
            </a:r>
          </a:p>
          <a:p>
            <a:r>
              <a:rPr lang="de-CH" sz="1800" b="1" dirty="0"/>
              <a:t>FedEx-Day</a:t>
            </a:r>
            <a:br>
              <a:rPr lang="de-CH" sz="1800" dirty="0"/>
            </a:br>
            <a:r>
              <a:rPr lang="de-CH" sz="1800" dirty="0"/>
              <a:t>Einmal pro Quartal kommen alle Entwickler für anderthalb Tage zusammen um coole neue Sachen zu bauen. Heute würde man das wohl Hackathon nennen.</a:t>
            </a:r>
          </a:p>
          <a:p>
            <a:endParaRPr lang="en-GB" sz="180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5086A147-A8D8-4DBF-8922-C5C1DC5C7D42}"/>
              </a:ext>
            </a:extLst>
          </p:cNvPr>
          <p:cNvSpPr/>
          <p:nvPr/>
        </p:nvSpPr>
        <p:spPr bwMode="auto">
          <a:xfrm rot="892469">
            <a:off x="8647044" y="3160644"/>
            <a:ext cx="3916018" cy="993913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150C133-3E84-4342-83E4-7460244170F5}"/>
              </a:ext>
            </a:extLst>
          </p:cNvPr>
          <p:cNvSpPr txBox="1"/>
          <p:nvPr/>
        </p:nvSpPr>
        <p:spPr>
          <a:xfrm rot="892469">
            <a:off x="9117667" y="3409674"/>
            <a:ext cx="29498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/>
              <a:t>SAFe Innovation S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15125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9760A09-BE22-4838-99B3-4E48E0139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BA30E59-D820-4336-8EEB-66117DD45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5A6D3B-45E1-40DD-AFF6-D3B8D2E08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35</a:t>
            </a:fld>
            <a:endParaRPr lang="de-CH">
              <a:solidFill>
                <a:srgbClr val="000000"/>
              </a:solidFill>
            </a:endParaRPr>
          </a:p>
        </p:txBody>
      </p:sp>
      <p:pic>
        <p:nvPicPr>
          <p:cNvPr id="8" name="Grafik 7">
            <a:hlinkClick r:id="rId3"/>
            <a:extLst>
              <a:ext uri="{FF2B5EF4-FFF2-40B4-BE49-F238E27FC236}">
                <a16:creationId xmlns:a16="http://schemas.microsoft.com/office/drawing/2014/main" id="{E891D6A0-F913-4F53-BD0F-A86F5F9512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2901" y="818156"/>
            <a:ext cx="8563429" cy="205703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50FE88B-C969-478D-9CB4-502618166F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4258" y="3392972"/>
            <a:ext cx="4677428" cy="3439005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E8ACBB7C-03B6-4698-9E8A-46326EC37376}"/>
              </a:ext>
            </a:extLst>
          </p:cNvPr>
          <p:cNvSpPr/>
          <p:nvPr/>
        </p:nvSpPr>
        <p:spPr>
          <a:xfrm>
            <a:off x="5787493" y="2875191"/>
            <a:ext cx="6721475" cy="410881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CH" b="1" dirty="0"/>
              <a:t>Regel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CH" sz="2000" dirty="0"/>
              <a:t>Wer auch immer kommt, es sind die richtigen Leute – einer oder 25 ist egal, und jeder ist wichtig und motiviert.</a:t>
            </a:r>
            <a:br>
              <a:rPr lang="de-CH" sz="2000" dirty="0"/>
            </a:br>
            <a:endParaRPr lang="de-CH" sz="20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de-CH" sz="2000" dirty="0"/>
              <a:t>Was auch immer geschieht, es ist das Einzige, was geschehen konnte – Ungeplantes und Unerwartetes ist oft kreativ und nützlich.</a:t>
            </a:r>
            <a:br>
              <a:rPr lang="de-CH" sz="2000" dirty="0"/>
            </a:br>
            <a:endParaRPr lang="de-CH" sz="20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de-CH" sz="2000" dirty="0"/>
              <a:t>Es beginnt, wenn die Zeit reif ist – wichtig ist die Energie (nicht die Pünktlichkeit).</a:t>
            </a:r>
            <a:br>
              <a:rPr lang="de-CH" sz="2000" dirty="0"/>
            </a:br>
            <a:endParaRPr lang="de-CH" sz="20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de-CH" sz="2000" dirty="0"/>
              <a:t>Vorbei ist vorbei – Nicht vorbei ist Nicht-vorbei – wenn die Energie zu Ende ist, ist die Zeit um.</a:t>
            </a:r>
          </a:p>
        </p:txBody>
      </p:sp>
    </p:spTree>
    <p:extLst>
      <p:ext uri="{BB962C8B-B14F-4D97-AF65-F5344CB8AC3E}">
        <p14:creationId xmlns:p14="http://schemas.microsoft.com/office/powerpoint/2010/main" val="35351999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9760A09-BE22-4838-99B3-4E48E0139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BA30E59-D820-4336-8EEB-66117DD45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5A6D3B-45E1-40DD-AFF6-D3B8D2E08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36</a:t>
            </a:fld>
            <a:endParaRPr lang="de-CH">
              <a:solidFill>
                <a:srgbClr val="000000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891D6A0-F913-4F53-BD0F-A86F5F9512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2901" y="818156"/>
            <a:ext cx="8563429" cy="2057035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E8ACBB7C-03B6-4698-9E8A-46326EC37376}"/>
              </a:ext>
            </a:extLst>
          </p:cNvPr>
          <p:cNvSpPr/>
          <p:nvPr/>
        </p:nvSpPr>
        <p:spPr>
          <a:xfrm>
            <a:off x="6234754" y="2917475"/>
            <a:ext cx="6169281" cy="3364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CH" b="1" dirty="0"/>
              <a:t>Hummeln und Schmetterlinge</a:t>
            </a:r>
          </a:p>
          <a:p>
            <a:pPr algn="l"/>
            <a:r>
              <a:rPr lang="de-CH" dirty="0"/>
              <a:t>Wenn Menschen das Gesetz der zwei Füße anwenden, zeigen sie manchmal Verhaltensweisen, die metaphorisch mit den Begriffen „Hummeln“ und „Schmetterlingen“ ausgedrückt werden: „Hummeln“ bewegen sich von Workshop zu Workshop wie Hummeln von Blüte zu Blüte und befruchten die Workshops wechselseitig „Schmetterlinge“ sind Anziehungspunkt für And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4904B1B-9BD8-42FB-8638-E27F04F29A94}"/>
              </a:ext>
            </a:extLst>
          </p:cNvPr>
          <p:cNvSpPr/>
          <p:nvPr/>
        </p:nvSpPr>
        <p:spPr>
          <a:xfrm>
            <a:off x="685012" y="3005132"/>
            <a:ext cx="554974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CH" b="1" dirty="0"/>
              <a:t>Gesetz der zwei Füße</a:t>
            </a:r>
          </a:p>
          <a:p>
            <a:pPr algn="l"/>
            <a:r>
              <a:rPr lang="de-CH" dirty="0"/>
              <a:t>als Ausdruck der Freiheit und Selbstverantwortung: Der Teilnehmer bleibt nur so lange in einer Gruppe, wie er es für sinnvoll erachtet, also solange er etwas lernen und/oder beitragen kann.</a:t>
            </a:r>
          </a:p>
        </p:txBody>
      </p:sp>
    </p:spTree>
    <p:extLst>
      <p:ext uri="{BB962C8B-B14F-4D97-AF65-F5344CB8AC3E}">
        <p14:creationId xmlns:p14="http://schemas.microsoft.com/office/powerpoint/2010/main" val="26553619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9760A09-BE22-4838-99B3-4E48E0139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BA30E59-D820-4336-8EEB-66117DD45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5A6D3B-45E1-40DD-AFF6-D3B8D2E08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37</a:t>
            </a:fld>
            <a:endParaRPr lang="de-CH">
              <a:solidFill>
                <a:srgbClr val="000000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891D6A0-F913-4F53-BD0F-A86F5F9512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3023" y="638768"/>
            <a:ext cx="8563429" cy="205703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70E8256-1336-444B-B568-666FA9A2E2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066" y="2576604"/>
            <a:ext cx="5625247" cy="4218935"/>
          </a:xfrm>
          <a:prstGeom prst="rect">
            <a:avLst/>
          </a:prstGeom>
        </p:spPr>
      </p:pic>
      <p:pic>
        <p:nvPicPr>
          <p:cNvPr id="13" name="Grafik 12" descr="Ein Bild, das Decke, drinnen, Person, Personen enthält.&#10;&#10;Automatisch generierte Beschreibung">
            <a:extLst>
              <a:ext uri="{FF2B5EF4-FFF2-40B4-BE49-F238E27FC236}">
                <a16:creationId xmlns:a16="http://schemas.microsoft.com/office/drawing/2014/main" id="{EF4CB0C0-1752-4A3E-89E4-61FFA576B9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0504" y="2576604"/>
            <a:ext cx="5625247" cy="4218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73523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9760A09-BE22-4838-99B3-4E48E0139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BA30E59-D820-4336-8EEB-66117DD45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5A6D3B-45E1-40DD-AFF6-D3B8D2E08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38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2E7D3E1-7CF1-4046-B5A7-989CDEA924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999" y="1566863"/>
            <a:ext cx="11582969" cy="361950"/>
          </a:xfrm>
        </p:spPr>
        <p:txBody>
          <a:bodyPr/>
          <a:lstStyle/>
          <a:p>
            <a:r>
              <a:rPr lang="de-CH" dirty="0"/>
              <a:t>Baloise Code Camp</a:t>
            </a:r>
            <a:endParaRPr lang="en-GB" dirty="0"/>
          </a:p>
        </p:txBody>
      </p:sp>
      <p:pic>
        <p:nvPicPr>
          <p:cNvPr id="9" name="codecamp2019large_pp">
            <a:hlinkClick r:id="" action="ppaction://media"/>
            <a:extLst>
              <a:ext uri="{FF2B5EF4-FFF2-40B4-BE49-F238E27FC236}">
                <a16:creationId xmlns:a16="http://schemas.microsoft.com/office/drawing/2014/main" id="{121E17EA-1A16-4E4B-9733-25F50F0DFB3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2678918" y="2465388"/>
            <a:ext cx="7176281" cy="4036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873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566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416FA860-628E-42BB-B3F2-297DC7FEB3BB}"/>
              </a:ext>
            </a:extLst>
          </p:cNvPr>
          <p:cNvSpPr txBox="1"/>
          <p:nvPr/>
        </p:nvSpPr>
        <p:spPr>
          <a:xfrm>
            <a:off x="1118639" y="1922318"/>
            <a:ext cx="293381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i="1" dirty="0"/>
              <a:t>Invention </a:t>
            </a:r>
            <a:r>
              <a:rPr lang="de-CH" i="1" dirty="0" err="1"/>
              <a:t>vs</a:t>
            </a:r>
            <a:r>
              <a:rPr lang="de-CH" i="1" dirty="0"/>
              <a:t> Innovation</a:t>
            </a:r>
            <a:endParaRPr lang="en-GB" i="1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06FCA19-EE8E-41EE-87B5-757806EED8A3}"/>
              </a:ext>
            </a:extLst>
          </p:cNvPr>
          <p:cNvSpPr/>
          <p:nvPr/>
        </p:nvSpPr>
        <p:spPr>
          <a:xfrm>
            <a:off x="999953" y="5967419"/>
            <a:ext cx="931139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 err="1"/>
              <a:t>Integriertes</a:t>
            </a:r>
            <a:r>
              <a:rPr lang="en-GB" b="1" dirty="0"/>
              <a:t> </a:t>
            </a:r>
            <a:r>
              <a:rPr lang="en-GB" b="1" dirty="0" err="1"/>
              <a:t>Wissens</a:t>
            </a:r>
            <a:r>
              <a:rPr lang="en-GB" b="1" dirty="0"/>
              <a:t>- und </a:t>
            </a:r>
            <a:r>
              <a:rPr lang="en-GB" b="1" dirty="0" err="1"/>
              <a:t>Innovationsmanagement</a:t>
            </a:r>
            <a:r>
              <a:rPr lang="en-GB" b="1" dirty="0"/>
              <a:t>, Franken &amp; Franken</a:t>
            </a:r>
          </a:p>
        </p:txBody>
      </p:sp>
      <p:sp>
        <p:nvSpPr>
          <p:cNvPr id="4" name="Sprechblase: rechteckig mit abgerundeten Ecken 3">
            <a:extLst>
              <a:ext uri="{FF2B5EF4-FFF2-40B4-BE49-F238E27FC236}">
                <a16:creationId xmlns:a16="http://schemas.microsoft.com/office/drawing/2014/main" id="{2847DA8F-D9E3-457D-8DEC-759ED4EE7413}"/>
              </a:ext>
            </a:extLst>
          </p:cNvPr>
          <p:cNvSpPr/>
          <p:nvPr/>
        </p:nvSpPr>
        <p:spPr bwMode="auto">
          <a:xfrm>
            <a:off x="2027583" y="4159959"/>
            <a:ext cx="1451114" cy="805070"/>
          </a:xfrm>
          <a:prstGeom prst="wedgeRoundRectCallout">
            <a:avLst>
              <a:gd name="adj1" fmla="val -76615"/>
              <a:gd name="adj2" fmla="val -276907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dee</a:t>
            </a:r>
            <a:endParaRPr kumimoji="0" lang="en-GB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Sprechblase: rechteckig mit abgerundeten Ecken 4">
            <a:extLst>
              <a:ext uri="{FF2B5EF4-FFF2-40B4-BE49-F238E27FC236}">
                <a16:creationId xmlns:a16="http://schemas.microsoft.com/office/drawing/2014/main" id="{BEDE6346-754C-408A-831E-8C31CB344CD1}"/>
              </a:ext>
            </a:extLst>
          </p:cNvPr>
          <p:cNvSpPr/>
          <p:nvPr/>
        </p:nvSpPr>
        <p:spPr bwMode="auto">
          <a:xfrm>
            <a:off x="5479773" y="2852530"/>
            <a:ext cx="3057940" cy="805070"/>
          </a:xfrm>
          <a:prstGeom prst="wedgeRoundRectCallout">
            <a:avLst>
              <a:gd name="adj1" fmla="val -96099"/>
              <a:gd name="adj2" fmla="val -138636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Umsetzung</a:t>
            </a:r>
            <a:endParaRPr kumimoji="0" lang="en-GB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E0CFDFE-3682-446E-8306-09EAED7E944D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B55265A-7C7F-4EC1-82B0-A967403315A8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F4F0101-99D4-46F5-8F6C-EABD029A203D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06865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BBEE9B-22DF-4F15-AA03-F622FB685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06D3BA-A3D9-4618-A3E1-01CE1F432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FF9DA5-55AE-4E4E-817A-1715E18ED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4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D1938C5-F4FC-4720-ACDB-F95AEEC8D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Lernziele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F50BEB3-248F-4643-83B0-55692F83CB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r>
              <a:rPr lang="de-DE" dirty="0"/>
              <a:t>Wie unterscheidet sich Softwareengineering von anderen Ingenieursdisziplinen?</a:t>
            </a:r>
          </a:p>
          <a:p>
            <a:pPr marL="342900" indent="-342900">
              <a:buFontTx/>
              <a:buChar char="-"/>
            </a:pPr>
            <a:r>
              <a:rPr lang="de-DE" dirty="0"/>
              <a:t>Warum ist Innovation so wichtig?</a:t>
            </a:r>
          </a:p>
          <a:p>
            <a:pPr marL="342900" indent="-342900">
              <a:buFontTx/>
              <a:buChar char="-"/>
            </a:pPr>
            <a:r>
              <a:rPr lang="de-DE" dirty="0"/>
              <a:t>Wie kann Innovation gefördert werden?</a:t>
            </a:r>
          </a:p>
          <a:p>
            <a:pPr marL="342900" indent="-342900">
              <a:buFontTx/>
              <a:buChar char="-"/>
            </a:pPr>
            <a:r>
              <a:rPr lang="de-DE" dirty="0"/>
              <a:t>Was ist Open Source?</a:t>
            </a:r>
          </a:p>
          <a:p>
            <a:pPr marL="342900" indent="-342900">
              <a:buFontTx/>
              <a:buChar char="-"/>
            </a:pPr>
            <a:r>
              <a:rPr lang="de-DE" dirty="0"/>
              <a:t>Welche Chancen und Gefahren ergeben sich aus Open Source?</a:t>
            </a:r>
          </a:p>
          <a:p>
            <a:pPr marL="342900" indent="-342900">
              <a:buFontTx/>
              <a:buChar char="-"/>
            </a:pPr>
            <a:r>
              <a:rPr lang="de-DE" dirty="0"/>
              <a:t>Welcher Zusammenhang besteht zwischen Open Source und Innovation?</a:t>
            </a:r>
          </a:p>
        </p:txBody>
      </p:sp>
      <p:pic>
        <p:nvPicPr>
          <p:cNvPr id="18434" name="Picture 2" descr="black and gold dslr camera lens">
            <a:extLst>
              <a:ext uri="{FF2B5EF4-FFF2-40B4-BE49-F238E27FC236}">
                <a16:creationId xmlns:a16="http://schemas.microsoft.com/office/drawing/2014/main" id="{91B2E3FC-11BE-4AD2-AE43-C73B4404A0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981" y="1509713"/>
            <a:ext cx="5321241" cy="515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927675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F5C5A9A0-4174-43F9-86E0-3C877B7F9A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235" y="815364"/>
            <a:ext cx="7086600" cy="3448521"/>
          </a:xfrm>
          <a:prstGeom prst="rect">
            <a:avLst/>
          </a:prstGeom>
        </p:spPr>
      </p:pic>
      <p:pic>
        <p:nvPicPr>
          <p:cNvPr id="2" name="Grafik 1">
            <a:hlinkClick r:id="rId3"/>
            <a:extLst>
              <a:ext uri="{FF2B5EF4-FFF2-40B4-BE49-F238E27FC236}">
                <a16:creationId xmlns:a16="http://schemas.microsoft.com/office/drawing/2014/main" id="{9E893EAD-FD7B-4190-BC82-03A3036216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0723" y="1161330"/>
            <a:ext cx="3048425" cy="695422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E9542B2-7409-4CF9-8C9D-E574773391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7024" y="4333460"/>
            <a:ext cx="6298742" cy="2640223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E639805-B96A-4D67-9CE3-9530E132EBD0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E8B7162-1FD8-4196-9D89-C7243C370809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808DB6D-E534-4CA9-B0AD-11E1B6043CE0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4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368647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DBC557FE-0C72-42FB-B583-48AD5F5A29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7283" y="2029563"/>
            <a:ext cx="3038899" cy="4525006"/>
          </a:xfrm>
          <a:prstGeom prst="rect">
            <a:avLst/>
          </a:prstGeom>
        </p:spPr>
      </p:pic>
      <p:pic>
        <p:nvPicPr>
          <p:cNvPr id="6" name="Grafik 5">
            <a:hlinkClick r:id="rId3"/>
            <a:extLst>
              <a:ext uri="{FF2B5EF4-FFF2-40B4-BE49-F238E27FC236}">
                <a16:creationId xmlns:a16="http://schemas.microsoft.com/office/drawing/2014/main" id="{FB20BFE5-73B6-4019-8F8D-8559B9B00A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0723" y="1161330"/>
            <a:ext cx="3048425" cy="695422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C391DA2-2659-4537-8C0D-566C9E2460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86816" y="2029563"/>
            <a:ext cx="5275910" cy="4218559"/>
          </a:xfrm>
          <a:prstGeom prst="rect">
            <a:avLst/>
          </a:pr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518E7D4-2F0E-4935-AE9D-4C8FD7193F4E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D06213A-719A-4491-9713-0188FBAE5C86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9C3539D-82F4-49C9-B2A4-6381712338C4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4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01723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8BB65A3-B5C6-4F4B-89E3-12AC7D4425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Open Sourc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6755550-4202-414A-B01F-F282A5CBAF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34FF791-23CB-41CF-A7AB-97CC9600A8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1379" y="2753070"/>
            <a:ext cx="8301360" cy="4142573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59D92A86-91BE-4C00-9CF9-E1C61D62771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err="1"/>
              <a:t>Was’ndas</a:t>
            </a:r>
            <a:r>
              <a:rPr lang="de-CH"/>
              <a:t>? – Na und? – Chancen und Risiken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135469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416FA860-628E-42BB-B3F2-297DC7FEB3BB}"/>
              </a:ext>
            </a:extLst>
          </p:cNvPr>
          <p:cNvSpPr txBox="1"/>
          <p:nvPr/>
        </p:nvSpPr>
        <p:spPr>
          <a:xfrm>
            <a:off x="926000" y="1558175"/>
            <a:ext cx="621625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/>
              <a:t>Welche Aussagen über Open Source sind korrekt?</a:t>
            </a:r>
            <a:endParaRPr lang="en-GB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D6A7BFD-77F1-447E-9FB3-AF7770167DEA}"/>
              </a:ext>
            </a:extLst>
          </p:cNvPr>
          <p:cNvSpPr txBox="1"/>
          <p:nvPr/>
        </p:nvSpPr>
        <p:spPr>
          <a:xfrm>
            <a:off x="5763491" y="2417617"/>
            <a:ext cx="5358396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l">
              <a:buFont typeface="+mj-lt"/>
              <a:buAutoNum type="alphaUcPeriod" startAt="3"/>
            </a:pPr>
            <a:r>
              <a:rPr lang="de-CH" dirty="0"/>
              <a:t>Ich darf es nicht verkaufen</a:t>
            </a: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endParaRPr lang="de-CH" dirty="0"/>
          </a:p>
          <a:p>
            <a:pPr marL="457200" indent="-457200" algn="l">
              <a:buAutoNum type="alphaUcPeriod" startAt="3"/>
            </a:pPr>
            <a:r>
              <a:rPr lang="de-CH" dirty="0"/>
              <a:t>Ich darf Kopien anfertigen und teilen</a:t>
            </a:r>
          </a:p>
          <a:p>
            <a:pPr marL="457200" indent="-457200" algn="l">
              <a:buAutoNum type="alphaUcPeriod" startAt="3"/>
            </a:pPr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AE448B8-85FD-4546-AEA1-06F831611D9A}"/>
              </a:ext>
            </a:extLst>
          </p:cNvPr>
          <p:cNvSpPr txBox="1"/>
          <p:nvPr/>
        </p:nvSpPr>
        <p:spPr>
          <a:xfrm>
            <a:off x="910936" y="2417618"/>
            <a:ext cx="4852555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l">
              <a:buAutoNum type="alphaUcParenR"/>
            </a:pPr>
            <a:r>
              <a:rPr lang="de-CH" dirty="0"/>
              <a:t>Es ist gratis</a:t>
            </a: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endParaRPr lang="de-CH" dirty="0"/>
          </a:p>
          <a:p>
            <a:pPr marL="457200" indent="-457200" algn="l">
              <a:buAutoNum type="alphaUcParenR"/>
            </a:pPr>
            <a:r>
              <a:rPr lang="de-CH" dirty="0"/>
              <a:t>Ich darf es nicht verändern</a:t>
            </a:r>
          </a:p>
          <a:p>
            <a:pPr marL="457200" indent="-457200" algn="l">
              <a:buAutoNum type="alphaUcParenR"/>
            </a:pPr>
            <a:endParaRPr lang="en-GB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0DBF9E5-C8C0-4BBD-9CFB-722A454F973B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66D964D-6C49-4AD9-8B49-E5533AC39AB7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8AAF7D4-79A8-4AE9-AF01-0F36B5DF1CF0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4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014473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04E138F-67B4-4C44-8F1F-15D719AA25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8DEDB2-F295-491E-BECA-EBC2050A6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1B2D38-7AFD-4659-9E33-2A853BC51F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44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A23414A-D655-4B6C-B16D-505C959F7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E690D0A-FE9B-4B16-BA69-9E327795F2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Grafik 7" descr="Ein Bild, das Text, drinnen, schwarz, mehrere enthält.&#10;&#10;Automatisch generierte Beschreibung">
            <a:extLst>
              <a:ext uri="{FF2B5EF4-FFF2-40B4-BE49-F238E27FC236}">
                <a16:creationId xmlns:a16="http://schemas.microsoft.com/office/drawing/2014/main" id="{AC1C9287-0DC4-426F-8E1B-612D081E22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2092" y="2408238"/>
            <a:ext cx="3453574" cy="388527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FE66B22-535A-4C8A-84A7-5D5A72BA9B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3039" y="2054257"/>
            <a:ext cx="3764396" cy="532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28267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04E138F-67B4-4C44-8F1F-15D719AA25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8DEDB2-F295-491E-BECA-EBC2050A6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1B2D38-7AFD-4659-9E33-2A853BC51F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45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A23414A-D655-4B6C-B16D-505C959F7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E690D0A-FE9B-4B16-BA69-9E327795F2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7B8843D-39E4-4D94-9D99-68D2D2EDB7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96459"/>
            <a:ext cx="13442950" cy="1568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10459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C6FB199-74C7-4655-AE4B-9482AD585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1959CE-0272-460D-BC97-C9E8C3431D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0AC6B1-17EE-4AC8-A80D-E02BFA4AC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46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D660E11-1C93-49C6-8B1A-B900206EEA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7196424-7C2F-4301-BF9F-A0491C9938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C097823-0C7B-463B-8B02-DBBB9C5FAE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42566" y="1932782"/>
            <a:ext cx="3533775" cy="4076700"/>
          </a:xfrm>
          <a:prstGeom prst="rect">
            <a:avLst/>
          </a:prstGeom>
        </p:spPr>
      </p:pic>
      <p:pic>
        <p:nvPicPr>
          <p:cNvPr id="9" name="Grafik 8" descr="Ein Bild, das Text, draußen, Schiefertafel enthält.&#10;&#10;Automatisch generierte Beschreibung">
            <a:extLst>
              <a:ext uri="{FF2B5EF4-FFF2-40B4-BE49-F238E27FC236}">
                <a16:creationId xmlns:a16="http://schemas.microsoft.com/office/drawing/2014/main" id="{C255FE1E-9FA9-48E0-BFEC-6D6CB0EB051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311" y="1063366"/>
            <a:ext cx="5815531" cy="581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12212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AC74FD-ECC3-47BA-9DE1-32C2F9937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8F67308-EAFE-44BC-9241-7F9B0BF5D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BA031E-FC60-4648-B1F9-19096E1F1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47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D7B90B6-3030-430D-9CBC-34DE85C29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The 4 </a:t>
            </a:r>
            <a:r>
              <a:rPr lang="de-CH" err="1"/>
              <a:t>freedoms</a:t>
            </a:r>
            <a:r>
              <a:rPr lang="de-CH"/>
              <a:t>: Use, Modify, Copy, </a:t>
            </a:r>
            <a:r>
              <a:rPr lang="de-CH" err="1"/>
              <a:t>Distribute</a:t>
            </a:r>
            <a:endParaRPr lang="en-GB"/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E62B3702-5F16-4D36-89DD-5AD7BFCA1B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1462849"/>
              </p:ext>
            </p:extLst>
          </p:nvPr>
        </p:nvGraphicFramePr>
        <p:xfrm>
          <a:off x="2240491" y="1871663"/>
          <a:ext cx="8275109" cy="5214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1636902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C77373-F015-4F00-9606-07A6EC25B0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938F88-EDD9-4502-ABB8-609A743463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862EBF6-7774-451F-B934-9A6ECF162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48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C93655B-0B9A-4D05-872C-BB25C763B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BE3B25-1037-40D2-95F0-7A6C311441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2A548B-69F2-4FB3-8BC1-30BD51E545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982" y="1662032"/>
            <a:ext cx="9968948" cy="5267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01690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9F3BA63-814A-464F-B3B1-B7AA4A45B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7172A5-5D78-4641-8DB0-23868E586D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35E4F4-ACF5-43C9-8892-D55CED01E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49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B7B5E31-BF10-4BFB-849A-F26F54C15E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Bill </a:t>
            </a:r>
            <a:r>
              <a:rPr lang="de-CH" err="1"/>
              <a:t>of</a:t>
            </a:r>
            <a:r>
              <a:rPr lang="de-CH"/>
              <a:t> Material</a:t>
            </a:r>
            <a:endParaRPr lang="en-GB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207745D-AFC8-499D-BABF-7405DACF4C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3531" y="1509713"/>
            <a:ext cx="5616336" cy="2685310"/>
          </a:xfrm>
          <a:prstGeom prst="rect">
            <a:avLst/>
          </a:prstGeom>
        </p:spPr>
      </p:pic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EF6D2C10-E075-407A-A9CB-912A5C81C8D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9867" y="2974926"/>
            <a:ext cx="6199900" cy="3619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151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FD40A663-C10F-46B4-BDD0-AA162EB7383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als Automobilengineering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973C55C-9807-477E-8697-CEE05B9660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oftwareengineering ist anders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7C35A17-8775-4725-9CD9-CDC97CEECD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Grafik 7" descr="Ein Bild, das Gras, Pflanze, Blume, angeordnet enthält.&#10;&#10;Automatisch generierte Beschreibung">
            <a:extLst>
              <a:ext uri="{FF2B5EF4-FFF2-40B4-BE49-F238E27FC236}">
                <a16:creationId xmlns:a16="http://schemas.microsoft.com/office/drawing/2014/main" id="{0A1F059F-5AE6-4E88-96B8-C911805ECF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3955" y="2743200"/>
            <a:ext cx="6219199" cy="41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27579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9F3BA63-814A-464F-B3B1-B7AA4A45B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7172A5-5D78-4641-8DB0-23868E586D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35E4F4-ACF5-43C9-8892-D55CED01E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50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B7B5E31-BF10-4BFB-849A-F26F54C15E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Wer hat Angst vorm Lizenztroll?</a:t>
            </a:r>
            <a:endParaRPr lang="en-GB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207745D-AFC8-499D-BABF-7405DACF4C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982" y="1522593"/>
            <a:ext cx="5239740" cy="513855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3342DCF-0217-450D-8AAB-EF6A5B627D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0" y="3359910"/>
            <a:ext cx="7004049" cy="3245524"/>
          </a:xfrm>
          <a:prstGeom prst="rect">
            <a:avLst/>
          </a:prstGeom>
        </p:spPr>
      </p:pic>
      <p:sp>
        <p:nvSpPr>
          <p:cNvPr id="12" name="Sprechblase: oval 9">
            <a:extLst>
              <a:ext uri="{FF2B5EF4-FFF2-40B4-BE49-F238E27FC236}">
                <a16:creationId xmlns:a16="http://schemas.microsoft.com/office/drawing/2014/main" id="{F877F57C-EADF-49D8-BA21-EE43F5929687}"/>
              </a:ext>
            </a:extLst>
          </p:cNvPr>
          <p:cNvSpPr/>
          <p:nvPr/>
        </p:nvSpPr>
        <p:spPr>
          <a:xfrm>
            <a:off x="8881578" y="1933023"/>
            <a:ext cx="2438403" cy="1596569"/>
          </a:xfrm>
          <a:custGeom>
            <a:avLst>
              <a:gd name="f0" fmla="val -7593"/>
              <a:gd name="f1" fmla="val 8581"/>
            </a:avLst>
            <a:gdLst>
              <a:gd name="f2" fmla="val 21600000"/>
              <a:gd name="f3" fmla="val 10800000"/>
              <a:gd name="f4" fmla="val 5400000"/>
              <a:gd name="f5" fmla="val 180"/>
              <a:gd name="f6" fmla="val w"/>
              <a:gd name="f7" fmla="val h"/>
              <a:gd name="f8" fmla="val 0"/>
              <a:gd name="f9" fmla="val 21600"/>
              <a:gd name="f10" fmla="*/ 5419351 1 1725033"/>
              <a:gd name="f11" fmla="val 2147483647"/>
              <a:gd name="f12" fmla="min 0 21600"/>
              <a:gd name="f13" fmla="max 0 21600"/>
              <a:gd name="f14" fmla="val -2147483647"/>
              <a:gd name="f15" fmla="+- 0 0 0"/>
              <a:gd name="f16" fmla="+- 0 0 180"/>
              <a:gd name="f17" fmla="+- 0 0 -194"/>
              <a:gd name="f18" fmla="*/ f6 1 21600"/>
              <a:gd name="f19" fmla="*/ f7 1 21600"/>
              <a:gd name="f20" fmla="val f8"/>
              <a:gd name="f21" fmla="val f9"/>
              <a:gd name="f22" fmla="*/ f10 1 180"/>
              <a:gd name="f23" fmla="+- f13 0 f12"/>
              <a:gd name="f24" fmla="pin -2147483647 f0 2147483647"/>
              <a:gd name="f25" fmla="pin -2147483647 f1 2147483647"/>
              <a:gd name="f26" fmla="*/ f15 f3 1"/>
              <a:gd name="f27" fmla="*/ f16 f3 1"/>
              <a:gd name="f28" fmla="*/ f17 f3 1"/>
              <a:gd name="f29" fmla="+- f21 0 f20"/>
              <a:gd name="f30" fmla="val f24"/>
              <a:gd name="f31" fmla="val f25"/>
              <a:gd name="f32" fmla="*/ f23 1 2"/>
              <a:gd name="f33" fmla="*/ f24 f18 1"/>
              <a:gd name="f34" fmla="*/ f25 f19 1"/>
              <a:gd name="f35" fmla="*/ f26 1 f5"/>
              <a:gd name="f36" fmla="*/ f27 1 f5"/>
              <a:gd name="f37" fmla="*/ f28 1 f5"/>
              <a:gd name="f38" fmla="*/ f29 1 21600"/>
              <a:gd name="f39" fmla="+- f30 0 10800"/>
              <a:gd name="f40" fmla="+- f31 0 10800"/>
              <a:gd name="f41" fmla="+- f12 f32 0"/>
              <a:gd name="f42" fmla="*/ f32 f32 1"/>
              <a:gd name="f43" fmla="+- f35 0 f4"/>
              <a:gd name="f44" fmla="+- f36 0 f4"/>
              <a:gd name="f45" fmla="+- f37 0 f4"/>
              <a:gd name="f46" fmla="*/ 3200 f38 1"/>
              <a:gd name="f47" fmla="*/ 18400 f38 1"/>
              <a:gd name="f48" fmla="*/ 3160 f38 1"/>
              <a:gd name="f49" fmla="*/ 18440 f38 1"/>
              <a:gd name="f50" fmla="*/ f39 f39 1"/>
              <a:gd name="f51" fmla="*/ f40 f40 1"/>
              <a:gd name="f52" fmla="+- 0 0 f40"/>
              <a:gd name="f53" fmla="+- 0 0 f39"/>
              <a:gd name="f54" fmla="+- f50 f51 0"/>
              <a:gd name="f55" fmla="+- 0 0 f52"/>
              <a:gd name="f56" fmla="+- 0 0 f53"/>
              <a:gd name="f57" fmla="*/ f48 1 f38"/>
              <a:gd name="f58" fmla="*/ f49 1 f38"/>
              <a:gd name="f59" fmla="*/ f46 1 f38"/>
              <a:gd name="f60" fmla="*/ f47 1 f38"/>
              <a:gd name="f61" fmla="+- 0 0 f55"/>
              <a:gd name="f62" fmla="+- 0 0 f56"/>
              <a:gd name="f63" fmla="sqrt f54"/>
              <a:gd name="f64" fmla="*/ f59 f18 1"/>
              <a:gd name="f65" fmla="*/ f60 f18 1"/>
              <a:gd name="f66" fmla="*/ f60 f19 1"/>
              <a:gd name="f67" fmla="*/ f59 f19 1"/>
              <a:gd name="f68" fmla="*/ f57 f18 1"/>
              <a:gd name="f69" fmla="*/ f57 f19 1"/>
              <a:gd name="f70" fmla="*/ f58 f19 1"/>
              <a:gd name="f71" fmla="*/ f58 f18 1"/>
              <a:gd name="f72" fmla="at2 f61 f62"/>
              <a:gd name="f73" fmla="+- f63 0 10800"/>
              <a:gd name="f74" fmla="+- f72 f4 0"/>
              <a:gd name="f75" fmla="*/ f74 f10 1"/>
              <a:gd name="f76" fmla="*/ f75 1 f3"/>
              <a:gd name="f77" fmla="+- 0 0 f76"/>
              <a:gd name="f78" fmla="val f77"/>
              <a:gd name="f79" fmla="+- 0 0 f78"/>
              <a:gd name="f80" fmla="*/ f79 f3 1"/>
              <a:gd name="f81" fmla="*/ f80 1 f10"/>
              <a:gd name="f82" fmla="+- f81 0 f4"/>
              <a:gd name="f83" fmla="*/ f81 f10 1"/>
              <a:gd name="f84" fmla="*/ f83 1 f3"/>
              <a:gd name="f85" fmla="+- f82 f4 0"/>
              <a:gd name="f86" fmla="+- 0 0 f84"/>
              <a:gd name="f87" fmla="*/ f85 f10 1"/>
              <a:gd name="f88" fmla="*/ f86 1 f22"/>
              <a:gd name="f89" fmla="*/ f87 1 f3"/>
              <a:gd name="f90" fmla="+- f88 0 10"/>
              <a:gd name="f91" fmla="+- f88 10 0"/>
              <a:gd name="f92" fmla="+- 0 0 f89"/>
              <a:gd name="f93" fmla="*/ f90 f22 1"/>
              <a:gd name="f94" fmla="*/ f91 f22 1"/>
              <a:gd name="f95" fmla="+- 0 0 f92"/>
              <a:gd name="f96" fmla="+- 0 0 f93"/>
              <a:gd name="f97" fmla="+- 0 0 f94"/>
              <a:gd name="f98" fmla="*/ f95 f3 1"/>
              <a:gd name="f99" fmla="*/ f96 f3 1"/>
              <a:gd name="f100" fmla="*/ f97 f3 1"/>
              <a:gd name="f101" fmla="*/ f98 1 f10"/>
              <a:gd name="f102" fmla="*/ f99 1 f10"/>
              <a:gd name="f103" fmla="*/ f100 1 f10"/>
              <a:gd name="f104" fmla="+- f101 0 f4"/>
              <a:gd name="f105" fmla="sin 1 f104"/>
              <a:gd name="f106" fmla="cos 1 f104"/>
              <a:gd name="f107" fmla="+- f102 0 f4"/>
              <a:gd name="f108" fmla="+- f103 0 f4"/>
              <a:gd name="f109" fmla="+- 0 0 f105"/>
              <a:gd name="f110" fmla="+- 0 0 f106"/>
              <a:gd name="f111" fmla="+- f107 f4 0"/>
              <a:gd name="f112" fmla="+- f108 f4 0"/>
              <a:gd name="f113" fmla="+- 0 0 f109"/>
              <a:gd name="f114" fmla="+- 0 0 f110"/>
              <a:gd name="f115" fmla="*/ f111 f10 1"/>
              <a:gd name="f116" fmla="*/ f112 f10 1"/>
              <a:gd name="f117" fmla="val f113"/>
              <a:gd name="f118" fmla="val f114"/>
              <a:gd name="f119" fmla="*/ f115 1 f3"/>
              <a:gd name="f120" fmla="*/ f116 1 f3"/>
              <a:gd name="f121" fmla="+- 0 0 f117"/>
              <a:gd name="f122" fmla="+- 0 0 f118"/>
              <a:gd name="f123" fmla="+- 0 0 f119"/>
              <a:gd name="f124" fmla="+- 0 0 f120"/>
              <a:gd name="f125" fmla="+- 0 0 f123"/>
              <a:gd name="f126" fmla="+- 0 0 f124"/>
              <a:gd name="f127" fmla="*/ 10800 f121 1"/>
              <a:gd name="f128" fmla="*/ 10800 f122 1"/>
              <a:gd name="f129" fmla="*/ f125 f3 1"/>
              <a:gd name="f130" fmla="*/ f126 f3 1"/>
              <a:gd name="f131" fmla="+- f127 10800 0"/>
              <a:gd name="f132" fmla="+- f128 10800 0"/>
              <a:gd name="f133" fmla="*/ f129 1 f10"/>
              <a:gd name="f134" fmla="*/ f130 1 f10"/>
              <a:gd name="f135" fmla="?: f73 f30 f131"/>
              <a:gd name="f136" fmla="?: f73 f31 f132"/>
              <a:gd name="f137" fmla="+- f133 0 f4"/>
              <a:gd name="f138" fmla="+- f134 0 f4"/>
              <a:gd name="f139" fmla="*/ f135 f18 1"/>
              <a:gd name="f140" fmla="*/ f136 f19 1"/>
              <a:gd name="f141" fmla="sin 1 f137"/>
              <a:gd name="f142" fmla="cos 1 f137"/>
              <a:gd name="f143" fmla="sin 1 f138"/>
              <a:gd name="f144" fmla="cos 1 f138"/>
              <a:gd name="f145" fmla="+- 0 0 f141"/>
              <a:gd name="f146" fmla="+- 0 0 f142"/>
              <a:gd name="f147" fmla="+- 0 0 f143"/>
              <a:gd name="f148" fmla="+- 0 0 f144"/>
              <a:gd name="f149" fmla="+- 0 0 f145"/>
              <a:gd name="f150" fmla="+- 0 0 f146"/>
              <a:gd name="f151" fmla="+- 0 0 f147"/>
              <a:gd name="f152" fmla="+- 0 0 f148"/>
              <a:gd name="f153" fmla="val f149"/>
              <a:gd name="f154" fmla="val f150"/>
              <a:gd name="f155" fmla="val f151"/>
              <a:gd name="f156" fmla="val f152"/>
              <a:gd name="f157" fmla="+- 0 0 f153"/>
              <a:gd name="f158" fmla="+- 0 0 f154"/>
              <a:gd name="f159" fmla="+- 0 0 f155"/>
              <a:gd name="f160" fmla="+- 0 0 f156"/>
              <a:gd name="f161" fmla="*/ 10800 f157 1"/>
              <a:gd name="f162" fmla="*/ 10800 f158 1"/>
              <a:gd name="f163" fmla="*/ 10800 f159 1"/>
              <a:gd name="f164" fmla="*/ 10800 f160 1"/>
              <a:gd name="f165" fmla="+- f161 10800 0"/>
              <a:gd name="f166" fmla="+- f162 10800 0"/>
              <a:gd name="f167" fmla="+- f163 10800 0"/>
              <a:gd name="f168" fmla="+- f164 10800 0"/>
              <a:gd name="f169" fmla="+- f167 0 f41"/>
              <a:gd name="f170" fmla="+- f168 0 f41"/>
              <a:gd name="f171" fmla="+- f165 0 f41"/>
              <a:gd name="f172" fmla="+- f166 0 f41"/>
              <a:gd name="f173" fmla="+- 0 0 f169"/>
              <a:gd name="f174" fmla="+- 0 0 f170"/>
              <a:gd name="f175" fmla="+- 0 0 f171"/>
              <a:gd name="f176" fmla="+- 0 0 f172"/>
              <a:gd name="f177" fmla="+- 0 0 f173"/>
              <a:gd name="f178" fmla="+- 0 0 f174"/>
              <a:gd name="f179" fmla="+- 0 0 f175"/>
              <a:gd name="f180" fmla="+- 0 0 f176"/>
              <a:gd name="f181" fmla="at2 f177 f178"/>
              <a:gd name="f182" fmla="at2 f179 f180"/>
              <a:gd name="f183" fmla="+- f181 f4 0"/>
              <a:gd name="f184" fmla="+- f182 f4 0"/>
              <a:gd name="f185" fmla="*/ f183 f10 1"/>
              <a:gd name="f186" fmla="*/ f184 f10 1"/>
              <a:gd name="f187" fmla="*/ f185 1 f3"/>
              <a:gd name="f188" fmla="*/ f186 1 f3"/>
              <a:gd name="f189" fmla="+- 0 0 f187"/>
              <a:gd name="f190" fmla="+- 0 0 f188"/>
              <a:gd name="f191" fmla="val f189"/>
              <a:gd name="f192" fmla="val f190"/>
              <a:gd name="f193" fmla="+- 0 0 f191"/>
              <a:gd name="f194" fmla="+- 0 0 f192"/>
              <a:gd name="f195" fmla="*/ f193 f3 1"/>
              <a:gd name="f196" fmla="*/ f194 f3 1"/>
              <a:gd name="f197" fmla="*/ f195 1 f10"/>
              <a:gd name="f198" fmla="*/ f196 1 f10"/>
              <a:gd name="f199" fmla="+- f197 0 f4"/>
              <a:gd name="f200" fmla="+- f198 0 f4"/>
              <a:gd name="f201" fmla="+- f199 f4 0"/>
              <a:gd name="f202" fmla="+- f200 0 f199"/>
              <a:gd name="f203" fmla="*/ f201 f10 1"/>
              <a:gd name="f204" fmla="+- f202 f2 0"/>
              <a:gd name="f205" fmla="*/ f203 1 f3"/>
              <a:gd name="f206" fmla="?: f202 f202 f204"/>
              <a:gd name="f207" fmla="+- 0 0 f205"/>
              <a:gd name="f208" fmla="+- 0 0 f207"/>
              <a:gd name="f209" fmla="*/ f208 f3 1"/>
              <a:gd name="f210" fmla="*/ f209 1 f10"/>
              <a:gd name="f211" fmla="+- f210 0 f4"/>
              <a:gd name="f212" fmla="cos 1 f211"/>
              <a:gd name="f213" fmla="sin 1 f211"/>
              <a:gd name="f214" fmla="+- 0 0 f212"/>
              <a:gd name="f215" fmla="+- 0 0 f213"/>
              <a:gd name="f216" fmla="+- 0 0 f214"/>
              <a:gd name="f217" fmla="+- 0 0 f215"/>
              <a:gd name="f218" fmla="val f216"/>
              <a:gd name="f219" fmla="val f217"/>
              <a:gd name="f220" fmla="+- 0 0 f218"/>
              <a:gd name="f221" fmla="+- 0 0 f219"/>
              <a:gd name="f222" fmla="*/ f32 f220 1"/>
              <a:gd name="f223" fmla="*/ f32 f221 1"/>
              <a:gd name="f224" fmla="*/ f222 f222 1"/>
              <a:gd name="f225" fmla="*/ f223 f223 1"/>
              <a:gd name="f226" fmla="+- f224 f225 0"/>
              <a:gd name="f227" fmla="sqrt f226"/>
              <a:gd name="f228" fmla="*/ f42 1 f227"/>
              <a:gd name="f229" fmla="*/ f220 f228 1"/>
              <a:gd name="f230" fmla="*/ f221 f228 1"/>
              <a:gd name="f231" fmla="+- f41 0 f229"/>
              <a:gd name="f232" fmla="+- f41 0 f230"/>
            </a:gdLst>
            <a:ahLst>
              <a:ahXY gdRefX="f0" minX="f14" maxX="f11" gdRefY="f1" minY="f14" maxY="f11">
                <a:pos x="f33" y="f3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3">
                <a:pos x="f68" y="f69"/>
              </a:cxn>
              <a:cxn ang="f44">
                <a:pos x="f68" y="f70"/>
              </a:cxn>
              <a:cxn ang="f44">
                <a:pos x="f71" y="f70"/>
              </a:cxn>
              <a:cxn ang="f43">
                <a:pos x="f71" y="f69"/>
              </a:cxn>
              <a:cxn ang="f45">
                <a:pos x="f139" y="f140"/>
              </a:cxn>
            </a:cxnLst>
            <a:rect l="f64" t="f67" r="f65" b="f66"/>
            <a:pathLst>
              <a:path w="21600" h="21600">
                <a:moveTo>
                  <a:pt x="f231" y="f232"/>
                </a:moveTo>
                <a:arcTo wR="f32" hR="f32" stAng="f199" swAng="f206"/>
                <a:lnTo>
                  <a:pt x="f135" y="f136"/>
                </a:lnTo>
                <a:close/>
              </a:path>
            </a:pathLst>
          </a:custGeom>
          <a:solidFill>
            <a:srgbClr val="FFFFFF"/>
          </a:solidFill>
          <a:ln w="12701" cap="flat">
            <a:solidFill>
              <a:srgbClr val="00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CH" sz="360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rPr>
              <a:t>URG §16 </a:t>
            </a:r>
          </a:p>
        </p:txBody>
      </p:sp>
      <p:pic>
        <p:nvPicPr>
          <p:cNvPr id="13" name="Grafik 12" descr="Link">
            <a:hlinkClick r:id="rId4"/>
            <a:extLst>
              <a:ext uri="{FF2B5EF4-FFF2-40B4-BE49-F238E27FC236}">
                <a16:creationId xmlns:a16="http://schemas.microsoft.com/office/drawing/2014/main" id="{B2832F0E-E8A7-4B6A-A919-82E67B52D0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6374" y="2543036"/>
            <a:ext cx="486232" cy="48623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32156167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extLst>
              <a:ext uri="{FF2B5EF4-FFF2-40B4-BE49-F238E27FC236}">
                <a16:creationId xmlns:a16="http://schemas.microsoft.com/office/drawing/2014/main" id="{99EE8B20-7542-4F46-B2C5-258E99608D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15" y="1722284"/>
            <a:ext cx="11876727" cy="369292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FBB2463-F4D4-4C35-B446-3BED10CB4CF5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C322B63-679E-437E-864C-5AED73C127EA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CCB5144-DF8B-4C30-94A5-9527E9B7FB68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51</a:t>
            </a:fld>
            <a:endParaRPr lang="en-GB"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8BB65A3-B5C6-4F4B-89E3-12AC7D4425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pen Sourc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6755550-4202-414A-B01F-F282A5CBAF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34FF791-23CB-41CF-A7AB-97CC9600A8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1379" y="2753070"/>
            <a:ext cx="8301360" cy="4142573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59D92A86-91BE-4C00-9CF9-E1C61D62771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Open Knowled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383360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2">
            <a:extLst>
              <a:ext uri="{FF2B5EF4-FFF2-40B4-BE49-F238E27FC236}">
                <a16:creationId xmlns:a16="http://schemas.microsoft.com/office/drawing/2014/main" id="{69DD504E-0E3D-42B0-96CB-C2EC0F9BA957}"/>
              </a:ext>
            </a:extLst>
          </p:cNvPr>
          <p:cNvSpPr/>
          <p:nvPr/>
        </p:nvSpPr>
        <p:spPr>
          <a:xfrm>
            <a:off x="3539901" y="-1079748"/>
            <a:ext cx="4291261" cy="407269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100817" tIns="50408" rIns="100817" bIns="50408" anchor="t" anchorCtr="0" compatLnSpc="1">
            <a:spAutoFit/>
          </a:bodyPr>
          <a:lstStyle/>
          <a:p>
            <a:pPr algn="l" defTabSz="1008126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pl-PL" sz="1985">
                <a:solidFill>
                  <a:srgbClr val="000000"/>
                </a:solidFill>
                <a:latin typeface="Calibri"/>
              </a:rPr>
              <a:t>Photo by </a:t>
            </a:r>
            <a:r>
              <a:rPr lang="pl-PL" sz="1985">
                <a:solidFill>
                  <a:srgbClr val="000000"/>
                </a:solidFill>
                <a:latin typeface="Calibri"/>
                <a:hlinkClick r:id="rId2"/>
              </a:rPr>
              <a:t>Paweł Czerwiński</a:t>
            </a:r>
            <a:r>
              <a:rPr lang="pl-PL" sz="1985">
                <a:solidFill>
                  <a:srgbClr val="000000"/>
                </a:solidFill>
                <a:latin typeface="Calibri"/>
              </a:rPr>
              <a:t> on </a:t>
            </a:r>
            <a:r>
              <a:rPr lang="pl-PL" sz="1985">
                <a:solidFill>
                  <a:srgbClr val="000000"/>
                </a:solidFill>
                <a:latin typeface="Calibri"/>
                <a:hlinkClick r:id="rId3"/>
              </a:rPr>
              <a:t>Unsplash</a:t>
            </a:r>
            <a:endParaRPr lang="de-CH" sz="1985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3" name="Grafik 7">
            <a:extLst>
              <a:ext uri="{FF2B5EF4-FFF2-40B4-BE49-F238E27FC236}">
                <a16:creationId xmlns:a16="http://schemas.microsoft.com/office/drawing/2014/main" id="{EFA0CD5D-F81F-48B9-9C5F-BCAC6B443D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" y="0"/>
            <a:ext cx="13490249" cy="899350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7D525DEF-D541-44C0-9309-933D11E3447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CH" b="1"/>
              <a:t>Datenklassifizierung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5603C7C-30E3-466E-8A60-6AD3862A1F7F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DA5934-7D4B-4A64-BDFA-1096F466862D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372A1C7-9DB8-4D4B-A5AD-0C368E6050B8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53</a:t>
            </a:fld>
            <a:endParaRPr lang="en-GB"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3">
            <a:extLst>
              <a:ext uri="{FF2B5EF4-FFF2-40B4-BE49-F238E27FC236}">
                <a16:creationId xmlns:a16="http://schemas.microsoft.com/office/drawing/2014/main" id="{AE2E2A22-5F54-4756-AD5A-0AB8F2BA4020}"/>
              </a:ext>
            </a:extLst>
          </p:cNvPr>
          <p:cNvGraphicFramePr>
            <a:graphicFrameLocks noGrp="1"/>
          </p:cNvGraphicFramePr>
          <p:nvPr/>
        </p:nvGraphicFramePr>
        <p:xfrm>
          <a:off x="353" y="0"/>
          <a:ext cx="13568248" cy="777129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3392062">
                  <a:extLst>
                    <a:ext uri="{9D8B030D-6E8A-4147-A177-3AD203B41FA5}">
                      <a16:colId xmlns:a16="http://schemas.microsoft.com/office/drawing/2014/main" val="2860699951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3133292100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3423544608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942361925"/>
                    </a:ext>
                  </a:extLst>
                </a:gridCol>
              </a:tblGrid>
              <a:tr h="7771293">
                <a:tc>
                  <a:txBody>
                    <a:bodyPr/>
                    <a:lstStyle/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r>
                        <a:rPr lang="de-CH" sz="3500">
                          <a:solidFill>
                            <a:srgbClr val="000000"/>
                          </a:solidFill>
                        </a:rPr>
                        <a:t>Public</a:t>
                      </a:r>
                    </a:p>
                  </a:txBody>
                  <a:tcPr marL="100817" marR="100817" marT="50408" marB="50408">
                    <a:solidFill>
                      <a:srgbClr val="BAD80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r>
                        <a:rPr lang="de-CH" sz="3500">
                          <a:solidFill>
                            <a:srgbClr val="000000"/>
                          </a:solidFill>
                        </a:rPr>
                        <a:t>Internal</a:t>
                      </a:r>
                    </a:p>
                  </a:txBody>
                  <a:tcPr marL="100817" marR="100817" marT="50408" marB="50408">
                    <a:solidFill>
                      <a:srgbClr val="FFF1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r>
                        <a:rPr lang="de-CH" sz="3500"/>
                        <a:t> Confidential</a:t>
                      </a:r>
                    </a:p>
                  </a:txBody>
                  <a:tcPr marL="100817" marR="100817" marT="50408" marB="50408">
                    <a:solidFill>
                      <a:srgbClr val="EA8E1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r>
                        <a:rPr lang="de-CH" sz="3500"/>
                        <a:t>Secret</a:t>
                      </a:r>
                    </a:p>
                  </a:txBody>
                  <a:tcPr marL="100817" marR="100817" marT="50408" marB="50408">
                    <a:solidFill>
                      <a:srgbClr val="A8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133930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662CCF-493C-4960-B8D7-14A14FE3A504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1EA875-770D-4FEB-A5DC-8A97C2BA16A5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2E56A39-3B6B-4213-A1B9-FF55E450DE48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54</a:t>
            </a:fld>
            <a:endParaRPr lang="en-GB"/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3">
            <a:extLst>
              <a:ext uri="{FF2B5EF4-FFF2-40B4-BE49-F238E27FC236}">
                <a16:creationId xmlns:a16="http://schemas.microsoft.com/office/drawing/2014/main" id="{677A43B5-CD1B-4FE4-A1D6-607E1C5763D3}"/>
              </a:ext>
            </a:extLst>
          </p:cNvPr>
          <p:cNvGraphicFramePr>
            <a:graphicFrameLocks noGrp="1"/>
          </p:cNvGraphicFramePr>
          <p:nvPr/>
        </p:nvGraphicFramePr>
        <p:xfrm>
          <a:off x="353" y="0"/>
          <a:ext cx="13568248" cy="777129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3392062">
                  <a:extLst>
                    <a:ext uri="{9D8B030D-6E8A-4147-A177-3AD203B41FA5}">
                      <a16:colId xmlns:a16="http://schemas.microsoft.com/office/drawing/2014/main" val="436501683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1905563039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1541305751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1254287296"/>
                    </a:ext>
                  </a:extLst>
                </a:gridCol>
              </a:tblGrid>
              <a:tr h="7771293">
                <a:tc>
                  <a:txBody>
                    <a:bodyPr/>
                    <a:lstStyle/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r>
                        <a:rPr lang="de-CH" sz="3500">
                          <a:solidFill>
                            <a:srgbClr val="000000"/>
                          </a:solidFill>
                        </a:rPr>
                        <a:t>Public</a:t>
                      </a:r>
                    </a:p>
                  </a:txBody>
                  <a:tcPr marL="100817" marR="100817" marT="50408" marB="50408">
                    <a:solidFill>
                      <a:srgbClr val="BAD80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r>
                        <a:rPr lang="de-CH" sz="3500">
                          <a:solidFill>
                            <a:srgbClr val="000000"/>
                          </a:solidFill>
                        </a:rPr>
                        <a:t>Internal</a:t>
                      </a:r>
                    </a:p>
                  </a:txBody>
                  <a:tcPr marL="100817" marR="100817" marT="50408" marB="50408">
                    <a:solidFill>
                      <a:srgbClr val="FFF1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r>
                        <a:rPr lang="de-CH" sz="3500"/>
                        <a:t> Confidential</a:t>
                      </a:r>
                    </a:p>
                  </a:txBody>
                  <a:tcPr marL="100817" marR="100817" marT="50408" marB="50408">
                    <a:solidFill>
                      <a:srgbClr val="EA8E1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r>
                        <a:rPr lang="de-CH" sz="3500"/>
                        <a:t>Secret</a:t>
                      </a:r>
                    </a:p>
                  </a:txBody>
                  <a:tcPr marL="100817" marR="100817" marT="50408" marB="50408">
                    <a:solidFill>
                      <a:srgbClr val="A8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8393683"/>
                  </a:ext>
                </a:extLst>
              </a:tr>
            </a:tbl>
          </a:graphicData>
        </a:graphic>
      </p:graphicFrame>
      <p:sp>
        <p:nvSpPr>
          <p:cNvPr id="3" name="Rechteck 3">
            <a:extLst>
              <a:ext uri="{FF2B5EF4-FFF2-40B4-BE49-F238E27FC236}">
                <a16:creationId xmlns:a16="http://schemas.microsoft.com/office/drawing/2014/main" id="{754F9B3C-7E48-442F-9D53-23C0DAA10237}"/>
              </a:ext>
            </a:extLst>
          </p:cNvPr>
          <p:cNvSpPr/>
          <p:nvPr/>
        </p:nvSpPr>
        <p:spPr>
          <a:xfrm>
            <a:off x="-1745763" y="-1456178"/>
            <a:ext cx="5392524" cy="407269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100817" tIns="50408" rIns="100817" bIns="50408" anchor="t" anchorCtr="0" compatLnSpc="1">
            <a:spAutoFit/>
          </a:bodyPr>
          <a:lstStyle/>
          <a:p>
            <a:pPr algn="l" defTabSz="1008126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85">
                <a:solidFill>
                  <a:srgbClr val="000000"/>
                </a:solidFill>
                <a:latin typeface="Calibri"/>
              </a:rPr>
              <a:t>Photo by </a:t>
            </a:r>
            <a:r>
              <a:rPr lang="en-US" sz="1985">
                <a:solidFill>
                  <a:srgbClr val="000000"/>
                </a:solidFill>
                <a:latin typeface="Calibri"/>
                <a:hlinkClick r:id="rId2"/>
              </a:rPr>
              <a:t>The New York Public Library</a:t>
            </a:r>
            <a:r>
              <a:rPr lang="en-US" sz="1985">
                <a:solidFill>
                  <a:srgbClr val="000000"/>
                </a:solidFill>
                <a:latin typeface="Calibri"/>
              </a:rPr>
              <a:t> on </a:t>
            </a:r>
            <a:r>
              <a:rPr lang="en-US" sz="1985">
                <a:solidFill>
                  <a:srgbClr val="000000"/>
                </a:solidFill>
                <a:latin typeface="Calibri"/>
                <a:hlinkClick r:id="rId3"/>
              </a:rPr>
              <a:t>Unsplash</a:t>
            </a:r>
            <a:endParaRPr lang="de-CH" sz="1985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" name="Grafik 5">
            <a:extLst>
              <a:ext uri="{FF2B5EF4-FFF2-40B4-BE49-F238E27FC236}">
                <a16:creationId xmlns:a16="http://schemas.microsoft.com/office/drawing/2014/main" id="{B88074AF-230F-4229-B87C-9F7E4B7161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55590" y="555399"/>
            <a:ext cx="3312457" cy="3225231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5" name="Gruppieren 6">
            <a:extLst>
              <a:ext uri="{FF2B5EF4-FFF2-40B4-BE49-F238E27FC236}">
                <a16:creationId xmlns:a16="http://schemas.microsoft.com/office/drawing/2014/main" id="{98505576-6083-48D1-844D-D7C7253BB5B2}"/>
              </a:ext>
            </a:extLst>
          </p:cNvPr>
          <p:cNvGrpSpPr/>
          <p:nvPr/>
        </p:nvGrpSpPr>
        <p:grpSpPr>
          <a:xfrm>
            <a:off x="3858824" y="1043666"/>
            <a:ext cx="2209462" cy="2262530"/>
            <a:chOff x="3499600" y="946596"/>
            <a:chExt cx="2003963" cy="2052095"/>
          </a:xfrm>
        </p:grpSpPr>
        <p:grpSp>
          <p:nvGrpSpPr>
            <p:cNvPr id="6" name="Group 56">
              <a:extLst>
                <a:ext uri="{FF2B5EF4-FFF2-40B4-BE49-F238E27FC236}">
                  <a16:creationId xmlns:a16="http://schemas.microsoft.com/office/drawing/2014/main" id="{7A896641-EE15-48B1-8212-EA1BA57667F3}"/>
                </a:ext>
              </a:extLst>
            </p:cNvPr>
            <p:cNvGrpSpPr/>
            <p:nvPr/>
          </p:nvGrpSpPr>
          <p:grpSpPr>
            <a:xfrm>
              <a:off x="4157932" y="946596"/>
              <a:ext cx="1345631" cy="1738475"/>
              <a:chOff x="4157932" y="946596"/>
              <a:chExt cx="1345631" cy="1738475"/>
            </a:xfrm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8D57AAD0-6F95-44BA-9FC4-4CBBF21E7519}"/>
                  </a:ext>
                </a:extLst>
              </p:cNvPr>
              <p:cNvSpPr/>
              <p:nvPr/>
            </p:nvSpPr>
            <p:spPr>
              <a:xfrm rot="21447621">
                <a:off x="4839764" y="1405734"/>
                <a:ext cx="380152" cy="46726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670"/>
                  <a:gd name="f7" fmla="val 869"/>
                  <a:gd name="f8" fmla="val 258"/>
                  <a:gd name="f9" fmla="val 259"/>
                  <a:gd name="f10" fmla="val 2"/>
                  <a:gd name="f11" fmla="val 261"/>
                  <a:gd name="f12" fmla="val 6"/>
                  <a:gd name="f13" fmla="val 267"/>
                  <a:gd name="f14" fmla="val 11"/>
                  <a:gd name="f15" fmla="val 274"/>
                  <a:gd name="f16" fmla="val 15"/>
                  <a:gd name="f17" fmla="val 278"/>
                  <a:gd name="f18" fmla="val 20"/>
                  <a:gd name="f19" fmla="val 281"/>
                  <a:gd name="f20" fmla="val 23"/>
                  <a:gd name="f21" fmla="val 285"/>
                  <a:gd name="f22" fmla="val 24"/>
                  <a:gd name="f23" fmla="val 291"/>
                  <a:gd name="f24" fmla="val 25"/>
                  <a:gd name="f25" fmla="val 295"/>
                  <a:gd name="f26" fmla="val 298"/>
                  <a:gd name="f27" fmla="val 26"/>
                  <a:gd name="f28" fmla="val 28"/>
                  <a:gd name="f29" fmla="val 299"/>
                  <a:gd name="f30" fmla="val 30"/>
                  <a:gd name="f31" fmla="val 303"/>
                  <a:gd name="f32" fmla="val 33"/>
                  <a:gd name="f33" fmla="val 309"/>
                  <a:gd name="f34" fmla="val 36"/>
                  <a:gd name="f35" fmla="val 313"/>
                  <a:gd name="f36" fmla="val 40"/>
                  <a:gd name="f37" fmla="val 48"/>
                  <a:gd name="f38" fmla="val 319"/>
                  <a:gd name="f39" fmla="val 51"/>
                  <a:gd name="f40" fmla="val 327"/>
                  <a:gd name="f41" fmla="val 53"/>
                  <a:gd name="f42" fmla="val 336"/>
                  <a:gd name="f43" fmla="val 55"/>
                  <a:gd name="f44" fmla="val 344"/>
                  <a:gd name="f45" fmla="val 56"/>
                  <a:gd name="f46" fmla="val 350"/>
                  <a:gd name="f47" fmla="val 58"/>
                  <a:gd name="f48" fmla="val 355"/>
                  <a:gd name="f49" fmla="val 362"/>
                  <a:gd name="f50" fmla="val 57"/>
                  <a:gd name="f51" fmla="val 374"/>
                  <a:gd name="f52" fmla="val 378"/>
                  <a:gd name="f53" fmla="val 61"/>
                  <a:gd name="f54" fmla="val 383"/>
                  <a:gd name="f55" fmla="val 67"/>
                  <a:gd name="f56" fmla="val 389"/>
                  <a:gd name="f57" fmla="val 68"/>
                  <a:gd name="f58" fmla="val 401"/>
                  <a:gd name="f59" fmla="val 405"/>
                  <a:gd name="f60" fmla="val 70"/>
                  <a:gd name="f61" fmla="val 409"/>
                  <a:gd name="f62" fmla="val 75"/>
                  <a:gd name="f63" fmla="val 413"/>
                  <a:gd name="f64" fmla="val 84"/>
                  <a:gd name="f65" fmla="val 414"/>
                  <a:gd name="f66" fmla="val 91"/>
                  <a:gd name="f67" fmla="val 96"/>
                  <a:gd name="f68" fmla="val 411"/>
                  <a:gd name="f69" fmla="val 99"/>
                  <a:gd name="f70" fmla="val 408"/>
                  <a:gd name="f71" fmla="val 103"/>
                  <a:gd name="f72" fmla="val 108"/>
                  <a:gd name="f73" fmla="val 404"/>
                  <a:gd name="f74" fmla="val 115"/>
                  <a:gd name="f75" fmla="val 123"/>
                  <a:gd name="f76" fmla="val 131"/>
                  <a:gd name="f77" fmla="val 412"/>
                  <a:gd name="f78" fmla="val 140"/>
                  <a:gd name="f79" fmla="val 147"/>
                  <a:gd name="f80" fmla="val 153"/>
                  <a:gd name="f81" fmla="val 156"/>
                  <a:gd name="f82" fmla="val 403"/>
                  <a:gd name="f83" fmla="val 159"/>
                  <a:gd name="f84" fmla="val 399"/>
                  <a:gd name="f85" fmla="val 162"/>
                  <a:gd name="f86" fmla="val 398"/>
                  <a:gd name="f87" fmla="val 167"/>
                  <a:gd name="f88" fmla="val 397"/>
                  <a:gd name="f89" fmla="val 175"/>
                  <a:gd name="f90" fmla="val 393"/>
                  <a:gd name="f91" fmla="val 183"/>
                  <a:gd name="f92" fmla="val 388"/>
                  <a:gd name="f93" fmla="val 191"/>
                  <a:gd name="f94" fmla="val 385"/>
                  <a:gd name="f95" fmla="val 196"/>
                  <a:gd name="f96" fmla="val 384"/>
                  <a:gd name="f97" fmla="val 199"/>
                  <a:gd name="f98" fmla="val 387"/>
                  <a:gd name="f99" fmla="val 203"/>
                  <a:gd name="f100" fmla="val 392"/>
                  <a:gd name="f101" fmla="val 208"/>
                  <a:gd name="f102" fmla="val 212"/>
                  <a:gd name="f103" fmla="val 213"/>
                  <a:gd name="f104" fmla="val 211"/>
                  <a:gd name="f105" fmla="val 204"/>
                  <a:gd name="f106" fmla="val 417"/>
                  <a:gd name="f107" fmla="val 420"/>
                  <a:gd name="f108" fmla="val 206"/>
                  <a:gd name="f109" fmla="val 425"/>
                  <a:gd name="f110" fmla="val 210"/>
                  <a:gd name="f111" fmla="val 430"/>
                  <a:gd name="f112" fmla="val 432"/>
                  <a:gd name="f113" fmla="val 215"/>
                  <a:gd name="f114" fmla="val 221"/>
                  <a:gd name="f115" fmla="val 228"/>
                  <a:gd name="f116" fmla="val 427"/>
                  <a:gd name="f117" fmla="val 237"/>
                  <a:gd name="f118" fmla="val 423"/>
                  <a:gd name="f119" fmla="val 245"/>
                  <a:gd name="f120" fmla="val 253"/>
                  <a:gd name="f121" fmla="val 418"/>
                  <a:gd name="f122" fmla="val 275"/>
                  <a:gd name="f123" fmla="val 419"/>
                  <a:gd name="f124" fmla="val 310"/>
                  <a:gd name="f125" fmla="val 314"/>
                  <a:gd name="f126" fmla="val 318"/>
                  <a:gd name="f127" fmla="val 421"/>
                  <a:gd name="f128" fmla="val 321"/>
                  <a:gd name="f129" fmla="val 324"/>
                  <a:gd name="f130" fmla="val 422"/>
                  <a:gd name="f131" fmla="val 333"/>
                  <a:gd name="f132" fmla="val 415"/>
                  <a:gd name="f133" fmla="val 342"/>
                  <a:gd name="f134" fmla="val 352"/>
                  <a:gd name="f135" fmla="val 428"/>
                  <a:gd name="f136" fmla="val 373"/>
                  <a:gd name="f137" fmla="val 438"/>
                  <a:gd name="f138" fmla="val 446"/>
                  <a:gd name="f139" fmla="val 453"/>
                  <a:gd name="f140" fmla="val 407"/>
                  <a:gd name="f141" fmla="val 458"/>
                  <a:gd name="f142" fmla="val 464"/>
                  <a:gd name="f143" fmla="val 416"/>
                  <a:gd name="f144" fmla="val 470"/>
                  <a:gd name="f145" fmla="val 476"/>
                  <a:gd name="f146" fmla="val 480"/>
                  <a:gd name="f147" fmla="val 486"/>
                  <a:gd name="f148" fmla="val 492"/>
                  <a:gd name="f149" fmla="val 500"/>
                  <a:gd name="f150" fmla="val 429"/>
                  <a:gd name="f151" fmla="val 510"/>
                  <a:gd name="f152" fmla="val 435"/>
                  <a:gd name="f153" fmla="val 517"/>
                  <a:gd name="f154" fmla="val 436"/>
                  <a:gd name="f155" fmla="val 522"/>
                  <a:gd name="f156" fmla="val 525"/>
                  <a:gd name="f157" fmla="val 528"/>
                  <a:gd name="f158" fmla="val 532"/>
                  <a:gd name="f159" fmla="val 536"/>
                  <a:gd name="f160" fmla="val 544"/>
                  <a:gd name="f161" fmla="val 555"/>
                  <a:gd name="f162" fmla="val 567"/>
                  <a:gd name="f163" fmla="val 441"/>
                  <a:gd name="f164" fmla="val 577"/>
                  <a:gd name="f165" fmla="val 447"/>
                  <a:gd name="f166" fmla="val 584"/>
                  <a:gd name="f167" fmla="val 589"/>
                  <a:gd name="f168" fmla="val 457"/>
                  <a:gd name="f169" fmla="val 593"/>
                  <a:gd name="f170" fmla="val 604"/>
                  <a:gd name="f171" fmla="val 609"/>
                  <a:gd name="f172" fmla="val 461"/>
                  <a:gd name="f173" fmla="val 614"/>
                  <a:gd name="f174" fmla="val 465"/>
                  <a:gd name="f175" fmla="val 617"/>
                  <a:gd name="f176" fmla="val 467"/>
                  <a:gd name="f177" fmla="val 620"/>
                  <a:gd name="f178" fmla="val 468"/>
                  <a:gd name="f179" fmla="val 626"/>
                  <a:gd name="f180" fmla="val 630"/>
                  <a:gd name="f181" fmla="val 469"/>
                  <a:gd name="f182" fmla="val 632"/>
                  <a:gd name="f183" fmla="val 472"/>
                  <a:gd name="f184" fmla="val 633"/>
                  <a:gd name="f185" fmla="val 636"/>
                  <a:gd name="f186" fmla="val 642"/>
                  <a:gd name="f187" fmla="val 483"/>
                  <a:gd name="f188" fmla="val 649"/>
                  <a:gd name="f189" fmla="val 487"/>
                  <a:gd name="f190" fmla="val 656"/>
                  <a:gd name="f191" fmla="val 494"/>
                  <a:gd name="f192" fmla="val 661"/>
                  <a:gd name="f193" fmla="val 503"/>
                  <a:gd name="f194" fmla="val 663"/>
                  <a:gd name="f195" fmla="val 513"/>
                  <a:gd name="f196" fmla="val 521"/>
                  <a:gd name="f197" fmla="val 662"/>
                  <a:gd name="f198" fmla="val 527"/>
                  <a:gd name="f199" fmla="val 669"/>
                  <a:gd name="f200" fmla="val 538"/>
                  <a:gd name="f201" fmla="val 541"/>
                  <a:gd name="f202" fmla="val 545"/>
                  <a:gd name="f203" fmla="val 665"/>
                  <a:gd name="f204" fmla="val 551"/>
                  <a:gd name="f205" fmla="val 658"/>
                  <a:gd name="f206" fmla="val 557"/>
                  <a:gd name="f207" fmla="val 652"/>
                  <a:gd name="f208" fmla="val 563"/>
                  <a:gd name="f209" fmla="val 645"/>
                  <a:gd name="f210" fmla="val 568"/>
                  <a:gd name="f211" fmla="val 570"/>
                  <a:gd name="f212" fmla="val 639"/>
                  <a:gd name="f213" fmla="val 573"/>
                  <a:gd name="f214" fmla="val 638"/>
                  <a:gd name="f215" fmla="val 576"/>
                  <a:gd name="f216" fmla="val 579"/>
                  <a:gd name="f217" fmla="val 575"/>
                  <a:gd name="f218" fmla="val 629"/>
                  <a:gd name="f219" fmla="val 625"/>
                  <a:gd name="f220" fmla="val 571"/>
                  <a:gd name="f221" fmla="val 615"/>
                  <a:gd name="f222" fmla="val 611"/>
                  <a:gd name="f223" fmla="val 607"/>
                  <a:gd name="f224" fmla="val 598"/>
                  <a:gd name="f225" fmla="val 560"/>
                  <a:gd name="f226" fmla="val 592"/>
                  <a:gd name="f227" fmla="val 558"/>
                  <a:gd name="f228" fmla="val 588"/>
                  <a:gd name="f229" fmla="val 559"/>
                  <a:gd name="f230" fmla="val 562"/>
                  <a:gd name="f231" fmla="val 565"/>
                  <a:gd name="f232" fmla="val 572"/>
                  <a:gd name="f233" fmla="val 554"/>
                  <a:gd name="f234" fmla="val 549"/>
                  <a:gd name="f235" fmla="val 542"/>
                  <a:gd name="f236" fmla="val 537"/>
                  <a:gd name="f237" fmla="val 581"/>
                  <a:gd name="f238" fmla="val 531"/>
                  <a:gd name="f239" fmla="val 585"/>
                  <a:gd name="f240" fmla="val 587"/>
                  <a:gd name="f241" fmla="val 516"/>
                  <a:gd name="f242" fmla="val 505"/>
                  <a:gd name="f243" fmla="val 493"/>
                  <a:gd name="f244" fmla="val 590"/>
                  <a:gd name="f245" fmla="val 596"/>
                  <a:gd name="f246" fmla="val 460"/>
                  <a:gd name="f247" fmla="val 601"/>
                  <a:gd name="f248" fmla="val 605"/>
                  <a:gd name="f249" fmla="val 608"/>
                  <a:gd name="f250" fmla="val 610"/>
                  <a:gd name="f251" fmla="val 426"/>
                  <a:gd name="f252" fmla="val 613"/>
                  <a:gd name="f253" fmla="val 618"/>
                  <a:gd name="f254" fmla="val 627"/>
                  <a:gd name="f255" fmla="val 635"/>
                  <a:gd name="f256" fmla="val 410"/>
                  <a:gd name="f257" fmla="val 664"/>
                  <a:gd name="f258" fmla="val 673"/>
                  <a:gd name="f259" fmla="val 681"/>
                  <a:gd name="f260" fmla="val 690"/>
                  <a:gd name="f261" fmla="val 696"/>
                  <a:gd name="f262" fmla="val 701"/>
                  <a:gd name="f263" fmla="val 704"/>
                  <a:gd name="f264" fmla="val 406"/>
                  <a:gd name="f265" fmla="val 708"/>
                  <a:gd name="f266" fmla="val 712"/>
                  <a:gd name="f267" fmla="val 718"/>
                  <a:gd name="f268" fmla="val 728"/>
                  <a:gd name="f269" fmla="val 740"/>
                  <a:gd name="f270" fmla="val 752"/>
                  <a:gd name="f271" fmla="val 763"/>
                  <a:gd name="f272" fmla="val 771"/>
                  <a:gd name="f273" fmla="val 779"/>
                  <a:gd name="f274" fmla="val 788"/>
                  <a:gd name="f275" fmla="val 795"/>
                  <a:gd name="f276" fmla="val 799"/>
                  <a:gd name="f277" fmla="val 801"/>
                  <a:gd name="f278" fmla="val 442"/>
                  <a:gd name="f279" fmla="val 807"/>
                  <a:gd name="f280" fmla="val 809"/>
                  <a:gd name="f281" fmla="val 439"/>
                  <a:gd name="f282" fmla="val 812"/>
                  <a:gd name="f283" fmla="val 814"/>
                  <a:gd name="f284" fmla="val 816"/>
                  <a:gd name="f285" fmla="val 434"/>
                  <a:gd name="f286" fmla="val 821"/>
                  <a:gd name="f287" fmla="val 827"/>
                  <a:gd name="f288" fmla="val 437"/>
                  <a:gd name="f289" fmla="val 833"/>
                  <a:gd name="f290" fmla="val 440"/>
                  <a:gd name="f291" fmla="val 838"/>
                  <a:gd name="f292" fmla="val 842"/>
                  <a:gd name="f293" fmla="val 844"/>
                  <a:gd name="f294" fmla="val 848"/>
                  <a:gd name="f295" fmla="val 862"/>
                  <a:gd name="f296" fmla="val 867"/>
                  <a:gd name="f297" fmla="val 424"/>
                  <a:gd name="f298" fmla="val 868"/>
                  <a:gd name="f299" fmla="val 860"/>
                  <a:gd name="f300" fmla="val 858"/>
                  <a:gd name="f301" fmla="val 402"/>
                  <a:gd name="f302" fmla="val 396"/>
                  <a:gd name="f303" fmla="val 859"/>
                  <a:gd name="f304" fmla="val 390"/>
                  <a:gd name="f305" fmla="val 861"/>
                  <a:gd name="f306" fmla="val 368"/>
                  <a:gd name="f307" fmla="val 361"/>
                  <a:gd name="f308" fmla="val 853"/>
                  <a:gd name="f309" fmla="val 354"/>
                  <a:gd name="f310" fmla="val 845"/>
                  <a:gd name="f311" fmla="val 347"/>
                  <a:gd name="f312" fmla="val 339"/>
                  <a:gd name="f313" fmla="val 832"/>
                  <a:gd name="f314" fmla="val 332"/>
                  <a:gd name="f315" fmla="val 830"/>
                  <a:gd name="f316" fmla="val 326"/>
                  <a:gd name="f317" fmla="val 320"/>
                  <a:gd name="f318" fmla="val 315"/>
                  <a:gd name="f319" fmla="val 834"/>
                  <a:gd name="f320" fmla="val 308"/>
                  <a:gd name="f321" fmla="val 835"/>
                  <a:gd name="f322" fmla="val 300"/>
                  <a:gd name="f323" fmla="val 829"/>
                  <a:gd name="f324" fmla="val 297"/>
                  <a:gd name="f325" fmla="val 823"/>
                  <a:gd name="f326" fmla="val 293"/>
                  <a:gd name="f327" fmla="val 810"/>
                  <a:gd name="f328" fmla="val 289"/>
                  <a:gd name="f329" fmla="val 803"/>
                  <a:gd name="f330" fmla="val 283"/>
                  <a:gd name="f331" fmla="val 277"/>
                  <a:gd name="f332" fmla="val 271"/>
                  <a:gd name="f333" fmla="val 264"/>
                  <a:gd name="f334" fmla="val 804"/>
                  <a:gd name="f335" fmla="val 249"/>
                  <a:gd name="f336" fmla="val 239"/>
                  <a:gd name="f337" fmla="val 229"/>
                  <a:gd name="f338" fmla="val 223"/>
                  <a:gd name="f339" fmla="val 220"/>
                  <a:gd name="f340" fmla="val 797"/>
                  <a:gd name="f341" fmla="val 218"/>
                  <a:gd name="f342" fmla="val 783"/>
                  <a:gd name="f343" fmla="val 776"/>
                  <a:gd name="f344" fmla="val 216"/>
                  <a:gd name="f345" fmla="val 767"/>
                  <a:gd name="f346" fmla="val 761"/>
                  <a:gd name="f347" fmla="val 200"/>
                  <a:gd name="f348" fmla="val 757"/>
                  <a:gd name="f349" fmla="val 753"/>
                  <a:gd name="f350" fmla="val 747"/>
                  <a:gd name="f351" fmla="val 209"/>
                  <a:gd name="f352" fmla="val 742"/>
                  <a:gd name="f353" fmla="val 214"/>
                  <a:gd name="f354" fmla="val 736"/>
                  <a:gd name="f355" fmla="val 217"/>
                  <a:gd name="f356" fmla="val 730"/>
                  <a:gd name="f357" fmla="val 726"/>
                  <a:gd name="f358" fmla="val 720"/>
                  <a:gd name="f359" fmla="val 713"/>
                  <a:gd name="f360" fmla="val 706"/>
                  <a:gd name="f361" fmla="val 698"/>
                  <a:gd name="f362" fmla="val 198"/>
                  <a:gd name="f363" fmla="val 694"/>
                  <a:gd name="f364" fmla="val 187"/>
                  <a:gd name="f365" fmla="val 687"/>
                  <a:gd name="f366" fmla="val 164"/>
                  <a:gd name="f367" fmla="val 684"/>
                  <a:gd name="f368" fmla="val 154"/>
                  <a:gd name="f369" fmla="val 682"/>
                  <a:gd name="f370" fmla="val 139"/>
                  <a:gd name="f371" fmla="val 676"/>
                  <a:gd name="f372" fmla="val 675"/>
                  <a:gd name="f373" fmla="val 109"/>
                  <a:gd name="f374" fmla="val 674"/>
                  <a:gd name="f375" fmla="val 105"/>
                  <a:gd name="f376" fmla="val 104"/>
                  <a:gd name="f377" fmla="val 653"/>
                  <a:gd name="f378" fmla="val 102"/>
                  <a:gd name="f379" fmla="val 98"/>
                  <a:gd name="f380" fmla="val 94"/>
                  <a:gd name="f381" fmla="val 90"/>
                  <a:gd name="f382" fmla="val 89"/>
                  <a:gd name="f383" fmla="val 606"/>
                  <a:gd name="f384" fmla="val 93"/>
                  <a:gd name="f385" fmla="val 95"/>
                  <a:gd name="f386" fmla="val 97"/>
                  <a:gd name="f387" fmla="val 603"/>
                  <a:gd name="f388" fmla="val 597"/>
                  <a:gd name="f389" fmla="val 76"/>
                  <a:gd name="f390" fmla="val 586"/>
                  <a:gd name="f391" fmla="val 62"/>
                  <a:gd name="f392" fmla="val 45"/>
                  <a:gd name="f393" fmla="val 27"/>
                  <a:gd name="f394" fmla="val 550"/>
                  <a:gd name="f395" fmla="val 14"/>
                  <a:gd name="f396" fmla="val 7"/>
                  <a:gd name="f397" fmla="val 533"/>
                  <a:gd name="f398" fmla="val 3"/>
                  <a:gd name="f399" fmla="val 523"/>
                  <a:gd name="f400" fmla="val 1"/>
                  <a:gd name="f401" fmla="val 497"/>
                  <a:gd name="f402" fmla="val 485"/>
                  <a:gd name="f403" fmla="val 16"/>
                  <a:gd name="f404" fmla="val 479"/>
                  <a:gd name="f405" fmla="val 13"/>
                  <a:gd name="f406" fmla="val 455"/>
                  <a:gd name="f407" fmla="val 8"/>
                  <a:gd name="f408" fmla="val 445"/>
                  <a:gd name="f409" fmla="val 4"/>
                  <a:gd name="f410" fmla="val 431"/>
                  <a:gd name="f411" fmla="val 5"/>
                  <a:gd name="f412" fmla="val 10"/>
                  <a:gd name="f413" fmla="val 29"/>
                  <a:gd name="f414" fmla="val 39"/>
                  <a:gd name="f415" fmla="val 65"/>
                  <a:gd name="f416" fmla="val 78"/>
                  <a:gd name="f417" fmla="val 100"/>
                  <a:gd name="f418" fmla="val 395"/>
                  <a:gd name="f419" fmla="val 112"/>
                  <a:gd name="f420" fmla="val 380"/>
                  <a:gd name="f421" fmla="val 117"/>
                  <a:gd name="f422" fmla="val 376"/>
                  <a:gd name="f423" fmla="val 121"/>
                  <a:gd name="f424" fmla="val 372"/>
                  <a:gd name="f425" fmla="val 366"/>
                  <a:gd name="f426" fmla="val 348"/>
                  <a:gd name="f427" fmla="val 116"/>
                  <a:gd name="f428" fmla="val 340"/>
                  <a:gd name="f429" fmla="val 119"/>
                  <a:gd name="f430" fmla="val 120"/>
                  <a:gd name="f431" fmla="val 328"/>
                  <a:gd name="f432" fmla="val 118"/>
                  <a:gd name="f433" fmla="val 322"/>
                  <a:gd name="f434" fmla="val 317"/>
                  <a:gd name="f435" fmla="val 113"/>
                  <a:gd name="f436" fmla="val 311"/>
                  <a:gd name="f437" fmla="val 302"/>
                  <a:gd name="f438" fmla="val 110"/>
                  <a:gd name="f439" fmla="val 107"/>
                  <a:gd name="f440" fmla="val 286"/>
                  <a:gd name="f441" fmla="val 284"/>
                  <a:gd name="f442" fmla="val 282"/>
                  <a:gd name="f443" fmla="val 280"/>
                  <a:gd name="f444" fmla="val 279"/>
                  <a:gd name="f445" fmla="val 266"/>
                  <a:gd name="f446" fmla="val 260"/>
                  <a:gd name="f447" fmla="val 246"/>
                  <a:gd name="f448" fmla="val 92"/>
                  <a:gd name="f449" fmla="val 233"/>
                  <a:gd name="f450" fmla="val 227"/>
                  <a:gd name="f451" fmla="val 224"/>
                  <a:gd name="f452" fmla="val 219"/>
                  <a:gd name="f453" fmla="val 101"/>
                  <a:gd name="f454" fmla="val 202"/>
                  <a:gd name="f455" fmla="val 192"/>
                  <a:gd name="f456" fmla="val 184"/>
                  <a:gd name="f457" fmla="val 181"/>
                  <a:gd name="f458" fmla="val 178"/>
                  <a:gd name="f459" fmla="val 173"/>
                  <a:gd name="f460" fmla="val 79"/>
                  <a:gd name="f461" fmla="val 169"/>
                  <a:gd name="f462" fmla="val 165"/>
                  <a:gd name="f463" fmla="val 72"/>
                  <a:gd name="f464" fmla="val 150"/>
                  <a:gd name="f465" fmla="val 63"/>
                  <a:gd name="f466" fmla="val 114"/>
                  <a:gd name="f467" fmla="val 50"/>
                  <a:gd name="f468" fmla="val 49"/>
                  <a:gd name="f469" fmla="val 88"/>
                  <a:gd name="f470" fmla="val 85"/>
                  <a:gd name="f471" fmla="val 59"/>
                  <a:gd name="f472" fmla="val 83"/>
                  <a:gd name="f473" fmla="val 82"/>
                  <a:gd name="f474" fmla="val 54"/>
                  <a:gd name="f475" fmla="val 124"/>
                  <a:gd name="f476" fmla="val 128"/>
                  <a:gd name="f477" fmla="val 133"/>
                  <a:gd name="f478" fmla="val 137"/>
                  <a:gd name="f479" fmla="val 144"/>
                  <a:gd name="f480" fmla="val 151"/>
                  <a:gd name="f481" fmla="val 157"/>
                  <a:gd name="f482" fmla="val 168"/>
                  <a:gd name="f483" fmla="val 71"/>
                  <a:gd name="f484" fmla="val 69"/>
                  <a:gd name="f485" fmla="val 60"/>
                  <a:gd name="f486" fmla="val 42"/>
                  <a:gd name="f487" fmla="val 37"/>
                  <a:gd name="f488" fmla="val 31"/>
                  <a:gd name="f489" fmla="val 21"/>
                  <a:gd name="f490" fmla="val 17"/>
                  <a:gd name="f491" fmla="val 232"/>
                  <a:gd name="f492" fmla="val 240"/>
                  <a:gd name="f493" fmla="+- 0 0 -90"/>
                  <a:gd name="f494" fmla="*/ f3 1 670"/>
                  <a:gd name="f495" fmla="*/ f4 1 869"/>
                  <a:gd name="f496" fmla="+- f7 0 f5"/>
                  <a:gd name="f497" fmla="+- f6 0 f5"/>
                  <a:gd name="f498" fmla="*/ f493 f0 1"/>
                  <a:gd name="f499" fmla="*/ f497 1 670"/>
                  <a:gd name="f500" fmla="*/ f496 1 869"/>
                  <a:gd name="f501" fmla="*/ f498 1 f2"/>
                  <a:gd name="f502" fmla="*/ 278 1 f499"/>
                  <a:gd name="f503" fmla="*/ 20 1 f500"/>
                  <a:gd name="f504" fmla="*/ 299 1 f499"/>
                  <a:gd name="f505" fmla="*/ 30 1 f500"/>
                  <a:gd name="f506" fmla="*/ 336 1 f499"/>
                  <a:gd name="f507" fmla="*/ 55 1 f500"/>
                  <a:gd name="f508" fmla="*/ 383 1 f499"/>
                  <a:gd name="f509" fmla="*/ 67 1 f500"/>
                  <a:gd name="f510" fmla="*/ 413 1 f499"/>
                  <a:gd name="f511" fmla="*/ 96 1 f500"/>
                  <a:gd name="f512" fmla="*/ 412 1 f499"/>
                  <a:gd name="f513" fmla="*/ 140 1 f500"/>
                  <a:gd name="f514" fmla="*/ 397 1 f499"/>
                  <a:gd name="f515" fmla="*/ 175 1 f500"/>
                  <a:gd name="f516" fmla="*/ 212 1 f500"/>
                  <a:gd name="f517" fmla="*/ 425 1 f499"/>
                  <a:gd name="f518" fmla="*/ 210 1 f500"/>
                  <a:gd name="f519" fmla="*/ 420 1 f499"/>
                  <a:gd name="f520" fmla="*/ 253 1 f500"/>
                  <a:gd name="f521" fmla="*/ 417 1 f499"/>
                  <a:gd name="f522" fmla="*/ 318 1 f500"/>
                  <a:gd name="f523" fmla="*/ 362 1 f500"/>
                  <a:gd name="f524" fmla="*/ 470 1 f499"/>
                  <a:gd name="f525" fmla="*/ 417 1 f500"/>
                  <a:gd name="f526" fmla="*/ 517 1 f499"/>
                  <a:gd name="f527" fmla="*/ 436 1 f500"/>
                  <a:gd name="f528" fmla="*/ 555 1 f499"/>
                  <a:gd name="f529" fmla="*/ 609 1 f499"/>
                  <a:gd name="f530" fmla="*/ 461 1 f500"/>
                  <a:gd name="f531" fmla="*/ 633 1 f499"/>
                  <a:gd name="f532" fmla="*/ 476 1 f500"/>
                  <a:gd name="f533" fmla="*/ 663 1 f499"/>
                  <a:gd name="f534" fmla="*/ 521 1 f500"/>
                  <a:gd name="f535" fmla="*/ 658 1 f499"/>
                  <a:gd name="f536" fmla="*/ 557 1 f500"/>
                  <a:gd name="f537" fmla="*/ 632 1 f499"/>
                  <a:gd name="f538" fmla="*/ 575 1 f500"/>
                  <a:gd name="f539" fmla="*/ 598 1 f499"/>
                  <a:gd name="f540" fmla="*/ 560 1 f500"/>
                  <a:gd name="f541" fmla="*/ 562 1 f499"/>
                  <a:gd name="f542" fmla="*/ 572 1 f500"/>
                  <a:gd name="f543" fmla="*/ 525 1 f499"/>
                  <a:gd name="f544" fmla="*/ 587 1 f500"/>
                  <a:gd name="f545" fmla="*/ 453 1 f499"/>
                  <a:gd name="f546" fmla="*/ 605 1 f500"/>
                  <a:gd name="f547" fmla="*/ 418 1 f499"/>
                  <a:gd name="f548" fmla="*/ 635 1 f500"/>
                  <a:gd name="f549" fmla="*/ 419 1 f499"/>
                  <a:gd name="f550" fmla="*/ 690 1 f500"/>
                  <a:gd name="f551" fmla="*/ 405 1 f499"/>
                  <a:gd name="f552" fmla="*/ 728 1 f500"/>
                  <a:gd name="f553" fmla="*/ 423 1 f499"/>
                  <a:gd name="f554" fmla="*/ 795 1 f500"/>
                  <a:gd name="f555" fmla="*/ 436 1 f499"/>
                  <a:gd name="f556" fmla="*/ 816 1 f500"/>
                  <a:gd name="f557" fmla="*/ 438 1 f499"/>
                  <a:gd name="f558" fmla="*/ 848 1 f500"/>
                  <a:gd name="f559" fmla="*/ 415 1 f499"/>
                  <a:gd name="f560" fmla="*/ 860 1 f500"/>
                  <a:gd name="f561" fmla="*/ 368 1 f499"/>
                  <a:gd name="f562" fmla="*/ 859 1 f500"/>
                  <a:gd name="f563" fmla="*/ 320 1 f499"/>
                  <a:gd name="f564" fmla="*/ 832 1 f500"/>
                  <a:gd name="f565" fmla="*/ 289 1 f499"/>
                  <a:gd name="f566" fmla="*/ 803 1 f500"/>
                  <a:gd name="f567" fmla="*/ 239 1 f499"/>
                  <a:gd name="f568" fmla="*/ 804 1 f500"/>
                  <a:gd name="f569" fmla="*/ 213 1 f499"/>
                  <a:gd name="f570" fmla="*/ 767 1 f500"/>
                  <a:gd name="f571" fmla="*/ 217 1 f499"/>
                  <a:gd name="f572" fmla="*/ 730 1 f500"/>
                  <a:gd name="f573" fmla="*/ 198 1 f499"/>
                  <a:gd name="f574" fmla="*/ 694 1 f500"/>
                  <a:gd name="f575" fmla="*/ 123 1 f499"/>
                  <a:gd name="f576" fmla="*/ 676 1 f500"/>
                  <a:gd name="f577" fmla="*/ 98 1 f499"/>
                  <a:gd name="f578" fmla="*/ 636 1 f500"/>
                  <a:gd name="f579" fmla="*/ 93 1 f499"/>
                  <a:gd name="f580" fmla="*/ 84 1 f499"/>
                  <a:gd name="f581" fmla="*/ 593 1 f500"/>
                  <a:gd name="f582" fmla="*/ 27 1 f499"/>
                  <a:gd name="f583" fmla="*/ 584 1 f500"/>
                  <a:gd name="f584" fmla="*/ 1 1 f499"/>
                  <a:gd name="f585" fmla="*/ 513 1 f500"/>
                  <a:gd name="f586" fmla="*/ 11 1 f499"/>
                  <a:gd name="f587" fmla="*/ 455 1 f500"/>
                  <a:gd name="f588" fmla="*/ 24 1 f499"/>
                  <a:gd name="f589" fmla="*/ 416 1 f500"/>
                  <a:gd name="f590" fmla="*/ 97 1 f499"/>
                  <a:gd name="f591" fmla="*/ 407 1 f500"/>
                  <a:gd name="f592" fmla="*/ 112 1 f499"/>
                  <a:gd name="f593" fmla="*/ 380 1 f500"/>
                  <a:gd name="f594" fmla="*/ 120 1 f499"/>
                  <a:gd name="f595" fmla="*/ 328 1 f500"/>
                  <a:gd name="f596" fmla="*/ 104 1 f499"/>
                  <a:gd name="f597" fmla="*/ 289 1 f500"/>
                  <a:gd name="f598" fmla="*/ 119 1 f499"/>
                  <a:gd name="f599" fmla="*/ 279 1 f500"/>
                  <a:gd name="f600" fmla="*/ 92 1 f499"/>
                  <a:gd name="f601" fmla="*/ 239 1 f500"/>
                  <a:gd name="f602" fmla="*/ 101 1 f499"/>
                  <a:gd name="f603" fmla="*/ 214 1 f500"/>
                  <a:gd name="f604" fmla="*/ 173 1 f500"/>
                  <a:gd name="f605" fmla="*/ 50 1 f499"/>
                  <a:gd name="f606" fmla="*/ 103 1 f500"/>
                  <a:gd name="f607" fmla="*/ 90 1 f499"/>
                  <a:gd name="f608" fmla="*/ 78 1 f500"/>
                  <a:gd name="f609" fmla="*/ 124 1 f499"/>
                  <a:gd name="f610" fmla="*/ 54 1 f500"/>
                  <a:gd name="f611" fmla="*/ 157 1 f499"/>
                  <a:gd name="f612" fmla="*/ 63 1 f500"/>
                  <a:gd name="f613" fmla="*/ 215 1 f499"/>
                  <a:gd name="f614" fmla="*/ 48 1 f500"/>
                  <a:gd name="f615" fmla="*/ 240 1 f499"/>
                  <a:gd name="f616" fmla="*/ 10 1 f500"/>
                  <a:gd name="f617" fmla="*/ 0 1 f499"/>
                  <a:gd name="f618" fmla="*/ f6 1 f499"/>
                  <a:gd name="f619" fmla="*/ 0 1 f500"/>
                  <a:gd name="f620" fmla="*/ f7 1 f500"/>
                  <a:gd name="f621" fmla="+- f501 0 f1"/>
                  <a:gd name="f622" fmla="*/ f617 f494 1"/>
                  <a:gd name="f623" fmla="*/ f618 f494 1"/>
                  <a:gd name="f624" fmla="*/ f620 f495 1"/>
                  <a:gd name="f625" fmla="*/ f619 f495 1"/>
                  <a:gd name="f626" fmla="*/ f502 f494 1"/>
                  <a:gd name="f627" fmla="*/ f503 f495 1"/>
                  <a:gd name="f628" fmla="*/ f504 f494 1"/>
                  <a:gd name="f629" fmla="*/ f505 f495 1"/>
                  <a:gd name="f630" fmla="*/ f506 f494 1"/>
                  <a:gd name="f631" fmla="*/ f507 f495 1"/>
                  <a:gd name="f632" fmla="*/ f508 f494 1"/>
                  <a:gd name="f633" fmla="*/ f509 f495 1"/>
                  <a:gd name="f634" fmla="*/ f510 f494 1"/>
                  <a:gd name="f635" fmla="*/ f511 f495 1"/>
                  <a:gd name="f636" fmla="*/ f512 f494 1"/>
                  <a:gd name="f637" fmla="*/ f513 f495 1"/>
                  <a:gd name="f638" fmla="*/ f514 f494 1"/>
                  <a:gd name="f639" fmla="*/ f515 f495 1"/>
                  <a:gd name="f640" fmla="*/ f516 f495 1"/>
                  <a:gd name="f641" fmla="*/ f517 f494 1"/>
                  <a:gd name="f642" fmla="*/ f518 f495 1"/>
                  <a:gd name="f643" fmla="*/ f519 f494 1"/>
                  <a:gd name="f644" fmla="*/ f520 f495 1"/>
                  <a:gd name="f645" fmla="*/ f521 f494 1"/>
                  <a:gd name="f646" fmla="*/ f522 f495 1"/>
                  <a:gd name="f647" fmla="*/ f523 f495 1"/>
                  <a:gd name="f648" fmla="*/ f524 f494 1"/>
                  <a:gd name="f649" fmla="*/ f525 f495 1"/>
                  <a:gd name="f650" fmla="*/ f526 f494 1"/>
                  <a:gd name="f651" fmla="*/ f527 f495 1"/>
                  <a:gd name="f652" fmla="*/ f528 f494 1"/>
                  <a:gd name="f653" fmla="*/ f529 f494 1"/>
                  <a:gd name="f654" fmla="*/ f530 f495 1"/>
                  <a:gd name="f655" fmla="*/ f531 f494 1"/>
                  <a:gd name="f656" fmla="*/ f532 f495 1"/>
                  <a:gd name="f657" fmla="*/ f533 f494 1"/>
                  <a:gd name="f658" fmla="*/ f534 f495 1"/>
                  <a:gd name="f659" fmla="*/ f535 f494 1"/>
                  <a:gd name="f660" fmla="*/ f536 f495 1"/>
                  <a:gd name="f661" fmla="*/ f537 f494 1"/>
                  <a:gd name="f662" fmla="*/ f538 f495 1"/>
                  <a:gd name="f663" fmla="*/ f539 f494 1"/>
                  <a:gd name="f664" fmla="*/ f540 f495 1"/>
                  <a:gd name="f665" fmla="*/ f541 f494 1"/>
                  <a:gd name="f666" fmla="*/ f542 f495 1"/>
                  <a:gd name="f667" fmla="*/ f543 f494 1"/>
                  <a:gd name="f668" fmla="*/ f544 f495 1"/>
                  <a:gd name="f669" fmla="*/ f545 f494 1"/>
                  <a:gd name="f670" fmla="*/ f546 f495 1"/>
                  <a:gd name="f671" fmla="*/ f547 f494 1"/>
                  <a:gd name="f672" fmla="*/ f548 f495 1"/>
                  <a:gd name="f673" fmla="*/ f549 f494 1"/>
                  <a:gd name="f674" fmla="*/ f550 f495 1"/>
                  <a:gd name="f675" fmla="*/ f551 f494 1"/>
                  <a:gd name="f676" fmla="*/ f552 f495 1"/>
                  <a:gd name="f677" fmla="*/ f553 f494 1"/>
                  <a:gd name="f678" fmla="*/ f554 f495 1"/>
                  <a:gd name="f679" fmla="*/ f555 f494 1"/>
                  <a:gd name="f680" fmla="*/ f556 f495 1"/>
                  <a:gd name="f681" fmla="*/ f557 f494 1"/>
                  <a:gd name="f682" fmla="*/ f558 f495 1"/>
                  <a:gd name="f683" fmla="*/ f559 f494 1"/>
                  <a:gd name="f684" fmla="*/ f560 f495 1"/>
                  <a:gd name="f685" fmla="*/ f561 f494 1"/>
                  <a:gd name="f686" fmla="*/ f562 f495 1"/>
                  <a:gd name="f687" fmla="*/ f563 f494 1"/>
                  <a:gd name="f688" fmla="*/ f564 f495 1"/>
                  <a:gd name="f689" fmla="*/ f565 f494 1"/>
                  <a:gd name="f690" fmla="*/ f566 f495 1"/>
                  <a:gd name="f691" fmla="*/ f567 f494 1"/>
                  <a:gd name="f692" fmla="*/ f568 f495 1"/>
                  <a:gd name="f693" fmla="*/ f569 f494 1"/>
                  <a:gd name="f694" fmla="*/ f570 f495 1"/>
                  <a:gd name="f695" fmla="*/ f571 f494 1"/>
                  <a:gd name="f696" fmla="*/ f572 f495 1"/>
                  <a:gd name="f697" fmla="*/ f573 f494 1"/>
                  <a:gd name="f698" fmla="*/ f574 f495 1"/>
                  <a:gd name="f699" fmla="*/ f575 f494 1"/>
                  <a:gd name="f700" fmla="*/ f576 f495 1"/>
                  <a:gd name="f701" fmla="*/ f577 f494 1"/>
                  <a:gd name="f702" fmla="*/ f578 f495 1"/>
                  <a:gd name="f703" fmla="*/ f579 f494 1"/>
                  <a:gd name="f704" fmla="*/ f580 f494 1"/>
                  <a:gd name="f705" fmla="*/ f581 f495 1"/>
                  <a:gd name="f706" fmla="*/ f582 f494 1"/>
                  <a:gd name="f707" fmla="*/ f583 f495 1"/>
                  <a:gd name="f708" fmla="*/ f584 f494 1"/>
                  <a:gd name="f709" fmla="*/ f585 f495 1"/>
                  <a:gd name="f710" fmla="*/ f586 f494 1"/>
                  <a:gd name="f711" fmla="*/ f587 f495 1"/>
                  <a:gd name="f712" fmla="*/ f588 f494 1"/>
                  <a:gd name="f713" fmla="*/ f589 f495 1"/>
                  <a:gd name="f714" fmla="*/ f590 f494 1"/>
                  <a:gd name="f715" fmla="*/ f591 f495 1"/>
                  <a:gd name="f716" fmla="*/ f592 f494 1"/>
                  <a:gd name="f717" fmla="*/ f593 f495 1"/>
                  <a:gd name="f718" fmla="*/ f594 f494 1"/>
                  <a:gd name="f719" fmla="*/ f595 f495 1"/>
                  <a:gd name="f720" fmla="*/ f596 f494 1"/>
                  <a:gd name="f721" fmla="*/ f597 f495 1"/>
                  <a:gd name="f722" fmla="*/ f598 f494 1"/>
                  <a:gd name="f723" fmla="*/ f599 f495 1"/>
                  <a:gd name="f724" fmla="*/ f600 f494 1"/>
                  <a:gd name="f725" fmla="*/ f601 f495 1"/>
                  <a:gd name="f726" fmla="*/ f602 f494 1"/>
                  <a:gd name="f727" fmla="*/ f603 f495 1"/>
                  <a:gd name="f728" fmla="*/ f604 f495 1"/>
                  <a:gd name="f729" fmla="*/ f605 f494 1"/>
                  <a:gd name="f730" fmla="*/ f606 f495 1"/>
                  <a:gd name="f731" fmla="*/ f607 f494 1"/>
                  <a:gd name="f732" fmla="*/ f608 f495 1"/>
                  <a:gd name="f733" fmla="*/ f609 f494 1"/>
                  <a:gd name="f734" fmla="*/ f610 f495 1"/>
                  <a:gd name="f735" fmla="*/ f611 f494 1"/>
                  <a:gd name="f736" fmla="*/ f612 f495 1"/>
                  <a:gd name="f737" fmla="*/ f613 f494 1"/>
                  <a:gd name="f738" fmla="*/ f614 f495 1"/>
                  <a:gd name="f739" fmla="*/ f615 f494 1"/>
                  <a:gd name="f740" fmla="*/ f616 f49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21">
                    <a:pos x="f626" y="f627"/>
                  </a:cxn>
                  <a:cxn ang="f621">
                    <a:pos x="f628" y="f629"/>
                  </a:cxn>
                  <a:cxn ang="f621">
                    <a:pos x="f630" y="f631"/>
                  </a:cxn>
                  <a:cxn ang="f621">
                    <a:pos x="f632" y="f633"/>
                  </a:cxn>
                  <a:cxn ang="f621">
                    <a:pos x="f634" y="f635"/>
                  </a:cxn>
                  <a:cxn ang="f621">
                    <a:pos x="f636" y="f637"/>
                  </a:cxn>
                  <a:cxn ang="f621">
                    <a:pos x="f638" y="f639"/>
                  </a:cxn>
                  <a:cxn ang="f621">
                    <a:pos x="f638" y="f640"/>
                  </a:cxn>
                  <a:cxn ang="f621">
                    <a:pos x="f641" y="f642"/>
                  </a:cxn>
                  <a:cxn ang="f621">
                    <a:pos x="f643" y="f644"/>
                  </a:cxn>
                  <a:cxn ang="f621">
                    <a:pos x="f645" y="f646"/>
                  </a:cxn>
                  <a:cxn ang="f621">
                    <a:pos x="f643" y="f647"/>
                  </a:cxn>
                  <a:cxn ang="f621">
                    <a:pos x="f648" y="f649"/>
                  </a:cxn>
                  <a:cxn ang="f621">
                    <a:pos x="f650" y="f651"/>
                  </a:cxn>
                  <a:cxn ang="f621">
                    <a:pos x="f652" y="f651"/>
                  </a:cxn>
                  <a:cxn ang="f621">
                    <a:pos x="f653" y="f654"/>
                  </a:cxn>
                  <a:cxn ang="f621">
                    <a:pos x="f655" y="f656"/>
                  </a:cxn>
                  <a:cxn ang="f621">
                    <a:pos x="f657" y="f658"/>
                  </a:cxn>
                  <a:cxn ang="f621">
                    <a:pos x="f659" y="f660"/>
                  </a:cxn>
                  <a:cxn ang="f621">
                    <a:pos x="f661" y="f662"/>
                  </a:cxn>
                  <a:cxn ang="f621">
                    <a:pos x="f663" y="f664"/>
                  </a:cxn>
                  <a:cxn ang="f621">
                    <a:pos x="f665" y="f666"/>
                  </a:cxn>
                  <a:cxn ang="f621">
                    <a:pos x="f667" y="f668"/>
                  </a:cxn>
                  <a:cxn ang="f621">
                    <a:pos x="f669" y="f670"/>
                  </a:cxn>
                  <a:cxn ang="f621">
                    <a:pos x="f671" y="f672"/>
                  </a:cxn>
                  <a:cxn ang="f621">
                    <a:pos x="f673" y="f674"/>
                  </a:cxn>
                  <a:cxn ang="f621">
                    <a:pos x="f675" y="f676"/>
                  </a:cxn>
                  <a:cxn ang="f621">
                    <a:pos x="f677" y="f678"/>
                  </a:cxn>
                  <a:cxn ang="f621">
                    <a:pos x="f679" y="f680"/>
                  </a:cxn>
                  <a:cxn ang="f621">
                    <a:pos x="f681" y="f682"/>
                  </a:cxn>
                  <a:cxn ang="f621">
                    <a:pos x="f683" y="f684"/>
                  </a:cxn>
                  <a:cxn ang="f621">
                    <a:pos x="f685" y="f686"/>
                  </a:cxn>
                  <a:cxn ang="f621">
                    <a:pos x="f687" y="f688"/>
                  </a:cxn>
                  <a:cxn ang="f621">
                    <a:pos x="f689" y="f690"/>
                  </a:cxn>
                  <a:cxn ang="f621">
                    <a:pos x="f691" y="f692"/>
                  </a:cxn>
                  <a:cxn ang="f621">
                    <a:pos x="f693" y="f694"/>
                  </a:cxn>
                  <a:cxn ang="f621">
                    <a:pos x="f695" y="f696"/>
                  </a:cxn>
                  <a:cxn ang="f621">
                    <a:pos x="f697" y="f698"/>
                  </a:cxn>
                  <a:cxn ang="f621">
                    <a:pos x="f699" y="f700"/>
                  </a:cxn>
                  <a:cxn ang="f621">
                    <a:pos x="f701" y="f702"/>
                  </a:cxn>
                  <a:cxn ang="f621">
                    <a:pos x="f703" y="f670"/>
                  </a:cxn>
                  <a:cxn ang="f621">
                    <a:pos x="f704" y="f705"/>
                  </a:cxn>
                  <a:cxn ang="f621">
                    <a:pos x="f706" y="f707"/>
                  </a:cxn>
                  <a:cxn ang="f621">
                    <a:pos x="f708" y="f709"/>
                  </a:cxn>
                  <a:cxn ang="f621">
                    <a:pos x="f710" y="f711"/>
                  </a:cxn>
                  <a:cxn ang="f621">
                    <a:pos x="f712" y="f713"/>
                  </a:cxn>
                  <a:cxn ang="f621">
                    <a:pos x="f714" y="f715"/>
                  </a:cxn>
                  <a:cxn ang="f621">
                    <a:pos x="f716" y="f717"/>
                  </a:cxn>
                  <a:cxn ang="f621">
                    <a:pos x="f718" y="f719"/>
                  </a:cxn>
                  <a:cxn ang="f621">
                    <a:pos x="f720" y="f721"/>
                  </a:cxn>
                  <a:cxn ang="f621">
                    <a:pos x="f722" y="f723"/>
                  </a:cxn>
                  <a:cxn ang="f621">
                    <a:pos x="f724" y="f725"/>
                  </a:cxn>
                  <a:cxn ang="f621">
                    <a:pos x="f726" y="f727"/>
                  </a:cxn>
                  <a:cxn ang="f621">
                    <a:pos x="f704" y="f728"/>
                  </a:cxn>
                  <a:cxn ang="f621">
                    <a:pos x="f729" y="f730"/>
                  </a:cxn>
                  <a:cxn ang="f621">
                    <a:pos x="f731" y="f732"/>
                  </a:cxn>
                  <a:cxn ang="f621">
                    <a:pos x="f733" y="f734"/>
                  </a:cxn>
                  <a:cxn ang="f621">
                    <a:pos x="f735" y="f736"/>
                  </a:cxn>
                  <a:cxn ang="f621">
                    <a:pos x="f737" y="f738"/>
                  </a:cxn>
                  <a:cxn ang="f621">
                    <a:pos x="f739" y="f740"/>
                  </a:cxn>
                </a:cxnLst>
                <a:rect l="f622" t="f625" r="f623" b="f624"/>
                <a:pathLst>
                  <a:path w="670" h="869">
                    <a:moveTo>
                      <a:pt x="f8" y="f5"/>
                    </a:moveTo>
                    <a:lnTo>
                      <a:pt x="f9" y="f5"/>
                    </a:ln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4"/>
                    </a:lnTo>
                    <a:lnTo>
                      <a:pt x="f26" y="f27"/>
                    </a:lnTo>
                    <a:lnTo>
                      <a:pt x="f26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5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7"/>
                    </a:lnTo>
                    <a:lnTo>
                      <a:pt x="f49" y="f50"/>
                    </a:lnTo>
                    <a:lnTo>
                      <a:pt x="f51" y="f50"/>
                    </a:lnTo>
                    <a:lnTo>
                      <a:pt x="f52" y="f53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7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3" y="f67"/>
                    </a:lnTo>
                    <a:lnTo>
                      <a:pt x="f68" y="f69"/>
                    </a:lnTo>
                    <a:lnTo>
                      <a:pt x="f70" y="f71"/>
                    </a:lnTo>
                    <a:lnTo>
                      <a:pt x="f59" y="f72"/>
                    </a:lnTo>
                    <a:lnTo>
                      <a:pt x="f73" y="f74"/>
                    </a:lnTo>
                    <a:lnTo>
                      <a:pt x="f59" y="f75"/>
                    </a:lnTo>
                    <a:lnTo>
                      <a:pt x="f61" y="f76"/>
                    </a:lnTo>
                    <a:lnTo>
                      <a:pt x="f77" y="f78"/>
                    </a:lnTo>
                    <a:lnTo>
                      <a:pt x="f65" y="f79"/>
                    </a:lnTo>
                    <a:lnTo>
                      <a:pt x="f63" y="f80"/>
                    </a:lnTo>
                    <a:lnTo>
                      <a:pt x="f61" y="f81"/>
                    </a:lnTo>
                    <a:lnTo>
                      <a:pt x="f82" y="f83"/>
                    </a:lnTo>
                    <a:lnTo>
                      <a:pt x="f84" y="f8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88" y="f102"/>
                    </a:lnTo>
                    <a:lnTo>
                      <a:pt x="f58" y="f103"/>
                    </a:lnTo>
                    <a:lnTo>
                      <a:pt x="f59" y="f104"/>
                    </a:lnTo>
                    <a:lnTo>
                      <a:pt x="f61" y="f101"/>
                    </a:lnTo>
                    <a:lnTo>
                      <a:pt x="f63" y="f105"/>
                    </a:lnTo>
                    <a:lnTo>
                      <a:pt x="f106" y="f99"/>
                    </a:lnTo>
                    <a:lnTo>
                      <a:pt x="f107" y="f108"/>
                    </a:lnTo>
                    <a:lnTo>
                      <a:pt x="f109" y="f110"/>
                    </a:lnTo>
                    <a:lnTo>
                      <a:pt x="f111" y="f103"/>
                    </a:lnTo>
                    <a:lnTo>
                      <a:pt x="f112" y="f113"/>
                    </a:lnTo>
                    <a:lnTo>
                      <a:pt x="f112" y="f114"/>
                    </a:lnTo>
                    <a:lnTo>
                      <a:pt x="f111" y="f115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07" y="f120"/>
                    </a:lnTo>
                    <a:lnTo>
                      <a:pt x="f121" y="f9"/>
                    </a:lnTo>
                    <a:lnTo>
                      <a:pt x="f121" y="f122"/>
                    </a:lnTo>
                    <a:lnTo>
                      <a:pt x="f123" y="f21"/>
                    </a:lnTo>
                    <a:lnTo>
                      <a:pt x="f121" y="f25"/>
                    </a:lnTo>
                    <a:lnTo>
                      <a:pt x="f63" y="f124"/>
                    </a:lnTo>
                    <a:lnTo>
                      <a:pt x="f65" y="f125"/>
                    </a:lnTo>
                    <a:lnTo>
                      <a:pt x="f106" y="f126"/>
                    </a:lnTo>
                    <a:lnTo>
                      <a:pt x="f127" y="f128"/>
                    </a:lnTo>
                    <a:lnTo>
                      <a:pt x="f118" y="f129"/>
                    </a:lnTo>
                    <a:lnTo>
                      <a:pt x="f130" y="f40"/>
                    </a:lnTo>
                    <a:lnTo>
                      <a:pt x="f121" y="f131"/>
                    </a:lnTo>
                    <a:lnTo>
                      <a:pt x="f132" y="f133"/>
                    </a:lnTo>
                    <a:lnTo>
                      <a:pt x="f132" y="f134"/>
                    </a:lnTo>
                    <a:lnTo>
                      <a:pt x="f107" y="f49"/>
                    </a:lnTo>
                    <a:lnTo>
                      <a:pt x="f135" y="f136"/>
                    </a:lnTo>
                    <a:lnTo>
                      <a:pt x="f137" y="f94"/>
                    </a:lnTo>
                    <a:lnTo>
                      <a:pt x="f138" y="f86"/>
                    </a:lnTo>
                    <a:lnTo>
                      <a:pt x="f139" y="f140"/>
                    </a:lnTo>
                    <a:lnTo>
                      <a:pt x="f141" y="f63"/>
                    </a:lnTo>
                    <a:lnTo>
                      <a:pt x="f142" y="f143"/>
                    </a:lnTo>
                    <a:lnTo>
                      <a:pt x="f144" y="f106"/>
                    </a:lnTo>
                    <a:lnTo>
                      <a:pt x="f145" y="f106"/>
                    </a:lnTo>
                    <a:lnTo>
                      <a:pt x="f146" y="f143"/>
                    </a:lnTo>
                    <a:lnTo>
                      <a:pt x="f147" y="f121"/>
                    </a:lnTo>
                    <a:lnTo>
                      <a:pt x="f148" y="f118"/>
                    </a:lnTo>
                    <a:lnTo>
                      <a:pt x="f149" y="f150"/>
                    </a:lnTo>
                    <a:lnTo>
                      <a:pt x="f151" y="f152"/>
                    </a:lnTo>
                    <a:lnTo>
                      <a:pt x="f153" y="f154"/>
                    </a:lnTo>
                    <a:lnTo>
                      <a:pt x="f155" y="f152"/>
                    </a:lnTo>
                    <a:lnTo>
                      <a:pt x="f156" y="f112"/>
                    </a:lnTo>
                    <a:lnTo>
                      <a:pt x="f157" y="f111"/>
                    </a:lnTo>
                    <a:lnTo>
                      <a:pt x="f158" y="f135"/>
                    </a:lnTo>
                    <a:lnTo>
                      <a:pt x="f159" y="f150"/>
                    </a:lnTo>
                    <a:lnTo>
                      <a:pt x="f160" y="f112"/>
                    </a:lnTo>
                    <a:lnTo>
                      <a:pt x="f161" y="f154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6" y="f139"/>
                    </a:lnTo>
                    <a:lnTo>
                      <a:pt x="f167" y="f168"/>
                    </a:lnTo>
                    <a:lnTo>
                      <a:pt x="f169" y="f141"/>
                    </a:lnTo>
                    <a:lnTo>
                      <a:pt x="f170" y="f141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lnTo>
                      <a:pt x="f177" y="f178"/>
                    </a:lnTo>
                    <a:lnTo>
                      <a:pt x="f179" y="f178"/>
                    </a:lnTo>
                    <a:lnTo>
                      <a:pt x="f180" y="f181"/>
                    </a:lnTo>
                    <a:lnTo>
                      <a:pt x="f182" y="f183"/>
                    </a:lnTo>
                    <a:lnTo>
                      <a:pt x="f184" y="f145"/>
                    </a:lnTo>
                    <a:lnTo>
                      <a:pt x="f185" y="f146"/>
                    </a:lnTo>
                    <a:lnTo>
                      <a:pt x="f186" y="f187"/>
                    </a:lnTo>
                    <a:lnTo>
                      <a:pt x="f188" y="f189"/>
                    </a:lnTo>
                    <a:lnTo>
                      <a:pt x="f190" y="f191"/>
                    </a:lnTo>
                    <a:lnTo>
                      <a:pt x="f192" y="f193"/>
                    </a:lnTo>
                    <a:lnTo>
                      <a:pt x="f194" y="f195"/>
                    </a:lnTo>
                    <a:lnTo>
                      <a:pt x="f194" y="f196"/>
                    </a:lnTo>
                    <a:lnTo>
                      <a:pt x="f197" y="f198"/>
                    </a:lnTo>
                    <a:lnTo>
                      <a:pt x="f194" y="f158"/>
                    </a:lnTo>
                    <a:lnTo>
                      <a:pt x="f199" y="f200"/>
                    </a:lnTo>
                    <a:lnTo>
                      <a:pt x="f6" y="f201"/>
                    </a:lnTo>
                    <a:lnTo>
                      <a:pt x="f199" y="f202"/>
                    </a:lnTo>
                    <a:lnTo>
                      <a:pt x="f203" y="f204"/>
                    </a:lnTo>
                    <a:lnTo>
                      <a:pt x="f205" y="f206"/>
                    </a:lnTo>
                    <a:lnTo>
                      <a:pt x="f207" y="f208"/>
                    </a:lnTo>
                    <a:lnTo>
                      <a:pt x="f209" y="f210"/>
                    </a:lnTo>
                    <a:lnTo>
                      <a:pt x="f186" y="f211"/>
                    </a:lnTo>
                    <a:lnTo>
                      <a:pt x="f212" y="f213"/>
                    </a:lnTo>
                    <a:lnTo>
                      <a:pt x="f214" y="f215"/>
                    </a:lnTo>
                    <a:lnTo>
                      <a:pt x="f185" y="f216"/>
                    </a:lnTo>
                    <a:lnTo>
                      <a:pt x="f182" y="f217"/>
                    </a:lnTo>
                    <a:lnTo>
                      <a:pt x="f218" y="f213"/>
                    </a:lnTo>
                    <a:lnTo>
                      <a:pt x="f219" y="f220"/>
                    </a:lnTo>
                    <a:lnTo>
                      <a:pt x="f221" y="f220"/>
                    </a:lnTo>
                    <a:lnTo>
                      <a:pt x="f222" y="f211"/>
                    </a:lnTo>
                    <a:lnTo>
                      <a:pt x="f223" y="f162"/>
                    </a:lnTo>
                    <a:lnTo>
                      <a:pt x="f170" y="f208"/>
                    </a:lnTo>
                    <a:lnTo>
                      <a:pt x="f224" y="f225"/>
                    </a:lnTo>
                    <a:lnTo>
                      <a:pt x="f226" y="f227"/>
                    </a:lnTo>
                    <a:lnTo>
                      <a:pt x="f228" y="f229"/>
                    </a:lnTo>
                    <a:lnTo>
                      <a:pt x="f166" y="f230"/>
                    </a:lnTo>
                    <a:lnTo>
                      <a:pt x="f216" y="f162"/>
                    </a:lnTo>
                    <a:lnTo>
                      <a:pt x="f220" y="f220"/>
                    </a:lnTo>
                    <a:lnTo>
                      <a:pt x="f231" y="f213"/>
                    </a:lnTo>
                    <a:lnTo>
                      <a:pt x="f230" y="f232"/>
                    </a:lnTo>
                    <a:lnTo>
                      <a:pt x="f227" y="f211"/>
                    </a:lnTo>
                    <a:lnTo>
                      <a:pt x="f233" y="f211"/>
                    </a:lnTo>
                    <a:lnTo>
                      <a:pt x="f234" y="f213"/>
                    </a:lnTo>
                    <a:lnTo>
                      <a:pt x="f235" y="f164"/>
                    </a:lnTo>
                    <a:lnTo>
                      <a:pt x="f236" y="f237"/>
                    </a:lnTo>
                    <a:lnTo>
                      <a:pt x="f238" y="f239"/>
                    </a:lnTo>
                    <a:lnTo>
                      <a:pt x="f156" y="f240"/>
                    </a:lnTo>
                    <a:lnTo>
                      <a:pt x="f241" y="f228"/>
                    </a:lnTo>
                    <a:lnTo>
                      <a:pt x="f242" y="f228"/>
                    </a:lnTo>
                    <a:lnTo>
                      <a:pt x="f243" y="f244"/>
                    </a:lnTo>
                    <a:lnTo>
                      <a:pt x="f146" y="f226"/>
                    </a:lnTo>
                    <a:lnTo>
                      <a:pt x="f181" y="f245"/>
                    </a:lnTo>
                    <a:lnTo>
                      <a:pt x="f246" y="f247"/>
                    </a:lnTo>
                    <a:lnTo>
                      <a:pt x="f139" y="f248"/>
                    </a:lnTo>
                    <a:lnTo>
                      <a:pt x="f138" y="f223"/>
                    </a:lnTo>
                    <a:lnTo>
                      <a:pt x="f137" y="f249"/>
                    </a:lnTo>
                    <a:lnTo>
                      <a:pt x="f112" y="f250"/>
                    </a:lnTo>
                    <a:lnTo>
                      <a:pt x="f251" y="f252"/>
                    </a:lnTo>
                    <a:lnTo>
                      <a:pt x="f130" y="f253"/>
                    </a:lnTo>
                    <a:lnTo>
                      <a:pt x="f123" y="f254"/>
                    </a:lnTo>
                    <a:lnTo>
                      <a:pt x="f121" y="f255"/>
                    </a:lnTo>
                    <a:lnTo>
                      <a:pt x="f143" y="f186"/>
                    </a:lnTo>
                    <a:lnTo>
                      <a:pt x="f77" y="f188"/>
                    </a:lnTo>
                    <a:lnTo>
                      <a:pt x="f61" y="f190"/>
                    </a:lnTo>
                    <a:lnTo>
                      <a:pt x="f256" y="f257"/>
                    </a:lnTo>
                    <a:lnTo>
                      <a:pt x="f63" y="f258"/>
                    </a:lnTo>
                    <a:lnTo>
                      <a:pt x="f106" y="f259"/>
                    </a:lnTo>
                    <a:lnTo>
                      <a:pt x="f123" y="f260"/>
                    </a:lnTo>
                    <a:lnTo>
                      <a:pt x="f123" y="f261"/>
                    </a:lnTo>
                    <a:lnTo>
                      <a:pt x="f132" y="f262"/>
                    </a:lnTo>
                    <a:lnTo>
                      <a:pt x="f256" y="f263"/>
                    </a:lnTo>
                    <a:lnTo>
                      <a:pt x="f264" y="f265"/>
                    </a:lnTo>
                    <a:lnTo>
                      <a:pt x="f82" y="f266"/>
                    </a:lnTo>
                    <a:lnTo>
                      <a:pt x="f82" y="f267"/>
                    </a:lnTo>
                    <a:lnTo>
                      <a:pt x="f59" y="f268"/>
                    </a:lnTo>
                    <a:lnTo>
                      <a:pt x="f70" y="f269"/>
                    </a:lnTo>
                    <a:lnTo>
                      <a:pt x="f256" y="f270"/>
                    </a:lnTo>
                    <a:lnTo>
                      <a:pt x="f68" y="f271"/>
                    </a:lnTo>
                    <a:lnTo>
                      <a:pt x="f77" y="f272"/>
                    </a:lnTo>
                    <a:lnTo>
                      <a:pt x="f65" y="f273"/>
                    </a:lnTo>
                    <a:lnTo>
                      <a:pt x="f121" y="f274"/>
                    </a:lnTo>
                    <a:lnTo>
                      <a:pt x="f118" y="f275"/>
                    </a:lnTo>
                    <a:lnTo>
                      <a:pt x="f111" y="f276"/>
                    </a:lnTo>
                    <a:lnTo>
                      <a:pt x="f154" y="f277"/>
                    </a:lnTo>
                    <a:lnTo>
                      <a:pt x="f278" y="f279"/>
                    </a:lnTo>
                    <a:lnTo>
                      <a:pt x="f163" y="f280"/>
                    </a:lnTo>
                    <a:lnTo>
                      <a:pt x="f281" y="f282"/>
                    </a:lnTo>
                    <a:lnTo>
                      <a:pt x="f137" y="f283"/>
                    </a:lnTo>
                    <a:lnTo>
                      <a:pt x="f154" y="f284"/>
                    </a:lnTo>
                    <a:lnTo>
                      <a:pt x="f285" y="f286"/>
                    </a:lnTo>
                    <a:lnTo>
                      <a:pt x="f152" y="f287"/>
                    </a:lnTo>
                    <a:lnTo>
                      <a:pt x="f288" y="f289"/>
                    </a:lnTo>
                    <a:lnTo>
                      <a:pt x="f290" y="f291"/>
                    </a:lnTo>
                    <a:lnTo>
                      <a:pt x="f163" y="f292"/>
                    </a:lnTo>
                    <a:lnTo>
                      <a:pt x="f163" y="f293"/>
                    </a:lnTo>
                    <a:lnTo>
                      <a:pt x="f137" y="f294"/>
                    </a:lnTo>
                    <a:lnTo>
                      <a:pt x="f111" y="f295"/>
                    </a:lnTo>
                    <a:lnTo>
                      <a:pt x="f135" y="f296"/>
                    </a:lnTo>
                    <a:lnTo>
                      <a:pt x="f116" y="f7"/>
                    </a:lnTo>
                    <a:lnTo>
                      <a:pt x="f251" y="f7"/>
                    </a:lnTo>
                    <a:lnTo>
                      <a:pt x="f297" y="f298"/>
                    </a:lnTo>
                    <a:lnTo>
                      <a:pt x="f121" y="f295"/>
                    </a:lnTo>
                    <a:lnTo>
                      <a:pt x="f132" y="f299"/>
                    </a:lnTo>
                    <a:lnTo>
                      <a:pt x="f70" y="f300"/>
                    </a:lnTo>
                    <a:lnTo>
                      <a:pt x="f301" y="f300"/>
                    </a:lnTo>
                    <a:lnTo>
                      <a:pt x="f302" y="f303"/>
                    </a:lnTo>
                    <a:lnTo>
                      <a:pt x="f304" y="f303"/>
                    </a:lnTo>
                    <a:lnTo>
                      <a:pt x="f54" y="f299"/>
                    </a:lnTo>
                    <a:lnTo>
                      <a:pt x="f51" y="f305"/>
                    </a:lnTo>
                    <a:lnTo>
                      <a:pt x="f306" y="f303"/>
                    </a:lnTo>
                    <a:lnTo>
                      <a:pt x="f307" y="f308"/>
                    </a:lnTo>
                    <a:lnTo>
                      <a:pt x="f309" y="f310"/>
                    </a:lnTo>
                    <a:lnTo>
                      <a:pt x="f311" y="f291"/>
                    </a:lnTo>
                    <a:lnTo>
                      <a:pt x="f312" y="f313"/>
                    </a:lnTo>
                    <a:lnTo>
                      <a:pt x="f314" y="f315"/>
                    </a:lnTo>
                    <a:lnTo>
                      <a:pt x="f316" y="f315"/>
                    </a:lnTo>
                    <a:lnTo>
                      <a:pt x="f317" y="f313"/>
                    </a:lnTo>
                    <a:lnTo>
                      <a:pt x="f318" y="f319"/>
                    </a:lnTo>
                    <a:lnTo>
                      <a:pt x="f320" y="f321"/>
                    </a:lnTo>
                    <a:lnTo>
                      <a:pt x="f31" y="f289"/>
                    </a:lnTo>
                    <a:lnTo>
                      <a:pt x="f322" y="f323"/>
                    </a:lnTo>
                    <a:lnTo>
                      <a:pt x="f324" y="f325"/>
                    </a:lnTo>
                    <a:lnTo>
                      <a:pt x="f326" y="f327"/>
                    </a:lnTo>
                    <a:lnTo>
                      <a:pt x="f328" y="f329"/>
                    </a:lnTo>
                    <a:lnTo>
                      <a:pt x="f330" y="f276"/>
                    </a:lnTo>
                    <a:lnTo>
                      <a:pt x="f331" y="f276"/>
                    </a:lnTo>
                    <a:lnTo>
                      <a:pt x="f332" y="f277"/>
                    </a:lnTo>
                    <a:lnTo>
                      <a:pt x="f333" y="f334"/>
                    </a:lnTo>
                    <a:lnTo>
                      <a:pt x="f8" y="f334"/>
                    </a:lnTo>
                    <a:lnTo>
                      <a:pt x="f335" y="f329"/>
                    </a:lnTo>
                    <a:lnTo>
                      <a:pt x="f336" y="f334"/>
                    </a:lnTo>
                    <a:lnTo>
                      <a:pt x="f337" y="f329"/>
                    </a:lnTo>
                    <a:lnTo>
                      <a:pt x="f338" y="f277"/>
                    </a:lnTo>
                    <a:lnTo>
                      <a:pt x="f339" y="f340"/>
                    </a:lnTo>
                    <a:lnTo>
                      <a:pt x="f341" y="f342"/>
                    </a:lnTo>
                    <a:lnTo>
                      <a:pt x="f341" y="f343"/>
                    </a:lnTo>
                    <a:lnTo>
                      <a:pt x="f344" y="f272"/>
                    </a:lnTo>
                    <a:lnTo>
                      <a:pt x="f103" y="f345"/>
                    </a:lnTo>
                    <a:lnTo>
                      <a:pt x="f99" y="f346"/>
                    </a:lnTo>
                    <a:lnTo>
                      <a:pt x="f347" y="f348"/>
                    </a:lnTo>
                    <a:lnTo>
                      <a:pt x="f347" y="f349"/>
                    </a:lnTo>
                    <a:lnTo>
                      <a:pt x="f105" y="f350"/>
                    </a:lnTo>
                    <a:lnTo>
                      <a:pt x="f351" y="f352"/>
                    </a:lnTo>
                    <a:lnTo>
                      <a:pt x="f353" y="f354"/>
                    </a:lnTo>
                    <a:lnTo>
                      <a:pt x="f355" y="f356"/>
                    </a:lnTo>
                    <a:lnTo>
                      <a:pt x="f344" y="f357"/>
                    </a:lnTo>
                    <a:lnTo>
                      <a:pt x="f103" y="f358"/>
                    </a:lnTo>
                    <a:lnTo>
                      <a:pt x="f104" y="f359"/>
                    </a:lnTo>
                    <a:lnTo>
                      <a:pt x="f110" y="f360"/>
                    </a:lnTo>
                    <a:lnTo>
                      <a:pt x="f351" y="f262"/>
                    </a:lnTo>
                    <a:lnTo>
                      <a:pt x="f108" y="f361"/>
                    </a:lnTo>
                    <a:lnTo>
                      <a:pt x="f362" y="f363"/>
                    </a:lnTo>
                    <a:lnTo>
                      <a:pt x="f364" y="f260"/>
                    </a:lnTo>
                    <a:lnTo>
                      <a:pt x="f89" y="f365"/>
                    </a:lnTo>
                    <a:lnTo>
                      <a:pt x="f366" y="f367"/>
                    </a:lnTo>
                    <a:lnTo>
                      <a:pt x="f368" y="f369"/>
                    </a:lnTo>
                    <a:lnTo>
                      <a:pt x="f79" y="f369"/>
                    </a:lnTo>
                    <a:lnTo>
                      <a:pt x="f370" y="f259"/>
                    </a:lnTo>
                    <a:lnTo>
                      <a:pt x="f75" y="f371"/>
                    </a:lnTo>
                    <a:lnTo>
                      <a:pt x="f74" y="f372"/>
                    </a:lnTo>
                    <a:lnTo>
                      <a:pt x="f373" y="f374"/>
                    </a:lnTo>
                    <a:lnTo>
                      <a:pt x="f375" y="f6"/>
                    </a:lnTo>
                    <a:lnTo>
                      <a:pt x="f376" y="f203"/>
                    </a:lnTo>
                    <a:lnTo>
                      <a:pt x="f376" y="f377"/>
                    </a:lnTo>
                    <a:lnTo>
                      <a:pt x="f378" y="f209"/>
                    </a:lnTo>
                    <a:lnTo>
                      <a:pt x="f379" y="f185"/>
                    </a:lnTo>
                    <a:lnTo>
                      <a:pt x="f380" y="f179"/>
                    </a:lnTo>
                    <a:lnTo>
                      <a:pt x="f381" y="f175"/>
                    </a:lnTo>
                    <a:lnTo>
                      <a:pt x="f382" y="f173"/>
                    </a:lnTo>
                    <a:lnTo>
                      <a:pt x="f382" y="f171"/>
                    </a:lnTo>
                    <a:lnTo>
                      <a:pt x="f381" y="f223"/>
                    </a:lnTo>
                    <a:lnTo>
                      <a:pt x="f66" y="f383"/>
                    </a:lnTo>
                    <a:lnTo>
                      <a:pt x="f384" y="f248"/>
                    </a:lnTo>
                    <a:lnTo>
                      <a:pt x="f380" y="f248"/>
                    </a:lnTo>
                    <a:lnTo>
                      <a:pt x="f385" y="f170"/>
                    </a:lnTo>
                    <a:lnTo>
                      <a:pt x="f67" y="f170"/>
                    </a:lnTo>
                    <a:lnTo>
                      <a:pt x="f386" y="f387"/>
                    </a:lnTo>
                    <a:lnTo>
                      <a:pt x="f67" y="f247"/>
                    </a:lnTo>
                    <a:lnTo>
                      <a:pt x="f66" y="f388"/>
                    </a:lnTo>
                    <a:lnTo>
                      <a:pt x="f64" y="f169"/>
                    </a:lnTo>
                    <a:lnTo>
                      <a:pt x="f389" y="f167"/>
                    </a:lnTo>
                    <a:lnTo>
                      <a:pt x="f57" y="f390"/>
                    </a:lnTo>
                    <a:lnTo>
                      <a:pt x="f391" y="f166"/>
                    </a:lnTo>
                    <a:lnTo>
                      <a:pt x="f47" y="f166"/>
                    </a:lnTo>
                    <a:lnTo>
                      <a:pt x="f41" y="f239"/>
                    </a:lnTo>
                    <a:lnTo>
                      <a:pt x="f392" y="f166"/>
                    </a:lnTo>
                    <a:lnTo>
                      <a:pt x="f393" y="f166"/>
                    </a:lnTo>
                    <a:lnTo>
                      <a:pt x="f22" y="f211"/>
                    </a:lnTo>
                    <a:lnTo>
                      <a:pt x="f20" y="f229"/>
                    </a:lnTo>
                    <a:lnTo>
                      <a:pt x="f18" y="f394"/>
                    </a:lnTo>
                    <a:lnTo>
                      <a:pt x="f395" y="f201"/>
                    </a:lnTo>
                    <a:lnTo>
                      <a:pt x="f396" y="f397"/>
                    </a:lnTo>
                    <a:lnTo>
                      <a:pt x="f398" y="f399"/>
                    </a:lnTo>
                    <a:lnTo>
                      <a:pt x="f400" y="f195"/>
                    </a:lnTo>
                    <a:lnTo>
                      <a:pt x="f5" y="f242"/>
                    </a:lnTo>
                    <a:lnTo>
                      <a:pt x="f10" y="f401"/>
                    </a:lnTo>
                    <a:lnTo>
                      <a:pt x="f395" y="f402"/>
                    </a:lnTo>
                    <a:lnTo>
                      <a:pt x="f403" y="f404"/>
                    </a:lnTo>
                    <a:lnTo>
                      <a:pt x="f16" y="f183"/>
                    </a:lnTo>
                    <a:lnTo>
                      <a:pt x="f405" y="f174"/>
                    </a:lnTo>
                    <a:lnTo>
                      <a:pt x="f14" y="f406"/>
                    </a:lnTo>
                    <a:lnTo>
                      <a:pt x="f407" y="f408"/>
                    </a:lnTo>
                    <a:lnTo>
                      <a:pt x="f409" y="f152"/>
                    </a:lnTo>
                    <a:lnTo>
                      <a:pt x="f398" y="f410"/>
                    </a:lnTo>
                    <a:lnTo>
                      <a:pt x="f411" y="f116"/>
                    </a:lnTo>
                    <a:lnTo>
                      <a:pt x="f412" y="f109"/>
                    </a:lnTo>
                    <a:lnTo>
                      <a:pt x="f18" y="f123"/>
                    </a:lnTo>
                    <a:lnTo>
                      <a:pt x="f22" y="f143"/>
                    </a:lnTo>
                    <a:lnTo>
                      <a:pt x="f413" y="f65"/>
                    </a:lnTo>
                    <a:lnTo>
                      <a:pt x="f414" y="f77"/>
                    </a:lnTo>
                    <a:lnTo>
                      <a:pt x="f39" y="f68"/>
                    </a:lnTo>
                    <a:lnTo>
                      <a:pt x="f415" y="f256"/>
                    </a:lnTo>
                    <a:lnTo>
                      <a:pt x="f416" y="f61"/>
                    </a:lnTo>
                    <a:lnTo>
                      <a:pt x="f382" y="f70"/>
                    </a:lnTo>
                    <a:lnTo>
                      <a:pt x="f386" y="f140"/>
                    </a:lnTo>
                    <a:lnTo>
                      <a:pt x="f417" y="f73"/>
                    </a:lnTo>
                    <a:lnTo>
                      <a:pt x="f69" y="f58"/>
                    </a:lnTo>
                    <a:lnTo>
                      <a:pt x="f67" y="f88"/>
                    </a:lnTo>
                    <a:lnTo>
                      <a:pt x="f380" y="f418"/>
                    </a:lnTo>
                    <a:lnTo>
                      <a:pt x="f380" y="f100"/>
                    </a:lnTo>
                    <a:lnTo>
                      <a:pt x="f69" y="f92"/>
                    </a:lnTo>
                    <a:lnTo>
                      <a:pt x="f419" y="f420"/>
                    </a:lnTo>
                    <a:lnTo>
                      <a:pt x="f421" y="f422"/>
                    </a:lnTo>
                    <a:lnTo>
                      <a:pt x="f423" y="f424"/>
                    </a:lnTo>
                    <a:lnTo>
                      <a:pt x="f423" y="f425"/>
                    </a:lnTo>
                    <a:lnTo>
                      <a:pt x="f421" y="f426"/>
                    </a:lnTo>
                    <a:lnTo>
                      <a:pt x="f427" y="f428"/>
                    </a:lnTo>
                    <a:lnTo>
                      <a:pt x="f429" y="f131"/>
                    </a:lnTo>
                    <a:lnTo>
                      <a:pt x="f430" y="f431"/>
                    </a:lnTo>
                    <a:lnTo>
                      <a:pt x="f432" y="f433"/>
                    </a:lnTo>
                    <a:lnTo>
                      <a:pt x="f74" y="f434"/>
                    </a:lnTo>
                    <a:lnTo>
                      <a:pt x="f435" y="f436"/>
                    </a:lnTo>
                    <a:lnTo>
                      <a:pt x="f435" y="f437"/>
                    </a:lnTo>
                    <a:lnTo>
                      <a:pt x="f438" y="f324"/>
                    </a:lnTo>
                    <a:lnTo>
                      <a:pt x="f439" y="f326"/>
                    </a:lnTo>
                    <a:lnTo>
                      <a:pt x="f376" y="f328"/>
                    </a:lnTo>
                    <a:lnTo>
                      <a:pt x="f71" y="f440"/>
                    </a:lnTo>
                    <a:lnTo>
                      <a:pt x="f376" y="f441"/>
                    </a:lnTo>
                    <a:lnTo>
                      <a:pt x="f438" y="f442"/>
                    </a:lnTo>
                    <a:lnTo>
                      <a:pt x="f435" y="f442"/>
                    </a:lnTo>
                    <a:lnTo>
                      <a:pt x="f427" y="f19"/>
                    </a:lnTo>
                    <a:lnTo>
                      <a:pt x="f432" y="f443"/>
                    </a:lnTo>
                    <a:lnTo>
                      <a:pt x="f429" y="f444"/>
                    </a:lnTo>
                    <a:lnTo>
                      <a:pt x="f429" y="f122"/>
                    </a:lnTo>
                    <a:lnTo>
                      <a:pt x="f421" y="f332"/>
                    </a:lnTo>
                    <a:lnTo>
                      <a:pt x="f419" y="f445"/>
                    </a:lnTo>
                    <a:lnTo>
                      <a:pt x="f375" y="f446"/>
                    </a:lnTo>
                    <a:lnTo>
                      <a:pt x="f417" y="f120"/>
                    </a:lnTo>
                    <a:lnTo>
                      <a:pt x="f385" y="f447"/>
                    </a:lnTo>
                    <a:lnTo>
                      <a:pt x="f448" y="f336"/>
                    </a:lnTo>
                    <a:lnTo>
                      <a:pt x="f380" y="f449"/>
                    </a:lnTo>
                    <a:lnTo>
                      <a:pt x="f69" y="f450"/>
                    </a:lnTo>
                    <a:lnTo>
                      <a:pt x="f378" y="f451"/>
                    </a:lnTo>
                    <a:lnTo>
                      <a:pt x="f376" y="f338"/>
                    </a:lnTo>
                    <a:lnTo>
                      <a:pt x="f376" y="f114"/>
                    </a:lnTo>
                    <a:lnTo>
                      <a:pt x="f376" y="f452"/>
                    </a:lnTo>
                    <a:lnTo>
                      <a:pt x="f453" y="f353"/>
                    </a:lnTo>
                    <a:lnTo>
                      <a:pt x="f385" y="f454"/>
                    </a:lnTo>
                    <a:lnTo>
                      <a:pt x="f384" y="f455"/>
                    </a:lnTo>
                    <a:lnTo>
                      <a:pt x="f67" y="f456"/>
                    </a:lnTo>
                    <a:lnTo>
                      <a:pt x="f386" y="f457"/>
                    </a:lnTo>
                    <a:lnTo>
                      <a:pt x="f380" y="f458"/>
                    </a:lnTo>
                    <a:lnTo>
                      <a:pt x="f381" y="f89"/>
                    </a:lnTo>
                    <a:lnTo>
                      <a:pt x="f64" y="f459"/>
                    </a:lnTo>
                    <a:lnTo>
                      <a:pt x="f460" y="f461"/>
                    </a:lnTo>
                    <a:lnTo>
                      <a:pt x="f62" y="f462"/>
                    </a:lnTo>
                    <a:lnTo>
                      <a:pt x="f463" y="f83"/>
                    </a:lnTo>
                    <a:lnTo>
                      <a:pt x="f57" y="f464"/>
                    </a:lnTo>
                    <a:lnTo>
                      <a:pt x="f465" y="f370"/>
                    </a:lnTo>
                    <a:lnTo>
                      <a:pt x="f41" y="f466"/>
                    </a:lnTo>
                    <a:lnTo>
                      <a:pt x="f467" y="f71"/>
                    </a:lnTo>
                    <a:lnTo>
                      <a:pt x="f37" y="f380"/>
                    </a:lnTo>
                    <a:lnTo>
                      <a:pt x="f468" y="f469"/>
                    </a:lnTo>
                    <a:lnTo>
                      <a:pt x="f41" y="f470"/>
                    </a:lnTo>
                    <a:lnTo>
                      <a:pt x="f471" y="f64"/>
                    </a:lnTo>
                    <a:lnTo>
                      <a:pt x="f62" y="f64"/>
                    </a:lnTo>
                    <a:lnTo>
                      <a:pt x="f472" y="f473"/>
                    </a:lnTo>
                    <a:lnTo>
                      <a:pt x="f381" y="f416"/>
                    </a:lnTo>
                    <a:lnTo>
                      <a:pt x="f385" y="f463"/>
                    </a:lnTo>
                    <a:lnTo>
                      <a:pt x="f69" y="f55"/>
                    </a:lnTo>
                    <a:lnTo>
                      <a:pt x="f453" y="f391"/>
                    </a:lnTo>
                    <a:lnTo>
                      <a:pt x="f376" y="f47"/>
                    </a:lnTo>
                    <a:lnTo>
                      <a:pt x="f72" y="f43"/>
                    </a:lnTo>
                    <a:lnTo>
                      <a:pt x="f427" y="f474"/>
                    </a:lnTo>
                    <a:lnTo>
                      <a:pt x="f475" y="f474"/>
                    </a:lnTo>
                    <a:lnTo>
                      <a:pt x="f476" y="f43"/>
                    </a:lnTo>
                    <a:lnTo>
                      <a:pt x="f76" y="f45"/>
                    </a:lnTo>
                    <a:lnTo>
                      <a:pt x="f477" y="f50"/>
                    </a:lnTo>
                    <a:lnTo>
                      <a:pt x="f478" y="f47"/>
                    </a:lnTo>
                    <a:lnTo>
                      <a:pt x="f479" y="f47"/>
                    </a:lnTo>
                    <a:lnTo>
                      <a:pt x="f480" y="f471"/>
                    </a:lnTo>
                    <a:lnTo>
                      <a:pt x="f481" y="f465"/>
                    </a:lnTo>
                    <a:lnTo>
                      <a:pt x="f366" y="f60"/>
                    </a:lnTo>
                    <a:lnTo>
                      <a:pt x="f482" y="f483"/>
                    </a:lnTo>
                    <a:lnTo>
                      <a:pt x="f459" y="f484"/>
                    </a:lnTo>
                    <a:lnTo>
                      <a:pt x="f457" y="f415"/>
                    </a:lnTo>
                    <a:lnTo>
                      <a:pt x="f455" y="f485"/>
                    </a:lnTo>
                    <a:lnTo>
                      <a:pt x="f105" y="f474"/>
                    </a:lnTo>
                    <a:lnTo>
                      <a:pt x="f113" y="f37"/>
                    </a:lnTo>
                    <a:lnTo>
                      <a:pt x="f338" y="f486"/>
                    </a:lnTo>
                    <a:lnTo>
                      <a:pt x="f115" y="f487"/>
                    </a:lnTo>
                    <a:lnTo>
                      <a:pt x="f337" y="f488"/>
                    </a:lnTo>
                    <a:lnTo>
                      <a:pt x="f450" y="f489"/>
                    </a:lnTo>
                    <a:lnTo>
                      <a:pt x="f337" y="f490"/>
                    </a:lnTo>
                    <a:lnTo>
                      <a:pt x="f491" y="f395"/>
                    </a:lnTo>
                    <a:lnTo>
                      <a:pt x="f492" y="f412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FAEDEB50-7678-4CCD-9E79-4A4A2D519723}"/>
                  </a:ext>
                </a:extLst>
              </p:cNvPr>
              <p:cNvSpPr/>
              <p:nvPr/>
            </p:nvSpPr>
            <p:spPr>
              <a:xfrm rot="21447621">
                <a:off x="4439212" y="1731132"/>
                <a:ext cx="367671" cy="50060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648"/>
                  <a:gd name="f7" fmla="val 931"/>
                  <a:gd name="f8" fmla="val 458"/>
                  <a:gd name="f9" fmla="val 460"/>
                  <a:gd name="f10" fmla="val 3"/>
                  <a:gd name="f11" fmla="val 5"/>
                  <a:gd name="f12" fmla="val 11"/>
                  <a:gd name="f13" fmla="val 13"/>
                  <a:gd name="f14" fmla="val 463"/>
                  <a:gd name="f15" fmla="val 15"/>
                  <a:gd name="f16" fmla="val 467"/>
                  <a:gd name="f17" fmla="val 473"/>
                  <a:gd name="f18" fmla="val 14"/>
                  <a:gd name="f19" fmla="val 480"/>
                  <a:gd name="f20" fmla="val 487"/>
                  <a:gd name="f21" fmla="val 496"/>
                  <a:gd name="f22" fmla="val 21"/>
                  <a:gd name="f23" fmla="val 502"/>
                  <a:gd name="f24" fmla="val 27"/>
                  <a:gd name="f25" fmla="val 505"/>
                  <a:gd name="f26" fmla="val 33"/>
                  <a:gd name="f27" fmla="val 39"/>
                  <a:gd name="f28" fmla="val 504"/>
                  <a:gd name="f29" fmla="val 41"/>
                  <a:gd name="f30" fmla="val 503"/>
                  <a:gd name="f31" fmla="val 42"/>
                  <a:gd name="f32" fmla="val 501"/>
                  <a:gd name="f33" fmla="val 500"/>
                  <a:gd name="f34" fmla="val 40"/>
                  <a:gd name="f35" fmla="val 498"/>
                  <a:gd name="f36" fmla="val 497"/>
                  <a:gd name="f37" fmla="val 38"/>
                  <a:gd name="f38" fmla="val 495"/>
                  <a:gd name="f39" fmla="val 494"/>
                  <a:gd name="f40" fmla="val 491"/>
                  <a:gd name="f41" fmla="val 44"/>
                  <a:gd name="f42" fmla="val 489"/>
                  <a:gd name="f43" fmla="val 47"/>
                  <a:gd name="f44" fmla="val 53"/>
                  <a:gd name="f45" fmla="val 484"/>
                  <a:gd name="f46" fmla="val 60"/>
                  <a:gd name="f47" fmla="val 68"/>
                  <a:gd name="f48" fmla="val 77"/>
                  <a:gd name="f49" fmla="val 87"/>
                  <a:gd name="f50" fmla="val 95"/>
                  <a:gd name="f51" fmla="val 103"/>
                  <a:gd name="f52" fmla="val 492"/>
                  <a:gd name="f53" fmla="val 107"/>
                  <a:gd name="f54" fmla="val 488"/>
                  <a:gd name="f55" fmla="val 109"/>
                  <a:gd name="f56" fmla="val 481"/>
                  <a:gd name="f57" fmla="val 110"/>
                  <a:gd name="f58" fmla="val 478"/>
                  <a:gd name="f59" fmla="val 112"/>
                  <a:gd name="f60" fmla="val 477"/>
                  <a:gd name="f61" fmla="val 116"/>
                  <a:gd name="f62" fmla="val 120"/>
                  <a:gd name="f63" fmla="val 476"/>
                  <a:gd name="f64" fmla="val 122"/>
                  <a:gd name="f65" fmla="val 474"/>
                  <a:gd name="f66" fmla="val 123"/>
                  <a:gd name="f67" fmla="val 124"/>
                  <a:gd name="f68" fmla="val 464"/>
                  <a:gd name="f69" fmla="val 125"/>
                  <a:gd name="f70" fmla="val 466"/>
                  <a:gd name="f71" fmla="val 127"/>
                  <a:gd name="f72" fmla="val 133"/>
                  <a:gd name="f73" fmla="val 135"/>
                  <a:gd name="f74" fmla="val 138"/>
                  <a:gd name="f75" fmla="val 142"/>
                  <a:gd name="f76" fmla="val 147"/>
                  <a:gd name="f77" fmla="val 512"/>
                  <a:gd name="f78" fmla="val 152"/>
                  <a:gd name="f79" fmla="val 515"/>
                  <a:gd name="f80" fmla="val 154"/>
                  <a:gd name="f81" fmla="val 519"/>
                  <a:gd name="f82" fmla="val 521"/>
                  <a:gd name="f83" fmla="val 153"/>
                  <a:gd name="f84" fmla="val 522"/>
                  <a:gd name="f85" fmla="val 151"/>
                  <a:gd name="f86" fmla="val 524"/>
                  <a:gd name="f87" fmla="val 150"/>
                  <a:gd name="f88" fmla="val 526"/>
                  <a:gd name="f89" fmla="val 146"/>
                  <a:gd name="f90" fmla="val 527"/>
                  <a:gd name="f91" fmla="val 145"/>
                  <a:gd name="f92" fmla="val 528"/>
                  <a:gd name="f93" fmla="val 143"/>
                  <a:gd name="f94" fmla="val 529"/>
                  <a:gd name="f95" fmla="val 140"/>
                  <a:gd name="f96" fmla="val 139"/>
                  <a:gd name="f97" fmla="val 523"/>
                  <a:gd name="f98" fmla="val 137"/>
                  <a:gd name="f99" fmla="val 520"/>
                  <a:gd name="f100" fmla="val 136"/>
                  <a:gd name="f101" fmla="val 516"/>
                  <a:gd name="f102" fmla="val 513"/>
                  <a:gd name="f103" fmla="val 119"/>
                  <a:gd name="f104" fmla="val 111"/>
                  <a:gd name="f105" fmla="val 533"/>
                  <a:gd name="f106" fmla="val 108"/>
                  <a:gd name="f107" fmla="val 535"/>
                  <a:gd name="f108" fmla="val 538"/>
                  <a:gd name="f109" fmla="val 540"/>
                  <a:gd name="f110" fmla="val 543"/>
                  <a:gd name="f111" fmla="val 113"/>
                  <a:gd name="f112" fmla="val 545"/>
                  <a:gd name="f113" fmla="val 114"/>
                  <a:gd name="f114" fmla="val 548"/>
                  <a:gd name="f115" fmla="val 115"/>
                  <a:gd name="f116" fmla="val 549"/>
                  <a:gd name="f117" fmla="val 551"/>
                  <a:gd name="f118" fmla="val 552"/>
                  <a:gd name="f119" fmla="val 553"/>
                  <a:gd name="f120" fmla="val 105"/>
                  <a:gd name="f121" fmla="val 556"/>
                  <a:gd name="f122" fmla="val 102"/>
                  <a:gd name="f123" fmla="val 559"/>
                  <a:gd name="f124" fmla="val 101"/>
                  <a:gd name="f125" fmla="val 562"/>
                  <a:gd name="f126" fmla="val 565"/>
                  <a:gd name="f127" fmla="val 568"/>
                  <a:gd name="f128" fmla="val 106"/>
                  <a:gd name="f129" fmla="val 570"/>
                  <a:gd name="f130" fmla="val 572"/>
                  <a:gd name="f131" fmla="val 117"/>
                  <a:gd name="f132" fmla="val 564"/>
                  <a:gd name="f133" fmla="val 128"/>
                  <a:gd name="f134" fmla="val 566"/>
                  <a:gd name="f135" fmla="val 575"/>
                  <a:gd name="f136" fmla="val 148"/>
                  <a:gd name="f137" fmla="val 579"/>
                  <a:gd name="f138" fmla="val 156"/>
                  <a:gd name="f139" fmla="val 580"/>
                  <a:gd name="f140" fmla="val 157"/>
                  <a:gd name="f141" fmla="val 582"/>
                  <a:gd name="f142" fmla="val 583"/>
                  <a:gd name="f143" fmla="val 586"/>
                  <a:gd name="f144" fmla="val 587"/>
                  <a:gd name="f145" fmla="val 589"/>
                  <a:gd name="f146" fmla="val 590"/>
                  <a:gd name="f147" fmla="val 592"/>
                  <a:gd name="f148" fmla="val 595"/>
                  <a:gd name="f149" fmla="val 603"/>
                  <a:gd name="f150" fmla="val 169"/>
                  <a:gd name="f151" fmla="val 606"/>
                  <a:gd name="f152" fmla="val 175"/>
                  <a:gd name="f153" fmla="val 611"/>
                  <a:gd name="f154" fmla="val 179"/>
                  <a:gd name="f155" fmla="val 620"/>
                  <a:gd name="f156" fmla="val 183"/>
                  <a:gd name="f157" fmla="val 630"/>
                  <a:gd name="f158" fmla="val 187"/>
                  <a:gd name="f159" fmla="val 639"/>
                  <a:gd name="f160" fmla="val 190"/>
                  <a:gd name="f161" fmla="val 645"/>
                  <a:gd name="f162" fmla="val 193"/>
                  <a:gd name="f163" fmla="val 198"/>
                  <a:gd name="f164" fmla="val 647"/>
                  <a:gd name="f165" fmla="val 203"/>
                  <a:gd name="f166" fmla="val 644"/>
                  <a:gd name="f167" fmla="val 209"/>
                  <a:gd name="f168" fmla="val 640"/>
                  <a:gd name="f169" fmla="val 216"/>
                  <a:gd name="f170" fmla="val 218"/>
                  <a:gd name="f171" fmla="val 637"/>
                  <a:gd name="f172" fmla="val 219"/>
                  <a:gd name="f173" fmla="val 636"/>
                  <a:gd name="f174" fmla="val 633"/>
                  <a:gd name="f175" fmla="val 629"/>
                  <a:gd name="f176" fmla="val 214"/>
                  <a:gd name="f177" fmla="val 619"/>
                  <a:gd name="f178" fmla="val 622"/>
                  <a:gd name="f179" fmla="val 221"/>
                  <a:gd name="f180" fmla="val 624"/>
                  <a:gd name="f181" fmla="val 229"/>
                  <a:gd name="f182" fmla="val 625"/>
                  <a:gd name="f183" fmla="val 237"/>
                  <a:gd name="f184" fmla="val 244"/>
                  <a:gd name="f185" fmla="val 626"/>
                  <a:gd name="f186" fmla="val 247"/>
                  <a:gd name="f187" fmla="val 257"/>
                  <a:gd name="f188" fmla="val 641"/>
                  <a:gd name="f189" fmla="val 263"/>
                  <a:gd name="f190" fmla="val 642"/>
                  <a:gd name="f191" fmla="val 266"/>
                  <a:gd name="f192" fmla="val 269"/>
                  <a:gd name="f193" fmla="val 270"/>
                  <a:gd name="f194" fmla="val 271"/>
                  <a:gd name="f195" fmla="val 272"/>
                  <a:gd name="f196" fmla="val 628"/>
                  <a:gd name="f197" fmla="val 273"/>
                  <a:gd name="f198" fmla="val 614"/>
                  <a:gd name="f199" fmla="val 605"/>
                  <a:gd name="f200" fmla="val 594"/>
                  <a:gd name="f201" fmla="val 588"/>
                  <a:gd name="f202" fmla="val 274"/>
                  <a:gd name="f203" fmla="val 278"/>
                  <a:gd name="f204" fmla="val 282"/>
                  <a:gd name="f205" fmla="val 596"/>
                  <a:gd name="f206" fmla="val 286"/>
                  <a:gd name="f207" fmla="val 598"/>
                  <a:gd name="f208" fmla="val 291"/>
                  <a:gd name="f209" fmla="val 597"/>
                  <a:gd name="f210" fmla="val 295"/>
                  <a:gd name="f211" fmla="val 296"/>
                  <a:gd name="f212" fmla="val 297"/>
                  <a:gd name="f213" fmla="val 576"/>
                  <a:gd name="f214" fmla="val 299"/>
                  <a:gd name="f215" fmla="val 302"/>
                  <a:gd name="f216" fmla="val 306"/>
                  <a:gd name="f217" fmla="val 585"/>
                  <a:gd name="f218" fmla="val 310"/>
                  <a:gd name="f219" fmla="val 314"/>
                  <a:gd name="f220" fmla="val 318"/>
                  <a:gd name="f221" fmla="val 600"/>
                  <a:gd name="f222" fmla="val 320"/>
                  <a:gd name="f223" fmla="val 599"/>
                  <a:gd name="f224" fmla="val 324"/>
                  <a:gd name="f225" fmla="val 330"/>
                  <a:gd name="f226" fmla="val 593"/>
                  <a:gd name="f227" fmla="val 337"/>
                  <a:gd name="f228" fmla="val 591"/>
                  <a:gd name="f229" fmla="val 342"/>
                  <a:gd name="f230" fmla="val 346"/>
                  <a:gd name="f231" fmla="val 348"/>
                  <a:gd name="f232" fmla="val 578"/>
                  <a:gd name="f233" fmla="val 351"/>
                  <a:gd name="f234" fmla="val 573"/>
                  <a:gd name="f235" fmla="val 356"/>
                  <a:gd name="f236" fmla="val 569"/>
                  <a:gd name="f237" fmla="val 364"/>
                  <a:gd name="f238" fmla="val 383"/>
                  <a:gd name="f239" fmla="val 391"/>
                  <a:gd name="f240" fmla="val 563"/>
                  <a:gd name="f241" fmla="val 399"/>
                  <a:gd name="f242" fmla="val 558"/>
                  <a:gd name="f243" fmla="val 406"/>
                  <a:gd name="f244" fmla="val 554"/>
                  <a:gd name="f245" fmla="val 411"/>
                  <a:gd name="f246" fmla="val 417"/>
                  <a:gd name="f247" fmla="val 422"/>
                  <a:gd name="f248" fmla="val 425"/>
                  <a:gd name="f249" fmla="val 427"/>
                  <a:gd name="f250" fmla="val 428"/>
                  <a:gd name="f251" fmla="val 571"/>
                  <a:gd name="f252" fmla="val 426"/>
                  <a:gd name="f253" fmla="val 574"/>
                  <a:gd name="f254" fmla="val 424"/>
                  <a:gd name="f255" fmla="val 421"/>
                  <a:gd name="f256" fmla="val 418"/>
                  <a:gd name="f257" fmla="val 415"/>
                  <a:gd name="f258" fmla="val 409"/>
                  <a:gd name="f259" fmla="val 408"/>
                  <a:gd name="f260" fmla="val 412"/>
                  <a:gd name="f261" fmla="val 416"/>
                  <a:gd name="f262" fmla="val 602"/>
                  <a:gd name="f263" fmla="val 601"/>
                  <a:gd name="f264" fmla="val 429"/>
                  <a:gd name="f265" fmla="val 434"/>
                  <a:gd name="f266" fmla="val 443"/>
                  <a:gd name="f267" fmla="val 468"/>
                  <a:gd name="f268" fmla="val 567"/>
                  <a:gd name="f269" fmla="val 510"/>
                  <a:gd name="f270" fmla="val 550"/>
                  <a:gd name="f271" fmla="val 518"/>
                  <a:gd name="f272" fmla="val 546"/>
                  <a:gd name="f273" fmla="val 544"/>
                  <a:gd name="f274" fmla="val 537"/>
                  <a:gd name="f275" fmla="val 557"/>
                  <a:gd name="f276" fmla="val 561"/>
                  <a:gd name="f277" fmla="val 508"/>
                  <a:gd name="f278" fmla="val 577"/>
                  <a:gd name="f279" fmla="val 486"/>
                  <a:gd name="f280" fmla="val 479"/>
                  <a:gd name="f281" fmla="val 475"/>
                  <a:gd name="f282" fmla="val 470"/>
                  <a:gd name="f283" fmla="val 456"/>
                  <a:gd name="f284" fmla="val 455"/>
                  <a:gd name="f285" fmla="val 459"/>
                  <a:gd name="f286" fmla="val 612"/>
                  <a:gd name="f287" fmla="val 617"/>
                  <a:gd name="f288" fmla="val 454"/>
                  <a:gd name="f289" fmla="val 634"/>
                  <a:gd name="f290" fmla="val 453"/>
                  <a:gd name="f291" fmla="val 643"/>
                  <a:gd name="f292" fmla="val 447"/>
                  <a:gd name="f293" fmla="val 431"/>
                  <a:gd name="f294" fmla="val 420"/>
                  <a:gd name="f295" fmla="val 638"/>
                  <a:gd name="f296" fmla="val 635"/>
                  <a:gd name="f297" fmla="val 410"/>
                  <a:gd name="f298" fmla="val 403"/>
                  <a:gd name="f299" fmla="val 627"/>
                  <a:gd name="f300" fmla="val 395"/>
                  <a:gd name="f301" fmla="val 376"/>
                  <a:gd name="f302" fmla="val 373"/>
                  <a:gd name="f303" fmla="val 371"/>
                  <a:gd name="f304" fmla="val 369"/>
                  <a:gd name="f305" fmla="val 365"/>
                  <a:gd name="f306" fmla="val 361"/>
                  <a:gd name="f307" fmla="val 358"/>
                  <a:gd name="f308" fmla="val 355"/>
                  <a:gd name="f309" fmla="val 352"/>
                  <a:gd name="f310" fmla="val 347"/>
                  <a:gd name="f311" fmla="val 339"/>
                  <a:gd name="f312" fmla="val 333"/>
                  <a:gd name="f313" fmla="val 327"/>
                  <a:gd name="f314" fmla="val 322"/>
                  <a:gd name="f315" fmla="val 656"/>
                  <a:gd name="f316" fmla="val 658"/>
                  <a:gd name="f317" fmla="val 319"/>
                  <a:gd name="f318" fmla="val 659"/>
                  <a:gd name="f319" fmla="val 661"/>
                  <a:gd name="f320" fmla="val 663"/>
                  <a:gd name="f321" fmla="val 664"/>
                  <a:gd name="f322" fmla="val 668"/>
                  <a:gd name="f323" fmla="val 334"/>
                  <a:gd name="f324" fmla="val 673"/>
                  <a:gd name="f325" fmla="val 335"/>
                  <a:gd name="f326" fmla="val 679"/>
                  <a:gd name="f327" fmla="val 686"/>
                  <a:gd name="f328" fmla="val 331"/>
                  <a:gd name="f329" fmla="val 692"/>
                  <a:gd name="f330" fmla="val 328"/>
                  <a:gd name="f331" fmla="val 697"/>
                  <a:gd name="f332" fmla="val 326"/>
                  <a:gd name="f333" fmla="val 702"/>
                  <a:gd name="f334" fmla="val 711"/>
                  <a:gd name="f335" fmla="val 720"/>
                  <a:gd name="f336" fmla="val 329"/>
                  <a:gd name="f337" fmla="val 730"/>
                  <a:gd name="f338" fmla="val 738"/>
                  <a:gd name="f339" fmla="val 743"/>
                  <a:gd name="f340" fmla="val 750"/>
                  <a:gd name="f341" fmla="val 756"/>
                  <a:gd name="f342" fmla="val 343"/>
                  <a:gd name="f343" fmla="val 763"/>
                  <a:gd name="f344" fmla="val 769"/>
                  <a:gd name="f345" fmla="val 354"/>
                  <a:gd name="f346" fmla="val 783"/>
                  <a:gd name="f347" fmla="val 788"/>
                  <a:gd name="f348" fmla="val 793"/>
                  <a:gd name="f349" fmla="val 353"/>
                  <a:gd name="f350" fmla="val 801"/>
                  <a:gd name="f351" fmla="val 350"/>
                  <a:gd name="f352" fmla="val 809"/>
                  <a:gd name="f353" fmla="val 817"/>
                  <a:gd name="f354" fmla="val 820"/>
                  <a:gd name="f355" fmla="val 345"/>
                  <a:gd name="f356" fmla="val 825"/>
                  <a:gd name="f357" fmla="val 832"/>
                  <a:gd name="f358" fmla="val 835"/>
                  <a:gd name="f359" fmla="val 837"/>
                  <a:gd name="f360" fmla="val 839"/>
                  <a:gd name="f361" fmla="val 344"/>
                  <a:gd name="f362" fmla="val 840"/>
                  <a:gd name="f363" fmla="val 341"/>
                  <a:gd name="f364" fmla="val 841"/>
                  <a:gd name="f365" fmla="val 842"/>
                  <a:gd name="f366" fmla="val 338"/>
                  <a:gd name="f367" fmla="val 843"/>
                  <a:gd name="f368" fmla="val 845"/>
                  <a:gd name="f369" fmla="val 336"/>
                  <a:gd name="f370" fmla="val 848"/>
                  <a:gd name="f371" fmla="val 851"/>
                  <a:gd name="f372" fmla="val 857"/>
                  <a:gd name="f373" fmla="val 860"/>
                  <a:gd name="f374" fmla="val 861"/>
                  <a:gd name="f375" fmla="val 863"/>
                  <a:gd name="f376" fmla="val 865"/>
                  <a:gd name="f377" fmla="val 870"/>
                  <a:gd name="f378" fmla="val 875"/>
                  <a:gd name="f379" fmla="val 880"/>
                  <a:gd name="f380" fmla="val 884"/>
                  <a:gd name="f381" fmla="val 885"/>
                  <a:gd name="f382" fmla="val 340"/>
                  <a:gd name="f383" fmla="val 887"/>
                  <a:gd name="f384" fmla="val 889"/>
                  <a:gd name="f385" fmla="val 323"/>
                  <a:gd name="f386" fmla="val 888"/>
                  <a:gd name="f387" fmla="val 316"/>
                  <a:gd name="f388" fmla="val 309"/>
                  <a:gd name="f389" fmla="val 305"/>
                  <a:gd name="f390" fmla="val 891"/>
                  <a:gd name="f391" fmla="val 303"/>
                  <a:gd name="f392" fmla="val 894"/>
                  <a:gd name="f393" fmla="val 896"/>
                  <a:gd name="f394" fmla="val 301"/>
                  <a:gd name="f395" fmla="val 899"/>
                  <a:gd name="f396" fmla="val 902"/>
                  <a:gd name="f397" fmla="val 906"/>
                  <a:gd name="f398" fmla="val 909"/>
                  <a:gd name="f399" fmla="val 910"/>
                  <a:gd name="f400" fmla="val 298"/>
                  <a:gd name="f401" fmla="val 911"/>
                  <a:gd name="f402" fmla="val 913"/>
                  <a:gd name="f403" fmla="val 293"/>
                  <a:gd name="f404" fmla="val 918"/>
                  <a:gd name="f405" fmla="val 924"/>
                  <a:gd name="f406" fmla="val 288"/>
                  <a:gd name="f407" fmla="val 929"/>
                  <a:gd name="f408" fmla="val 285"/>
                  <a:gd name="f409" fmla="val 281"/>
                  <a:gd name="f410" fmla="val 275"/>
                  <a:gd name="f411" fmla="val 930"/>
                  <a:gd name="f412" fmla="val 927"/>
                  <a:gd name="f413" fmla="val 265"/>
                  <a:gd name="f414" fmla="val 926"/>
                  <a:gd name="f415" fmla="val 921"/>
                  <a:gd name="f416" fmla="val 914"/>
                  <a:gd name="f417" fmla="val 907"/>
                  <a:gd name="f418" fmla="val 901"/>
                  <a:gd name="f419" fmla="val 898"/>
                  <a:gd name="f420" fmla="val 276"/>
                  <a:gd name="f421" fmla="val 897"/>
                  <a:gd name="f422" fmla="val 283"/>
                  <a:gd name="f423" fmla="val 284"/>
                  <a:gd name="f424" fmla="val 892"/>
                  <a:gd name="f425" fmla="val 280"/>
                  <a:gd name="f426" fmla="val 886"/>
                  <a:gd name="f427" fmla="val 261"/>
                  <a:gd name="f428" fmla="val 879"/>
                  <a:gd name="f429" fmla="val 254"/>
                  <a:gd name="f430" fmla="val 878"/>
                  <a:gd name="f431" fmla="val 248"/>
                  <a:gd name="f432" fmla="val 876"/>
                  <a:gd name="f433" fmla="val 242"/>
                  <a:gd name="f434" fmla="val 872"/>
                  <a:gd name="f435" fmla="val 239"/>
                  <a:gd name="f436" fmla="val 866"/>
                  <a:gd name="f437" fmla="val 238"/>
                  <a:gd name="f438" fmla="val 849"/>
                  <a:gd name="f439" fmla="val 235"/>
                  <a:gd name="f440" fmla="val 838"/>
                  <a:gd name="f441" fmla="val 231"/>
                  <a:gd name="f442" fmla="val 224"/>
                  <a:gd name="f443" fmla="val 213"/>
                  <a:gd name="f444" fmla="val 212"/>
                  <a:gd name="f445" fmla="val 846"/>
                  <a:gd name="f446" fmla="val 856"/>
                  <a:gd name="f447" fmla="val 862"/>
                  <a:gd name="f448" fmla="val 867"/>
                  <a:gd name="f449" fmla="val 217"/>
                  <a:gd name="f450" fmla="val 869"/>
                  <a:gd name="f451" fmla="val 208"/>
                  <a:gd name="f452" fmla="val 200"/>
                  <a:gd name="f453" fmla="val 873"/>
                  <a:gd name="f454" fmla="val 196"/>
                  <a:gd name="f455" fmla="val 189"/>
                  <a:gd name="f456" fmla="val 181"/>
                  <a:gd name="f457" fmla="val 855"/>
                  <a:gd name="f458" fmla="val 173"/>
                  <a:gd name="f459" fmla="val 166"/>
                  <a:gd name="f460" fmla="val 161"/>
                  <a:gd name="f461" fmla="val 811"/>
                  <a:gd name="f462" fmla="val 805"/>
                  <a:gd name="f463" fmla="val 800"/>
                  <a:gd name="f464" fmla="val 797"/>
                  <a:gd name="f465" fmla="val 170"/>
                  <a:gd name="f466" fmla="val 172"/>
                  <a:gd name="f467" fmla="val 781"/>
                  <a:gd name="f468" fmla="val 176"/>
                  <a:gd name="f469" fmla="val 779"/>
                  <a:gd name="f470" fmla="val 777"/>
                  <a:gd name="f471" fmla="val 775"/>
                  <a:gd name="f472" fmla="val 164"/>
                  <a:gd name="f473" fmla="val 160"/>
                  <a:gd name="f474" fmla="val 773"/>
                  <a:gd name="f475" fmla="val 158"/>
                  <a:gd name="f476" fmla="val 768"/>
                  <a:gd name="f477" fmla="val 754"/>
                  <a:gd name="f478" fmla="val 742"/>
                  <a:gd name="f479" fmla="val 734"/>
                  <a:gd name="f480" fmla="val 728"/>
                  <a:gd name="f481" fmla="val 144"/>
                  <a:gd name="f482" fmla="val 723"/>
                  <a:gd name="f483" fmla="val 719"/>
                  <a:gd name="f484" fmla="val 706"/>
                  <a:gd name="f485" fmla="val 688"/>
                  <a:gd name="f486" fmla="val 680"/>
                  <a:gd name="f487" fmla="val 130"/>
                  <a:gd name="f488" fmla="val 676"/>
                  <a:gd name="f489" fmla="val 674"/>
                  <a:gd name="f490" fmla="val 670"/>
                  <a:gd name="f491" fmla="val 104"/>
                  <a:gd name="f492" fmla="val 667"/>
                  <a:gd name="f493" fmla="val 78"/>
                  <a:gd name="f494" fmla="val 672"/>
                  <a:gd name="f495" fmla="val 67"/>
                  <a:gd name="f496" fmla="val 675"/>
                  <a:gd name="f497" fmla="val 52"/>
                  <a:gd name="f498" fmla="val 683"/>
                  <a:gd name="f499" fmla="val 29"/>
                  <a:gd name="f500" fmla="val 681"/>
                  <a:gd name="f501" fmla="val 677"/>
                  <a:gd name="f502" fmla="val 18"/>
                  <a:gd name="f503" fmla="val 16"/>
                  <a:gd name="f504" fmla="val 669"/>
                  <a:gd name="f505" fmla="val 10"/>
                  <a:gd name="f506" fmla="val 4"/>
                  <a:gd name="f507" fmla="val 652"/>
                  <a:gd name="f508" fmla="val 7"/>
                  <a:gd name="f509" fmla="val 12"/>
                  <a:gd name="f510" fmla="val 20"/>
                  <a:gd name="f511" fmla="val 23"/>
                  <a:gd name="f512" fmla="val 28"/>
                  <a:gd name="f513" fmla="val 631"/>
                  <a:gd name="f514" fmla="val 632"/>
                  <a:gd name="f515" fmla="val 35"/>
                  <a:gd name="f516" fmla="val 31"/>
                  <a:gd name="f517" fmla="val 609"/>
                  <a:gd name="f518" fmla="val 30"/>
                  <a:gd name="f519" fmla="val 604"/>
                  <a:gd name="f520" fmla="val 34"/>
                  <a:gd name="f521" fmla="val 43"/>
                  <a:gd name="f522" fmla="val 45"/>
                  <a:gd name="f523" fmla="val 49"/>
                  <a:gd name="f524" fmla="val 56"/>
                  <a:gd name="f525" fmla="val 64"/>
                  <a:gd name="f526" fmla="val 69"/>
                  <a:gd name="f527" fmla="val 70"/>
                  <a:gd name="f528" fmla="val 584"/>
                  <a:gd name="f529" fmla="val 72"/>
                  <a:gd name="f530" fmla="val 90"/>
                  <a:gd name="f531" fmla="val 96"/>
                  <a:gd name="f532" fmla="val 92"/>
                  <a:gd name="f533" fmla="val 85"/>
                  <a:gd name="f534" fmla="val 560"/>
                  <a:gd name="f535" fmla="val 71"/>
                  <a:gd name="f536" fmla="val 542"/>
                  <a:gd name="f537" fmla="val 76"/>
                  <a:gd name="f538" fmla="val 532"/>
                  <a:gd name="f539" fmla="val 75"/>
                  <a:gd name="f540" fmla="val 57"/>
                  <a:gd name="f541" fmla="val 514"/>
                  <a:gd name="f542" fmla="val 55"/>
                  <a:gd name="f543" fmla="val 511"/>
                  <a:gd name="f544" fmla="val 507"/>
                  <a:gd name="f545" fmla="val 58"/>
                  <a:gd name="f546" fmla="val 61"/>
                  <a:gd name="f547" fmla="val 65"/>
                  <a:gd name="f548" fmla="val 66"/>
                  <a:gd name="f549" fmla="val 483"/>
                  <a:gd name="f550" fmla="val 461"/>
                  <a:gd name="f551" fmla="val 73"/>
                  <a:gd name="f552" fmla="val 457"/>
                  <a:gd name="f553" fmla="val 81"/>
                  <a:gd name="f554" fmla="val 86"/>
                  <a:gd name="f555" fmla="val 89"/>
                  <a:gd name="f556" fmla="val 91"/>
                  <a:gd name="f557" fmla="val 93"/>
                  <a:gd name="f558" fmla="val 98"/>
                  <a:gd name="f559" fmla="val 440"/>
                  <a:gd name="f560" fmla="val 435"/>
                  <a:gd name="f561" fmla="val 94"/>
                  <a:gd name="f562" fmla="val 401"/>
                  <a:gd name="f563" fmla="val 99"/>
                  <a:gd name="f564" fmla="val 392"/>
                  <a:gd name="f565" fmla="val 385"/>
                  <a:gd name="f566" fmla="val 381"/>
                  <a:gd name="f567" fmla="val 374"/>
                  <a:gd name="f568" fmla="val 368"/>
                  <a:gd name="f569" fmla="val 362"/>
                  <a:gd name="f570" fmla="val 315"/>
                  <a:gd name="f571" fmla="val 165"/>
                  <a:gd name="f572" fmla="val 304"/>
                  <a:gd name="f573" fmla="val 178"/>
                  <a:gd name="f574" fmla="val 300"/>
                  <a:gd name="f575" fmla="val 290"/>
                  <a:gd name="f576" fmla="val 194"/>
                  <a:gd name="f577" fmla="val 199"/>
                  <a:gd name="f578" fmla="val 205"/>
                  <a:gd name="f579" fmla="val 255"/>
                  <a:gd name="f580" fmla="val 207"/>
                  <a:gd name="f581" fmla="val 206"/>
                  <a:gd name="f582" fmla="val 232"/>
                  <a:gd name="f583" fmla="val 211"/>
                  <a:gd name="f584" fmla="val 228"/>
                  <a:gd name="f585" fmla="val 225"/>
                  <a:gd name="f586" fmla="val 233"/>
                  <a:gd name="f587" fmla="val 241"/>
                  <a:gd name="f588" fmla="val 246"/>
                  <a:gd name="f589" fmla="val 230"/>
                  <a:gd name="f590" fmla="val 226"/>
                  <a:gd name="f591" fmla="val 249"/>
                  <a:gd name="f592" fmla="val 220"/>
                  <a:gd name="f593" fmla="val 251"/>
                  <a:gd name="f594" fmla="val 256"/>
                  <a:gd name="f595" fmla="val 262"/>
                  <a:gd name="f596" fmla="val 258"/>
                  <a:gd name="f597" fmla="val 174"/>
                  <a:gd name="f598" fmla="val 252"/>
                  <a:gd name="f599" fmla="val 159"/>
                  <a:gd name="f600" fmla="val 171"/>
                  <a:gd name="f601" fmla="val 223"/>
                  <a:gd name="f602" fmla="val 167"/>
                  <a:gd name="f603" fmla="val 222"/>
                  <a:gd name="f604" fmla="val 243"/>
                  <a:gd name="f605" fmla="val 311"/>
                  <a:gd name="f606" fmla="val 313"/>
                  <a:gd name="f607" fmla="val 97"/>
                  <a:gd name="f608" fmla="val 83"/>
                  <a:gd name="f609" fmla="val 321"/>
                  <a:gd name="f610" fmla="val 63"/>
                  <a:gd name="f611" fmla="val 378"/>
                  <a:gd name="f612" fmla="val 80"/>
                  <a:gd name="f613" fmla="val 388"/>
                  <a:gd name="f614" fmla="val 396"/>
                  <a:gd name="f615" fmla="val 414"/>
                  <a:gd name="f616" fmla="val 54"/>
                  <a:gd name="f617" fmla="val 423"/>
                  <a:gd name="f618" fmla="val 24"/>
                  <a:gd name="f619" fmla="val 17"/>
                  <a:gd name="f620" fmla="val 430"/>
                  <a:gd name="f621" fmla="val 8"/>
                  <a:gd name="f622" fmla="val 6"/>
                  <a:gd name="f623" fmla="+- 0 0 -90"/>
                  <a:gd name="f624" fmla="*/ f3 1 648"/>
                  <a:gd name="f625" fmla="*/ f4 1 931"/>
                  <a:gd name="f626" fmla="+- f7 0 f5"/>
                  <a:gd name="f627" fmla="+- f6 0 f5"/>
                  <a:gd name="f628" fmla="*/ f623 f0 1"/>
                  <a:gd name="f629" fmla="*/ f627 1 648"/>
                  <a:gd name="f630" fmla="*/ f626 1 931"/>
                  <a:gd name="f631" fmla="*/ f628 1 f2"/>
                  <a:gd name="f632" fmla="*/ 480 1 f629"/>
                  <a:gd name="f633" fmla="*/ 13 1 f630"/>
                  <a:gd name="f634" fmla="*/ 500 1 f629"/>
                  <a:gd name="f635" fmla="*/ 40 1 f630"/>
                  <a:gd name="f636" fmla="*/ 487 1 f629"/>
                  <a:gd name="f637" fmla="*/ 77 1 f630"/>
                  <a:gd name="f638" fmla="*/ 477 1 f629"/>
                  <a:gd name="f639" fmla="*/ 120 1 f630"/>
                  <a:gd name="f640" fmla="*/ 496 1 f629"/>
                  <a:gd name="f641" fmla="*/ 142 1 f630"/>
                  <a:gd name="f642" fmla="*/ 528 1 f629"/>
                  <a:gd name="f643" fmla="*/ 143 1 f630"/>
                  <a:gd name="f644" fmla="*/ 521 1 f629"/>
                  <a:gd name="f645" fmla="*/ 116 1 f630"/>
                  <a:gd name="f646" fmla="*/ 551 1 f629"/>
                  <a:gd name="f647" fmla="*/ 113 1 f630"/>
                  <a:gd name="f648" fmla="*/ 570 1 f629"/>
                  <a:gd name="f649" fmla="*/ 108 1 f630"/>
                  <a:gd name="f650" fmla="*/ 582 1 f629"/>
                  <a:gd name="f651" fmla="*/ 157 1 f630"/>
                  <a:gd name="f652" fmla="*/ 611 1 f629"/>
                  <a:gd name="f653" fmla="*/ 179 1 f630"/>
                  <a:gd name="f654" fmla="*/ 637 1 f629"/>
                  <a:gd name="f655" fmla="*/ 219 1 f630"/>
                  <a:gd name="f656" fmla="*/ 624 1 f629"/>
                  <a:gd name="f657" fmla="*/ 244 1 f630"/>
                  <a:gd name="f658" fmla="*/ 630 1 f629"/>
                  <a:gd name="f659" fmla="*/ 272 1 f630"/>
                  <a:gd name="f660" fmla="*/ 596 1 f629"/>
                  <a:gd name="f661" fmla="*/ 286 1 f630"/>
                  <a:gd name="f662" fmla="*/ 592 1 f629"/>
                  <a:gd name="f663" fmla="*/ 314 1 f630"/>
                  <a:gd name="f664" fmla="*/ 573 1 f629"/>
                  <a:gd name="f665" fmla="*/ 356 1 f630"/>
                  <a:gd name="f666" fmla="*/ 565 1 f629"/>
                  <a:gd name="f667" fmla="*/ 427 1 f630"/>
                  <a:gd name="f668" fmla="*/ 590 1 f629"/>
                  <a:gd name="f669" fmla="*/ 408 1 f630"/>
                  <a:gd name="f670" fmla="*/ 480 1 f630"/>
                  <a:gd name="f671" fmla="*/ 526 1 f629"/>
                  <a:gd name="f672" fmla="*/ 516 1 f630"/>
                  <a:gd name="f673" fmla="*/ 498 1 f629"/>
                  <a:gd name="f674" fmla="*/ 573 1 f630"/>
                  <a:gd name="f675" fmla="*/ 460 1 f629"/>
                  <a:gd name="f676" fmla="*/ 588 1 f630"/>
                  <a:gd name="f677" fmla="*/ 456 1 f629"/>
                  <a:gd name="f678" fmla="*/ 634 1 f630"/>
                  <a:gd name="f679" fmla="*/ 416 1 f629"/>
                  <a:gd name="f680" fmla="*/ 635 1 f630"/>
                  <a:gd name="f681" fmla="*/ 361 1 f629"/>
                  <a:gd name="f682" fmla="*/ 639 1 f630"/>
                  <a:gd name="f683" fmla="*/ 319 1 f629"/>
                  <a:gd name="f684" fmla="*/ 659 1 f630"/>
                  <a:gd name="f685" fmla="*/ 328 1 f629"/>
                  <a:gd name="f686" fmla="*/ 697 1 f630"/>
                  <a:gd name="f687" fmla="*/ 346 1 f629"/>
                  <a:gd name="f688" fmla="*/ 769 1 f630"/>
                  <a:gd name="f689" fmla="*/ 348 1 f629"/>
                  <a:gd name="f690" fmla="*/ 835 1 f630"/>
                  <a:gd name="f691" fmla="*/ 336 1 f629"/>
                  <a:gd name="f692" fmla="*/ 848 1 f630"/>
                  <a:gd name="f693" fmla="*/ 351 1 f629"/>
                  <a:gd name="f694" fmla="*/ 880 1 f630"/>
                  <a:gd name="f695" fmla="*/ 320 1 f629"/>
                  <a:gd name="f696" fmla="*/ 888 1 f630"/>
                  <a:gd name="f697" fmla="*/ 301 1 f629"/>
                  <a:gd name="f698" fmla="*/ 910 1 f630"/>
                  <a:gd name="f699" fmla="*/ 270 1 f629"/>
                  <a:gd name="f700" fmla="*/ 929 1 f630"/>
                  <a:gd name="f701" fmla="*/ 283 1 f629"/>
                  <a:gd name="f702" fmla="*/ 897 1 f630"/>
                  <a:gd name="f703" fmla="*/ 242 1 f629"/>
                  <a:gd name="f704" fmla="*/ 872 1 f630"/>
                  <a:gd name="f705" fmla="*/ 212 1 f629"/>
                  <a:gd name="f706" fmla="*/ 846 1 f630"/>
                  <a:gd name="f707" fmla="*/ 181 1 f629"/>
                  <a:gd name="f708" fmla="*/ 855 1 f630"/>
                  <a:gd name="f709" fmla="*/ 166 1 f629"/>
                  <a:gd name="f710" fmla="*/ 797 1 f630"/>
                  <a:gd name="f711" fmla="*/ 156 1 f629"/>
                  <a:gd name="f712" fmla="*/ 754 1 f630"/>
                  <a:gd name="f713" fmla="*/ 136 1 f629"/>
                  <a:gd name="f714" fmla="*/ 680 1 f630"/>
                  <a:gd name="f715" fmla="*/ 40 1 f629"/>
                  <a:gd name="f716" fmla="*/ 683 1 f630"/>
                  <a:gd name="f717" fmla="*/ 7 1 f629"/>
                  <a:gd name="f718" fmla="*/ 642 1 f630"/>
                  <a:gd name="f719" fmla="*/ 28 1 f629"/>
                  <a:gd name="f720" fmla="*/ 606 1 f630"/>
                  <a:gd name="f721" fmla="*/ 67 1 f629"/>
                  <a:gd name="f722" fmla="*/ 585 1 f630"/>
                  <a:gd name="f723" fmla="*/ 96 1 f629"/>
                  <a:gd name="f724" fmla="*/ 566 1 f630"/>
                  <a:gd name="f725" fmla="*/ 69 1 f629"/>
                  <a:gd name="f726" fmla="*/ 521 1 f630"/>
                  <a:gd name="f727" fmla="*/ 65 1 f629"/>
                  <a:gd name="f728" fmla="*/ 476 1 f630"/>
                  <a:gd name="f729" fmla="*/ 86 1 f629"/>
                  <a:gd name="f730" fmla="*/ 461 1 f630"/>
                  <a:gd name="f731" fmla="*/ 91 1 f629"/>
                  <a:gd name="f732" fmla="*/ 409 1 f630"/>
                  <a:gd name="f733" fmla="*/ 108 1 f629"/>
                  <a:gd name="f734" fmla="*/ 347 1 f630"/>
                  <a:gd name="f735" fmla="*/ 161 1 f629"/>
                  <a:gd name="f736" fmla="*/ 322 1 f630"/>
                  <a:gd name="f737" fmla="*/ 199 1 f629"/>
                  <a:gd name="f738" fmla="*/ 276 1 f630"/>
                  <a:gd name="f739" fmla="*/ 233 1 f629"/>
                  <a:gd name="f740" fmla="*/ 231 1 f630"/>
                  <a:gd name="f741" fmla="*/ 258 1 f629"/>
                  <a:gd name="f742" fmla="*/ 174 1 f630"/>
                  <a:gd name="f743" fmla="*/ 217 1 f629"/>
                  <a:gd name="f744" fmla="*/ 154 1 f630"/>
                  <a:gd name="f745" fmla="*/ 274 1 f629"/>
                  <a:gd name="f746" fmla="*/ 112 1 f630"/>
                  <a:gd name="f747" fmla="*/ 309 1 f629"/>
                  <a:gd name="f748" fmla="*/ 70 1 f630"/>
                  <a:gd name="f749" fmla="*/ 378 1 f629"/>
                  <a:gd name="f750" fmla="*/ 83 1 f630"/>
                  <a:gd name="f751" fmla="*/ 425 1 f629"/>
                  <a:gd name="f752" fmla="*/ 17 1 f630"/>
                  <a:gd name="f753" fmla="*/ 0 1 f629"/>
                  <a:gd name="f754" fmla="*/ f6 1 f629"/>
                  <a:gd name="f755" fmla="*/ 0 1 f630"/>
                  <a:gd name="f756" fmla="*/ f7 1 f630"/>
                  <a:gd name="f757" fmla="+- f631 0 f1"/>
                  <a:gd name="f758" fmla="*/ f753 f624 1"/>
                  <a:gd name="f759" fmla="*/ f754 f624 1"/>
                  <a:gd name="f760" fmla="*/ f756 f625 1"/>
                  <a:gd name="f761" fmla="*/ f755 f625 1"/>
                  <a:gd name="f762" fmla="*/ f632 f624 1"/>
                  <a:gd name="f763" fmla="*/ f633 f625 1"/>
                  <a:gd name="f764" fmla="*/ f634 f624 1"/>
                  <a:gd name="f765" fmla="*/ f635 f625 1"/>
                  <a:gd name="f766" fmla="*/ f636 f624 1"/>
                  <a:gd name="f767" fmla="*/ f637 f625 1"/>
                  <a:gd name="f768" fmla="*/ f638 f624 1"/>
                  <a:gd name="f769" fmla="*/ f639 f625 1"/>
                  <a:gd name="f770" fmla="*/ f640 f624 1"/>
                  <a:gd name="f771" fmla="*/ f641 f625 1"/>
                  <a:gd name="f772" fmla="*/ f642 f624 1"/>
                  <a:gd name="f773" fmla="*/ f643 f625 1"/>
                  <a:gd name="f774" fmla="*/ f644 f624 1"/>
                  <a:gd name="f775" fmla="*/ f645 f625 1"/>
                  <a:gd name="f776" fmla="*/ f646 f624 1"/>
                  <a:gd name="f777" fmla="*/ f647 f625 1"/>
                  <a:gd name="f778" fmla="*/ f648 f624 1"/>
                  <a:gd name="f779" fmla="*/ f649 f625 1"/>
                  <a:gd name="f780" fmla="*/ f650 f624 1"/>
                  <a:gd name="f781" fmla="*/ f651 f625 1"/>
                  <a:gd name="f782" fmla="*/ f652 f624 1"/>
                  <a:gd name="f783" fmla="*/ f653 f625 1"/>
                  <a:gd name="f784" fmla="*/ f654 f624 1"/>
                  <a:gd name="f785" fmla="*/ f655 f625 1"/>
                  <a:gd name="f786" fmla="*/ f656 f624 1"/>
                  <a:gd name="f787" fmla="*/ f657 f625 1"/>
                  <a:gd name="f788" fmla="*/ f658 f624 1"/>
                  <a:gd name="f789" fmla="*/ f659 f625 1"/>
                  <a:gd name="f790" fmla="*/ f660 f624 1"/>
                  <a:gd name="f791" fmla="*/ f661 f625 1"/>
                  <a:gd name="f792" fmla="*/ f662 f624 1"/>
                  <a:gd name="f793" fmla="*/ f663 f625 1"/>
                  <a:gd name="f794" fmla="*/ f664 f624 1"/>
                  <a:gd name="f795" fmla="*/ f665 f625 1"/>
                  <a:gd name="f796" fmla="*/ f666 f624 1"/>
                  <a:gd name="f797" fmla="*/ f667 f625 1"/>
                  <a:gd name="f798" fmla="*/ f668 f624 1"/>
                  <a:gd name="f799" fmla="*/ f669 f625 1"/>
                  <a:gd name="f800" fmla="*/ f670 f625 1"/>
                  <a:gd name="f801" fmla="*/ f671 f624 1"/>
                  <a:gd name="f802" fmla="*/ f672 f625 1"/>
                  <a:gd name="f803" fmla="*/ f673 f624 1"/>
                  <a:gd name="f804" fmla="*/ f674 f625 1"/>
                  <a:gd name="f805" fmla="*/ f675 f624 1"/>
                  <a:gd name="f806" fmla="*/ f676 f625 1"/>
                  <a:gd name="f807" fmla="*/ f677 f624 1"/>
                  <a:gd name="f808" fmla="*/ f678 f625 1"/>
                  <a:gd name="f809" fmla="*/ f679 f624 1"/>
                  <a:gd name="f810" fmla="*/ f680 f625 1"/>
                  <a:gd name="f811" fmla="*/ f681 f624 1"/>
                  <a:gd name="f812" fmla="*/ f682 f625 1"/>
                  <a:gd name="f813" fmla="*/ f683 f624 1"/>
                  <a:gd name="f814" fmla="*/ f684 f625 1"/>
                  <a:gd name="f815" fmla="*/ f685 f624 1"/>
                  <a:gd name="f816" fmla="*/ f686 f625 1"/>
                  <a:gd name="f817" fmla="*/ f687 f624 1"/>
                  <a:gd name="f818" fmla="*/ f688 f625 1"/>
                  <a:gd name="f819" fmla="*/ f689 f624 1"/>
                  <a:gd name="f820" fmla="*/ f690 f625 1"/>
                  <a:gd name="f821" fmla="*/ f691 f624 1"/>
                  <a:gd name="f822" fmla="*/ f692 f625 1"/>
                  <a:gd name="f823" fmla="*/ f693 f624 1"/>
                  <a:gd name="f824" fmla="*/ f694 f625 1"/>
                  <a:gd name="f825" fmla="*/ f695 f624 1"/>
                  <a:gd name="f826" fmla="*/ f696 f625 1"/>
                  <a:gd name="f827" fmla="*/ f697 f624 1"/>
                  <a:gd name="f828" fmla="*/ f698 f625 1"/>
                  <a:gd name="f829" fmla="*/ f699 f624 1"/>
                  <a:gd name="f830" fmla="*/ f700 f625 1"/>
                  <a:gd name="f831" fmla="*/ f701 f624 1"/>
                  <a:gd name="f832" fmla="*/ f702 f625 1"/>
                  <a:gd name="f833" fmla="*/ f703 f624 1"/>
                  <a:gd name="f834" fmla="*/ f704 f625 1"/>
                  <a:gd name="f835" fmla="*/ f705 f624 1"/>
                  <a:gd name="f836" fmla="*/ f706 f625 1"/>
                  <a:gd name="f837" fmla="*/ f707 f624 1"/>
                  <a:gd name="f838" fmla="*/ f708 f625 1"/>
                  <a:gd name="f839" fmla="*/ f709 f624 1"/>
                  <a:gd name="f840" fmla="*/ f710 f625 1"/>
                  <a:gd name="f841" fmla="*/ f711 f624 1"/>
                  <a:gd name="f842" fmla="*/ f712 f625 1"/>
                  <a:gd name="f843" fmla="*/ f713 f624 1"/>
                  <a:gd name="f844" fmla="*/ f714 f625 1"/>
                  <a:gd name="f845" fmla="*/ f715 f624 1"/>
                  <a:gd name="f846" fmla="*/ f716 f625 1"/>
                  <a:gd name="f847" fmla="*/ f717 f624 1"/>
                  <a:gd name="f848" fmla="*/ f718 f625 1"/>
                  <a:gd name="f849" fmla="*/ f719 f624 1"/>
                  <a:gd name="f850" fmla="*/ f720 f625 1"/>
                  <a:gd name="f851" fmla="*/ f721 f624 1"/>
                  <a:gd name="f852" fmla="*/ f722 f625 1"/>
                  <a:gd name="f853" fmla="*/ f723 f624 1"/>
                  <a:gd name="f854" fmla="*/ f724 f625 1"/>
                  <a:gd name="f855" fmla="*/ f725 f624 1"/>
                  <a:gd name="f856" fmla="*/ f726 f625 1"/>
                  <a:gd name="f857" fmla="*/ f727 f624 1"/>
                  <a:gd name="f858" fmla="*/ f728 f625 1"/>
                  <a:gd name="f859" fmla="*/ f729 f624 1"/>
                  <a:gd name="f860" fmla="*/ f730 f625 1"/>
                  <a:gd name="f861" fmla="*/ f731 f624 1"/>
                  <a:gd name="f862" fmla="*/ f732 f625 1"/>
                  <a:gd name="f863" fmla="*/ f733 f624 1"/>
                  <a:gd name="f864" fmla="*/ f734 f625 1"/>
                  <a:gd name="f865" fmla="*/ f735 f624 1"/>
                  <a:gd name="f866" fmla="*/ f736 f625 1"/>
                  <a:gd name="f867" fmla="*/ f737 f624 1"/>
                  <a:gd name="f868" fmla="*/ f738 f625 1"/>
                  <a:gd name="f869" fmla="*/ f739 f624 1"/>
                  <a:gd name="f870" fmla="*/ f740 f625 1"/>
                  <a:gd name="f871" fmla="*/ f741 f624 1"/>
                  <a:gd name="f872" fmla="*/ f742 f625 1"/>
                  <a:gd name="f873" fmla="*/ f743 f624 1"/>
                  <a:gd name="f874" fmla="*/ f744 f625 1"/>
                  <a:gd name="f875" fmla="*/ f745 f624 1"/>
                  <a:gd name="f876" fmla="*/ f746 f625 1"/>
                  <a:gd name="f877" fmla="*/ f747 f624 1"/>
                  <a:gd name="f878" fmla="*/ f748 f625 1"/>
                  <a:gd name="f879" fmla="*/ f749 f624 1"/>
                  <a:gd name="f880" fmla="*/ f750 f625 1"/>
                  <a:gd name="f881" fmla="*/ f751 f624 1"/>
                  <a:gd name="f882" fmla="*/ f752 f62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757">
                    <a:pos x="f762" y="f763"/>
                  </a:cxn>
                  <a:cxn ang="f757">
                    <a:pos x="f764" y="f765"/>
                  </a:cxn>
                  <a:cxn ang="f757">
                    <a:pos x="f766" y="f767"/>
                  </a:cxn>
                  <a:cxn ang="f757">
                    <a:pos x="f768" y="f769"/>
                  </a:cxn>
                  <a:cxn ang="f757">
                    <a:pos x="f770" y="f771"/>
                  </a:cxn>
                  <a:cxn ang="f757">
                    <a:pos x="f772" y="f773"/>
                  </a:cxn>
                  <a:cxn ang="f757">
                    <a:pos x="f774" y="f775"/>
                  </a:cxn>
                  <a:cxn ang="f757">
                    <a:pos x="f776" y="f777"/>
                  </a:cxn>
                  <a:cxn ang="f757">
                    <a:pos x="f778" y="f779"/>
                  </a:cxn>
                  <a:cxn ang="f757">
                    <a:pos x="f780" y="f781"/>
                  </a:cxn>
                  <a:cxn ang="f757">
                    <a:pos x="f782" y="f783"/>
                  </a:cxn>
                  <a:cxn ang="f757">
                    <a:pos x="f784" y="f785"/>
                  </a:cxn>
                  <a:cxn ang="f757">
                    <a:pos x="f786" y="f787"/>
                  </a:cxn>
                  <a:cxn ang="f757">
                    <a:pos x="f788" y="f789"/>
                  </a:cxn>
                  <a:cxn ang="f757">
                    <a:pos x="f790" y="f791"/>
                  </a:cxn>
                  <a:cxn ang="f757">
                    <a:pos x="f792" y="f793"/>
                  </a:cxn>
                  <a:cxn ang="f757">
                    <a:pos x="f794" y="f795"/>
                  </a:cxn>
                  <a:cxn ang="f757">
                    <a:pos x="f796" y="f797"/>
                  </a:cxn>
                  <a:cxn ang="f757">
                    <a:pos x="f798" y="f799"/>
                  </a:cxn>
                  <a:cxn ang="f757">
                    <a:pos x="f790" y="f800"/>
                  </a:cxn>
                  <a:cxn ang="f757">
                    <a:pos x="f801" y="f802"/>
                  </a:cxn>
                  <a:cxn ang="f757">
                    <a:pos x="f803" y="f804"/>
                  </a:cxn>
                  <a:cxn ang="f757">
                    <a:pos x="f805" y="f806"/>
                  </a:cxn>
                  <a:cxn ang="f757">
                    <a:pos x="f807" y="f808"/>
                  </a:cxn>
                  <a:cxn ang="f757">
                    <a:pos x="f809" y="f810"/>
                  </a:cxn>
                  <a:cxn ang="f757">
                    <a:pos x="f811" y="f812"/>
                  </a:cxn>
                  <a:cxn ang="f757">
                    <a:pos x="f813" y="f814"/>
                  </a:cxn>
                  <a:cxn ang="f757">
                    <a:pos x="f815" y="f816"/>
                  </a:cxn>
                  <a:cxn ang="f757">
                    <a:pos x="f817" y="f818"/>
                  </a:cxn>
                  <a:cxn ang="f757">
                    <a:pos x="f819" y="f820"/>
                  </a:cxn>
                  <a:cxn ang="f757">
                    <a:pos x="f821" y="f822"/>
                  </a:cxn>
                  <a:cxn ang="f757">
                    <a:pos x="f823" y="f824"/>
                  </a:cxn>
                  <a:cxn ang="f757">
                    <a:pos x="f825" y="f826"/>
                  </a:cxn>
                  <a:cxn ang="f757">
                    <a:pos x="f827" y="f828"/>
                  </a:cxn>
                  <a:cxn ang="f757">
                    <a:pos x="f829" y="f830"/>
                  </a:cxn>
                  <a:cxn ang="f757">
                    <a:pos x="f831" y="f832"/>
                  </a:cxn>
                  <a:cxn ang="f757">
                    <a:pos x="f833" y="f834"/>
                  </a:cxn>
                  <a:cxn ang="f757">
                    <a:pos x="f835" y="f836"/>
                  </a:cxn>
                  <a:cxn ang="f757">
                    <a:pos x="f837" y="f838"/>
                  </a:cxn>
                  <a:cxn ang="f757">
                    <a:pos x="f839" y="f840"/>
                  </a:cxn>
                  <a:cxn ang="f757">
                    <a:pos x="f841" y="f842"/>
                  </a:cxn>
                  <a:cxn ang="f757">
                    <a:pos x="f843" y="f844"/>
                  </a:cxn>
                  <a:cxn ang="f757">
                    <a:pos x="f845" y="f846"/>
                  </a:cxn>
                  <a:cxn ang="f757">
                    <a:pos x="f847" y="f848"/>
                  </a:cxn>
                  <a:cxn ang="f757">
                    <a:pos x="f849" y="f850"/>
                  </a:cxn>
                  <a:cxn ang="f757">
                    <a:pos x="f851" y="f852"/>
                  </a:cxn>
                  <a:cxn ang="f757">
                    <a:pos x="f853" y="f854"/>
                  </a:cxn>
                  <a:cxn ang="f757">
                    <a:pos x="f855" y="f856"/>
                  </a:cxn>
                  <a:cxn ang="f757">
                    <a:pos x="f857" y="f858"/>
                  </a:cxn>
                  <a:cxn ang="f757">
                    <a:pos x="f859" y="f860"/>
                  </a:cxn>
                  <a:cxn ang="f757">
                    <a:pos x="f861" y="f862"/>
                  </a:cxn>
                  <a:cxn ang="f757">
                    <a:pos x="f863" y="f864"/>
                  </a:cxn>
                  <a:cxn ang="f757">
                    <a:pos x="f865" y="f866"/>
                  </a:cxn>
                  <a:cxn ang="f757">
                    <a:pos x="f867" y="f868"/>
                  </a:cxn>
                  <a:cxn ang="f757">
                    <a:pos x="f869" y="f870"/>
                  </a:cxn>
                  <a:cxn ang="f757">
                    <a:pos x="f871" y="f872"/>
                  </a:cxn>
                  <a:cxn ang="f757">
                    <a:pos x="f873" y="f874"/>
                  </a:cxn>
                  <a:cxn ang="f757">
                    <a:pos x="f875" y="f876"/>
                  </a:cxn>
                  <a:cxn ang="f757">
                    <a:pos x="f877" y="f878"/>
                  </a:cxn>
                  <a:cxn ang="f757">
                    <a:pos x="f879" y="f880"/>
                  </a:cxn>
                  <a:cxn ang="f757">
                    <a:pos x="f881" y="f882"/>
                  </a:cxn>
                </a:cxnLst>
                <a:rect l="f758" t="f761" r="f759" b="f760"/>
                <a:pathLst>
                  <a:path w="648" h="931">
                    <a:moveTo>
                      <a:pt x="f8" y="f5"/>
                    </a:moveTo>
                    <a:lnTo>
                      <a:pt x="f9" y="f5"/>
                    </a:lnTo>
                    <a:lnTo>
                      <a:pt x="f9" y="f10"/>
                    </a:lnTo>
                    <a:lnTo>
                      <a:pt x="f9" y="f11"/>
                    </a:lnTo>
                    <a:lnTo>
                      <a:pt x="f9" y="f12"/>
                    </a:lnTo>
                    <a:lnTo>
                      <a:pt x="f9" y="f13"/>
                    </a:lnTo>
                    <a:lnTo>
                      <a:pt x="f14" y="f15"/>
                    </a:lnTo>
                    <a:lnTo>
                      <a:pt x="f16" y="f15"/>
                    </a:lnTo>
                    <a:lnTo>
                      <a:pt x="f17" y="f18"/>
                    </a:lnTo>
                    <a:lnTo>
                      <a:pt x="f19" y="f13"/>
                    </a:lnTo>
                    <a:lnTo>
                      <a:pt x="f20" y="f15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5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23" y="f29"/>
                    </a:lnTo>
                    <a:lnTo>
                      <a:pt x="f32" y="f29"/>
                    </a:lnTo>
                    <a:lnTo>
                      <a:pt x="f33" y="f34"/>
                    </a:lnTo>
                    <a:lnTo>
                      <a:pt x="f35" y="f27"/>
                    </a:lnTo>
                    <a:lnTo>
                      <a:pt x="f36" y="f37"/>
                    </a:lnTo>
                    <a:lnTo>
                      <a:pt x="f38" y="f27"/>
                    </a:lnTo>
                    <a:lnTo>
                      <a:pt x="f39" y="f34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20" y="f44"/>
                    </a:lnTo>
                    <a:lnTo>
                      <a:pt x="f45" y="f46"/>
                    </a:lnTo>
                    <a:lnTo>
                      <a:pt x="f45" y="f47"/>
                    </a:lnTo>
                    <a:lnTo>
                      <a:pt x="f20" y="f48"/>
                    </a:lnTo>
                    <a:lnTo>
                      <a:pt x="f40" y="f49"/>
                    </a:lnTo>
                    <a:lnTo>
                      <a:pt x="f39" y="f50"/>
                    </a:lnTo>
                    <a:lnTo>
                      <a:pt x="f39" y="f51"/>
                    </a:lnTo>
                    <a:lnTo>
                      <a:pt x="f52" y="f53"/>
                    </a:lnTo>
                    <a:lnTo>
                      <a:pt x="f54" y="f55"/>
                    </a:lnTo>
                    <a:lnTo>
                      <a:pt x="f45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0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17" y="f67"/>
                    </a:lnTo>
                    <a:lnTo>
                      <a:pt x="f68" y="f67"/>
                    </a:lnTo>
                    <a:lnTo>
                      <a:pt x="f14" y="f69"/>
                    </a:lnTo>
                    <a:lnTo>
                      <a:pt x="f70" y="f71"/>
                    </a:lnTo>
                    <a:lnTo>
                      <a:pt x="f63" y="f72"/>
                    </a:lnTo>
                    <a:lnTo>
                      <a:pt x="f56" y="f73"/>
                    </a:lnTo>
                    <a:lnTo>
                      <a:pt x="f20" y="f74"/>
                    </a:lnTo>
                    <a:lnTo>
                      <a:pt x="f21" y="f75"/>
                    </a:lnTo>
                    <a:lnTo>
                      <a:pt x="f2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0"/>
                    </a:lnTo>
                    <a:lnTo>
                      <a:pt x="f82" y="f83"/>
                    </a:lnTo>
                    <a:lnTo>
                      <a:pt x="f84" y="f8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92" y="f93"/>
                    </a:lnTo>
                    <a:lnTo>
                      <a:pt x="f94" y="f75"/>
                    </a:lnTo>
                    <a:lnTo>
                      <a:pt x="f92" y="f95"/>
                    </a:lnTo>
                    <a:lnTo>
                      <a:pt x="f88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72"/>
                    </a:lnTo>
                    <a:lnTo>
                      <a:pt x="f102" y="f71"/>
                    </a:lnTo>
                    <a:lnTo>
                      <a:pt x="f102" y="f64"/>
                    </a:lnTo>
                    <a:lnTo>
                      <a:pt x="f79" y="f103"/>
                    </a:lnTo>
                    <a:lnTo>
                      <a:pt x="f82" y="f61"/>
                    </a:lnTo>
                    <a:lnTo>
                      <a:pt x="f90" y="f104"/>
                    </a:lnTo>
                    <a:lnTo>
                      <a:pt x="f105" y="f106"/>
                    </a:lnTo>
                    <a:lnTo>
                      <a:pt x="f107" y="f106"/>
                    </a:lnTo>
                    <a:lnTo>
                      <a:pt x="f108" y="f55"/>
                    </a:lnTo>
                    <a:lnTo>
                      <a:pt x="f109" y="f104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6" y="f115"/>
                    </a:lnTo>
                    <a:lnTo>
                      <a:pt x="f117" y="f111"/>
                    </a:lnTo>
                    <a:lnTo>
                      <a:pt x="f118" y="f104"/>
                    </a:lnTo>
                    <a:lnTo>
                      <a:pt x="f118" y="f55"/>
                    </a:lnTo>
                    <a:lnTo>
                      <a:pt x="f119" y="f53"/>
                    </a:lnTo>
                    <a:lnTo>
                      <a:pt x="f119" y="f120"/>
                    </a:lnTo>
                    <a:lnTo>
                      <a:pt x="f121" y="f122"/>
                    </a:lnTo>
                    <a:lnTo>
                      <a:pt x="f123" y="f124"/>
                    </a:lnTo>
                    <a:lnTo>
                      <a:pt x="f125" y="f124"/>
                    </a:lnTo>
                    <a:lnTo>
                      <a:pt x="f126" y="f51"/>
                    </a:lnTo>
                    <a:lnTo>
                      <a:pt x="f127" y="f128"/>
                    </a:lnTo>
                    <a:lnTo>
                      <a:pt x="f129" y="f106"/>
                    </a:lnTo>
                    <a:lnTo>
                      <a:pt x="f130" y="f111"/>
                    </a:lnTo>
                    <a:lnTo>
                      <a:pt x="f127" y="f131"/>
                    </a:lnTo>
                    <a:lnTo>
                      <a:pt x="f126" y="f64"/>
                    </a:lnTo>
                    <a:lnTo>
                      <a:pt x="f132" y="f133"/>
                    </a:lnTo>
                    <a:lnTo>
                      <a:pt x="f134" y="f73"/>
                    </a:lnTo>
                    <a:lnTo>
                      <a:pt x="f129" y="f75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lnTo>
                      <a:pt x="f141" y="f140"/>
                    </a:lnTo>
                    <a:lnTo>
                      <a:pt x="f142" y="f138"/>
                    </a:lnTo>
                    <a:lnTo>
                      <a:pt x="f143" y="f80"/>
                    </a:lnTo>
                    <a:lnTo>
                      <a:pt x="f144" y="f78"/>
                    </a:lnTo>
                    <a:lnTo>
                      <a:pt x="f145" y="f85"/>
                    </a:lnTo>
                    <a:lnTo>
                      <a:pt x="f146" y="f85"/>
                    </a:lnTo>
                    <a:lnTo>
                      <a:pt x="f147" y="f83"/>
                    </a:lnTo>
                    <a:lnTo>
                      <a:pt x="f148" y="f140"/>
                    </a:lnTo>
                    <a:lnTo>
                      <a:pt x="f149" y="f150"/>
                    </a:lnTo>
                    <a:lnTo>
                      <a:pt x="f151" y="f152"/>
                    </a:lnTo>
                    <a:lnTo>
                      <a:pt x="f153" y="f154"/>
                    </a:lnTo>
                    <a:lnTo>
                      <a:pt x="f155" y="f156"/>
                    </a:lnTo>
                    <a:lnTo>
                      <a:pt x="f157" y="f158"/>
                    </a:lnTo>
                    <a:lnTo>
                      <a:pt x="f159" y="f160"/>
                    </a:lnTo>
                    <a:lnTo>
                      <a:pt x="f161" y="f162"/>
                    </a:lnTo>
                    <a:lnTo>
                      <a:pt x="f6" y="f163"/>
                    </a:lnTo>
                    <a:lnTo>
                      <a:pt x="f164" y="f165"/>
                    </a:lnTo>
                    <a:lnTo>
                      <a:pt x="f166" y="f167"/>
                    </a:lnTo>
                    <a:lnTo>
                      <a:pt x="f168" y="f169"/>
                    </a:lnTo>
                    <a:lnTo>
                      <a:pt x="f159" y="f170"/>
                    </a:lnTo>
                    <a:lnTo>
                      <a:pt x="f171" y="f172"/>
                    </a:lnTo>
                    <a:lnTo>
                      <a:pt x="f173" y="f172"/>
                    </a:lnTo>
                    <a:lnTo>
                      <a:pt x="f174" y="f169"/>
                    </a:lnTo>
                    <a:lnTo>
                      <a:pt x="f175" y="f176"/>
                    </a:lnTo>
                    <a:lnTo>
                      <a:pt x="f177" y="f176"/>
                    </a:lnTo>
                    <a:lnTo>
                      <a:pt x="f177" y="f169"/>
                    </a:lnTo>
                    <a:lnTo>
                      <a:pt x="f155" y="f170"/>
                    </a:lnTo>
                    <a:lnTo>
                      <a:pt x="f178" y="f179"/>
                    </a:lnTo>
                    <a:lnTo>
                      <a:pt x="f180" y="f181"/>
                    </a:lnTo>
                    <a:lnTo>
                      <a:pt x="f182" y="f183"/>
                    </a:lnTo>
                    <a:lnTo>
                      <a:pt x="f180" y="f184"/>
                    </a:lnTo>
                    <a:lnTo>
                      <a:pt x="f185" y="f186"/>
                    </a:lnTo>
                    <a:lnTo>
                      <a:pt x="f173" y="f187"/>
                    </a:lnTo>
                    <a:lnTo>
                      <a:pt x="f188" y="f189"/>
                    </a:lnTo>
                    <a:lnTo>
                      <a:pt x="f190" y="f191"/>
                    </a:lnTo>
                    <a:lnTo>
                      <a:pt x="f190" y="f192"/>
                    </a:lnTo>
                    <a:lnTo>
                      <a:pt x="f188" y="f193"/>
                    </a:lnTo>
                    <a:lnTo>
                      <a:pt x="f159" y="f193"/>
                    </a:lnTo>
                    <a:lnTo>
                      <a:pt x="f171" y="f194"/>
                    </a:lnTo>
                    <a:lnTo>
                      <a:pt x="f174" y="f194"/>
                    </a:lnTo>
                    <a:lnTo>
                      <a:pt x="f157" y="f195"/>
                    </a:lnTo>
                    <a:lnTo>
                      <a:pt x="f196" y="f197"/>
                    </a:lnTo>
                    <a:lnTo>
                      <a:pt x="f178" y="f197"/>
                    </a:lnTo>
                    <a:lnTo>
                      <a:pt x="f198" y="f194"/>
                    </a:lnTo>
                    <a:lnTo>
                      <a:pt x="f199" y="f192"/>
                    </a:lnTo>
                    <a:lnTo>
                      <a:pt x="f200" y="f192"/>
                    </a:lnTo>
                    <a:lnTo>
                      <a:pt x="f201" y="f194"/>
                    </a:lnTo>
                    <a:lnTo>
                      <a:pt x="f144" y="f202"/>
                    </a:lnTo>
                    <a:lnTo>
                      <a:pt x="f145" y="f203"/>
                    </a:lnTo>
                    <a:lnTo>
                      <a:pt x="f147" y="f204"/>
                    </a:lnTo>
                    <a:lnTo>
                      <a:pt x="f205" y="f206"/>
                    </a:lnTo>
                    <a:lnTo>
                      <a:pt x="f207" y="f208"/>
                    </a:lnTo>
                    <a:lnTo>
                      <a:pt x="f209" y="f210"/>
                    </a:lnTo>
                    <a:lnTo>
                      <a:pt x="f200" y="f211"/>
                    </a:lnTo>
                    <a:lnTo>
                      <a:pt x="f145" y="f212"/>
                    </a:lnTo>
                    <a:lnTo>
                      <a:pt x="f139" y="f212"/>
                    </a:lnTo>
                    <a:lnTo>
                      <a:pt x="f213" y="f214"/>
                    </a:lnTo>
                    <a:lnTo>
                      <a:pt x="f213" y="f215"/>
                    </a:lnTo>
                    <a:lnTo>
                      <a:pt x="f139" y="f216"/>
                    </a:lnTo>
                    <a:lnTo>
                      <a:pt x="f217" y="f218"/>
                    </a:lnTo>
                    <a:lnTo>
                      <a:pt x="f147" y="f219"/>
                    </a:lnTo>
                    <a:lnTo>
                      <a:pt x="f209" y="f220"/>
                    </a:lnTo>
                    <a:lnTo>
                      <a:pt x="f221" y="f222"/>
                    </a:lnTo>
                    <a:lnTo>
                      <a:pt x="f223" y="f224"/>
                    </a:lnTo>
                    <a:lnTo>
                      <a:pt x="f205" y="f225"/>
                    </a:lnTo>
                    <a:lnTo>
                      <a:pt x="f226" y="f227"/>
                    </a:lnTo>
                    <a:lnTo>
                      <a:pt x="f228" y="f229"/>
                    </a:lnTo>
                    <a:lnTo>
                      <a:pt x="f201" y="f230"/>
                    </a:lnTo>
                    <a:lnTo>
                      <a:pt x="f217" y="f231"/>
                    </a:lnTo>
                    <a:lnTo>
                      <a:pt x="f232" y="f233"/>
                    </a:lnTo>
                    <a:lnTo>
                      <a:pt x="f234" y="f235"/>
                    </a:lnTo>
                    <a:lnTo>
                      <a:pt x="f236" y="f237"/>
                    </a:lnTo>
                    <a:lnTo>
                      <a:pt x="f126" y="f238"/>
                    </a:lnTo>
                    <a:lnTo>
                      <a:pt x="f126" y="f239"/>
                    </a:lnTo>
                    <a:lnTo>
                      <a:pt x="f240" y="f241"/>
                    </a:lnTo>
                    <a:lnTo>
                      <a:pt x="f242" y="f243"/>
                    </a:lnTo>
                    <a:lnTo>
                      <a:pt x="f244" y="f245"/>
                    </a:lnTo>
                    <a:lnTo>
                      <a:pt x="f118" y="f246"/>
                    </a:lnTo>
                    <a:lnTo>
                      <a:pt x="f244" y="f247"/>
                    </a:lnTo>
                    <a:lnTo>
                      <a:pt x="f123" y="f248"/>
                    </a:lnTo>
                    <a:lnTo>
                      <a:pt x="f126" y="f249"/>
                    </a:lnTo>
                    <a:lnTo>
                      <a:pt x="f236" y="f250"/>
                    </a:lnTo>
                    <a:lnTo>
                      <a:pt x="f251" y="f250"/>
                    </a:lnTo>
                    <a:lnTo>
                      <a:pt x="f234" y="f252"/>
                    </a:lnTo>
                    <a:lnTo>
                      <a:pt x="f253" y="f254"/>
                    </a:lnTo>
                    <a:lnTo>
                      <a:pt x="f135" y="f255"/>
                    </a:lnTo>
                    <a:lnTo>
                      <a:pt x="f135" y="f256"/>
                    </a:lnTo>
                    <a:lnTo>
                      <a:pt x="f213" y="f257"/>
                    </a:lnTo>
                    <a:lnTo>
                      <a:pt x="f139" y="f245"/>
                    </a:lnTo>
                    <a:lnTo>
                      <a:pt x="f217" y="f258"/>
                    </a:lnTo>
                    <a:lnTo>
                      <a:pt x="f146" y="f259"/>
                    </a:lnTo>
                    <a:lnTo>
                      <a:pt x="f200" y="f258"/>
                    </a:lnTo>
                    <a:lnTo>
                      <a:pt x="f209" y="f260"/>
                    </a:lnTo>
                    <a:lnTo>
                      <a:pt x="f221" y="f261"/>
                    </a:lnTo>
                    <a:lnTo>
                      <a:pt x="f262" y="f255"/>
                    </a:lnTo>
                    <a:lnTo>
                      <a:pt x="f149" y="f252"/>
                    </a:lnTo>
                    <a:lnTo>
                      <a:pt x="f263" y="f264"/>
                    </a:lnTo>
                    <a:lnTo>
                      <a:pt x="f207" y="f265"/>
                    </a:lnTo>
                    <a:lnTo>
                      <a:pt x="f209" y="f266"/>
                    </a:lnTo>
                    <a:lnTo>
                      <a:pt x="f209" y="f267"/>
                    </a:lnTo>
                    <a:lnTo>
                      <a:pt x="f205" y="f19"/>
                    </a:lnTo>
                    <a:lnTo>
                      <a:pt x="f226" y="f54"/>
                    </a:lnTo>
                    <a:lnTo>
                      <a:pt x="f143" y="f21"/>
                    </a:lnTo>
                    <a:lnTo>
                      <a:pt x="f268" y="f269"/>
                    </a:lnTo>
                    <a:lnTo>
                      <a:pt x="f242" y="f79"/>
                    </a:lnTo>
                    <a:lnTo>
                      <a:pt x="f270" y="f271"/>
                    </a:lnTo>
                    <a:lnTo>
                      <a:pt x="f272" y="f81"/>
                    </a:lnTo>
                    <a:lnTo>
                      <a:pt x="f273" y="f81"/>
                    </a:lnTo>
                    <a:lnTo>
                      <a:pt x="f108" y="f101"/>
                    </a:lnTo>
                    <a:lnTo>
                      <a:pt x="f105" y="f79"/>
                    </a:lnTo>
                    <a:lnTo>
                      <a:pt x="f88" y="f101"/>
                    </a:lnTo>
                    <a:lnTo>
                      <a:pt x="f82" y="f81"/>
                    </a:lnTo>
                    <a:lnTo>
                      <a:pt x="f81" y="f97"/>
                    </a:lnTo>
                    <a:lnTo>
                      <a:pt x="f81" y="f274"/>
                    </a:lnTo>
                    <a:lnTo>
                      <a:pt x="f82" y="f112"/>
                    </a:lnTo>
                    <a:lnTo>
                      <a:pt x="f84" y="f117"/>
                    </a:lnTo>
                    <a:lnTo>
                      <a:pt x="f99" y="f275"/>
                    </a:lnTo>
                    <a:lnTo>
                      <a:pt x="f79" y="f276"/>
                    </a:lnTo>
                    <a:lnTo>
                      <a:pt x="f277" y="f126"/>
                    </a:lnTo>
                    <a:lnTo>
                      <a:pt x="f23" y="f236"/>
                    </a:lnTo>
                    <a:lnTo>
                      <a:pt x="f35" y="f234"/>
                    </a:lnTo>
                    <a:lnTo>
                      <a:pt x="f36" y="f278"/>
                    </a:lnTo>
                    <a:lnTo>
                      <a:pt x="f21" y="f137"/>
                    </a:lnTo>
                    <a:lnTo>
                      <a:pt x="f38" y="f141"/>
                    </a:lnTo>
                    <a:lnTo>
                      <a:pt x="f52" y="f217"/>
                    </a:lnTo>
                    <a:lnTo>
                      <a:pt x="f279" y="f145"/>
                    </a:lnTo>
                    <a:lnTo>
                      <a:pt x="f280" y="f147"/>
                    </a:lnTo>
                    <a:lnTo>
                      <a:pt x="f281" y="f147"/>
                    </a:lnTo>
                    <a:lnTo>
                      <a:pt x="f282" y="f146"/>
                    </a:lnTo>
                    <a:lnTo>
                      <a:pt x="f70" y="f201"/>
                    </a:lnTo>
                    <a:lnTo>
                      <a:pt x="f9" y="f201"/>
                    </a:lnTo>
                    <a:lnTo>
                      <a:pt x="f283" y="f146"/>
                    </a:lnTo>
                    <a:lnTo>
                      <a:pt x="f284" y="f200"/>
                    </a:lnTo>
                    <a:lnTo>
                      <a:pt x="f283" y="f221"/>
                    </a:lnTo>
                    <a:lnTo>
                      <a:pt x="f8" y="f151"/>
                    </a:lnTo>
                    <a:lnTo>
                      <a:pt x="f285" y="f286"/>
                    </a:lnTo>
                    <a:lnTo>
                      <a:pt x="f9" y="f287"/>
                    </a:lnTo>
                    <a:lnTo>
                      <a:pt x="f8" y="f155"/>
                    </a:lnTo>
                    <a:lnTo>
                      <a:pt x="f288" y="f180"/>
                    </a:lnTo>
                    <a:lnTo>
                      <a:pt x="f288" y="f175"/>
                    </a:lnTo>
                    <a:lnTo>
                      <a:pt x="f283" y="f289"/>
                    </a:lnTo>
                    <a:lnTo>
                      <a:pt x="f283" y="f159"/>
                    </a:lnTo>
                    <a:lnTo>
                      <a:pt x="f290" y="f291"/>
                    </a:lnTo>
                    <a:lnTo>
                      <a:pt x="f292" y="f161"/>
                    </a:lnTo>
                    <a:lnTo>
                      <a:pt x="f293" y="f164"/>
                    </a:lnTo>
                    <a:lnTo>
                      <a:pt x="f248" y="f164"/>
                    </a:lnTo>
                    <a:lnTo>
                      <a:pt x="f254" y="f161"/>
                    </a:lnTo>
                    <a:lnTo>
                      <a:pt x="f247" y="f166"/>
                    </a:lnTo>
                    <a:lnTo>
                      <a:pt x="f294" y="f168"/>
                    </a:lnTo>
                    <a:lnTo>
                      <a:pt x="f256" y="f295"/>
                    </a:lnTo>
                    <a:lnTo>
                      <a:pt x="f261" y="f296"/>
                    </a:lnTo>
                    <a:lnTo>
                      <a:pt x="f297" y="f157"/>
                    </a:lnTo>
                    <a:lnTo>
                      <a:pt x="f298" y="f299"/>
                    </a:lnTo>
                    <a:lnTo>
                      <a:pt x="f300" y="f182"/>
                    </a:lnTo>
                    <a:lnTo>
                      <a:pt x="f238" y="f180"/>
                    </a:lnTo>
                    <a:lnTo>
                      <a:pt x="f301" y="f180"/>
                    </a:lnTo>
                    <a:lnTo>
                      <a:pt x="f302" y="f182"/>
                    </a:lnTo>
                    <a:lnTo>
                      <a:pt x="f303" y="f196"/>
                    </a:lnTo>
                    <a:lnTo>
                      <a:pt x="f304" y="f289"/>
                    </a:lnTo>
                    <a:lnTo>
                      <a:pt x="f305" y="f171"/>
                    </a:lnTo>
                    <a:lnTo>
                      <a:pt x="f306" y="f159"/>
                    </a:lnTo>
                    <a:lnTo>
                      <a:pt x="f307" y="f159"/>
                    </a:lnTo>
                    <a:lnTo>
                      <a:pt x="f308" y="f173"/>
                    </a:lnTo>
                    <a:lnTo>
                      <a:pt x="f309" y="f289"/>
                    </a:lnTo>
                    <a:lnTo>
                      <a:pt x="f310" y="f174"/>
                    </a:lnTo>
                    <a:lnTo>
                      <a:pt x="f311" y="f296"/>
                    </a:lnTo>
                    <a:lnTo>
                      <a:pt x="f312" y="f188"/>
                    </a:lnTo>
                    <a:lnTo>
                      <a:pt x="f313" y="f6"/>
                    </a:lnTo>
                    <a:lnTo>
                      <a:pt x="f314" y="f315"/>
                    </a:lnTo>
                    <a:lnTo>
                      <a:pt x="f222" y="f316"/>
                    </a:lnTo>
                    <a:lnTo>
                      <a:pt x="f317" y="f318"/>
                    </a:lnTo>
                    <a:lnTo>
                      <a:pt x="f317" y="f319"/>
                    </a:lnTo>
                    <a:lnTo>
                      <a:pt x="f222" y="f319"/>
                    </a:lnTo>
                    <a:lnTo>
                      <a:pt x="f314" y="f320"/>
                    </a:lnTo>
                    <a:lnTo>
                      <a:pt x="f224" y="f321"/>
                    </a:lnTo>
                    <a:lnTo>
                      <a:pt x="f225" y="f322"/>
                    </a:lnTo>
                    <a:lnTo>
                      <a:pt x="f323" y="f324"/>
                    </a:lnTo>
                    <a:lnTo>
                      <a:pt x="f325" y="f326"/>
                    </a:lnTo>
                    <a:lnTo>
                      <a:pt x="f323" y="f327"/>
                    </a:lnTo>
                    <a:lnTo>
                      <a:pt x="f328" y="f329"/>
                    </a:lnTo>
                    <a:lnTo>
                      <a:pt x="f330" y="f331"/>
                    </a:lnTo>
                    <a:lnTo>
                      <a:pt x="f332" y="f333"/>
                    </a:lnTo>
                    <a:lnTo>
                      <a:pt x="f332" y="f334"/>
                    </a:lnTo>
                    <a:lnTo>
                      <a:pt x="f313" y="f335"/>
                    </a:lnTo>
                    <a:lnTo>
                      <a:pt x="f336" y="f337"/>
                    </a:lnTo>
                    <a:lnTo>
                      <a:pt x="f225" y="f338"/>
                    </a:lnTo>
                    <a:lnTo>
                      <a:pt x="f328" y="f339"/>
                    </a:lnTo>
                    <a:lnTo>
                      <a:pt x="f323" y="f340"/>
                    </a:lnTo>
                    <a:lnTo>
                      <a:pt x="f311" y="f341"/>
                    </a:lnTo>
                    <a:lnTo>
                      <a:pt x="f342" y="f343"/>
                    </a:lnTo>
                    <a:lnTo>
                      <a:pt x="f230" y="f344"/>
                    </a:lnTo>
                    <a:lnTo>
                      <a:pt x="f345" y="f346"/>
                    </a:lnTo>
                    <a:lnTo>
                      <a:pt x="f235" y="f347"/>
                    </a:lnTo>
                    <a:lnTo>
                      <a:pt x="f308" y="f348"/>
                    </a:lnTo>
                    <a:lnTo>
                      <a:pt x="f349" y="f350"/>
                    </a:lnTo>
                    <a:lnTo>
                      <a:pt x="f351" y="f352"/>
                    </a:lnTo>
                    <a:lnTo>
                      <a:pt x="f229" y="f353"/>
                    </a:lnTo>
                    <a:lnTo>
                      <a:pt x="f342" y="f354"/>
                    </a:lnTo>
                    <a:lnTo>
                      <a:pt x="f355" y="f356"/>
                    </a:lnTo>
                    <a:lnTo>
                      <a:pt x="f310" y="f357"/>
                    </a:lnTo>
                    <a:lnTo>
                      <a:pt x="f231" y="f358"/>
                    </a:lnTo>
                    <a:lnTo>
                      <a:pt x="f310" y="f359"/>
                    </a:lnTo>
                    <a:lnTo>
                      <a:pt x="f310" y="f360"/>
                    </a:lnTo>
                    <a:lnTo>
                      <a:pt x="f355" y="f360"/>
                    </a:lnTo>
                    <a:lnTo>
                      <a:pt x="f361" y="f362"/>
                    </a:lnTo>
                    <a:lnTo>
                      <a:pt x="f229" y="f362"/>
                    </a:lnTo>
                    <a:lnTo>
                      <a:pt x="f363" y="f364"/>
                    </a:lnTo>
                    <a:lnTo>
                      <a:pt x="f311" y="f365"/>
                    </a:lnTo>
                    <a:lnTo>
                      <a:pt x="f366" y="f367"/>
                    </a:lnTo>
                    <a:lnTo>
                      <a:pt x="f227" y="f368"/>
                    </a:lnTo>
                    <a:lnTo>
                      <a:pt x="f369" y="f370"/>
                    </a:lnTo>
                    <a:lnTo>
                      <a:pt x="f227" y="f371"/>
                    </a:lnTo>
                    <a:lnTo>
                      <a:pt x="f363" y="f372"/>
                    </a:lnTo>
                    <a:lnTo>
                      <a:pt x="f361" y="f373"/>
                    </a:lnTo>
                    <a:lnTo>
                      <a:pt x="f363" y="f374"/>
                    </a:lnTo>
                    <a:lnTo>
                      <a:pt x="f311" y="f374"/>
                    </a:lnTo>
                    <a:lnTo>
                      <a:pt x="f227" y="f375"/>
                    </a:lnTo>
                    <a:lnTo>
                      <a:pt x="f366" y="f376"/>
                    </a:lnTo>
                    <a:lnTo>
                      <a:pt x="f229" y="f377"/>
                    </a:lnTo>
                    <a:lnTo>
                      <a:pt x="f310" y="f378"/>
                    </a:lnTo>
                    <a:lnTo>
                      <a:pt x="f233" y="f379"/>
                    </a:lnTo>
                    <a:lnTo>
                      <a:pt x="f345" y="f380"/>
                    </a:lnTo>
                    <a:lnTo>
                      <a:pt x="f349" y="f381"/>
                    </a:lnTo>
                    <a:lnTo>
                      <a:pt x="f231" y="f381"/>
                    </a:lnTo>
                    <a:lnTo>
                      <a:pt x="f382" y="f380"/>
                    </a:lnTo>
                    <a:lnTo>
                      <a:pt x="f325" y="f380"/>
                    </a:lnTo>
                    <a:lnTo>
                      <a:pt x="f328" y="f381"/>
                    </a:lnTo>
                    <a:lnTo>
                      <a:pt x="f225" y="f383"/>
                    </a:lnTo>
                    <a:lnTo>
                      <a:pt x="f330" y="f384"/>
                    </a:lnTo>
                    <a:lnTo>
                      <a:pt x="f385" y="f384"/>
                    </a:lnTo>
                    <a:lnTo>
                      <a:pt x="f222" y="f386"/>
                    </a:lnTo>
                    <a:lnTo>
                      <a:pt x="f387" y="f383"/>
                    </a:lnTo>
                    <a:lnTo>
                      <a:pt x="f388" y="f383"/>
                    </a:lnTo>
                    <a:lnTo>
                      <a:pt x="f389" y="f390"/>
                    </a:lnTo>
                    <a:lnTo>
                      <a:pt x="f391" y="f392"/>
                    </a:lnTo>
                    <a:lnTo>
                      <a:pt x="f215" y="f393"/>
                    </a:lnTo>
                    <a:lnTo>
                      <a:pt x="f394" y="f395"/>
                    </a:lnTo>
                    <a:lnTo>
                      <a:pt x="f394" y="f396"/>
                    </a:lnTo>
                    <a:lnTo>
                      <a:pt x="f391" y="f397"/>
                    </a:lnTo>
                    <a:lnTo>
                      <a:pt x="f391" y="f398"/>
                    </a:lnTo>
                    <a:lnTo>
                      <a:pt x="f394" y="f399"/>
                    </a:lnTo>
                    <a:lnTo>
                      <a:pt x="f400" y="f401"/>
                    </a:lnTo>
                    <a:lnTo>
                      <a:pt x="f210" y="f402"/>
                    </a:lnTo>
                    <a:lnTo>
                      <a:pt x="f403" y="f404"/>
                    </a:lnTo>
                    <a:lnTo>
                      <a:pt x="f208" y="f405"/>
                    </a:lnTo>
                    <a:lnTo>
                      <a:pt x="f406" y="f407"/>
                    </a:lnTo>
                    <a:lnTo>
                      <a:pt x="f408" y="f7"/>
                    </a:lnTo>
                    <a:lnTo>
                      <a:pt x="f409" y="f7"/>
                    </a:lnTo>
                    <a:lnTo>
                      <a:pt x="f410" y="f411"/>
                    </a:lnTo>
                    <a:lnTo>
                      <a:pt x="f197" y="f407"/>
                    </a:lnTo>
                    <a:lnTo>
                      <a:pt x="f193" y="f407"/>
                    </a:lnTo>
                    <a:lnTo>
                      <a:pt x="f191" y="f412"/>
                    </a:lnTo>
                    <a:lnTo>
                      <a:pt x="f413" y="f414"/>
                    </a:lnTo>
                    <a:lnTo>
                      <a:pt x="f413" y="f405"/>
                    </a:lnTo>
                    <a:lnTo>
                      <a:pt x="f191" y="f415"/>
                    </a:lnTo>
                    <a:lnTo>
                      <a:pt x="f192" y="f416"/>
                    </a:lnTo>
                    <a:lnTo>
                      <a:pt x="f193" y="f417"/>
                    </a:lnTo>
                    <a:lnTo>
                      <a:pt x="f195" y="f418"/>
                    </a:lnTo>
                    <a:lnTo>
                      <a:pt x="f202" y="f419"/>
                    </a:lnTo>
                    <a:lnTo>
                      <a:pt x="f420" y="f421"/>
                    </a:lnTo>
                    <a:lnTo>
                      <a:pt x="f422" y="f421"/>
                    </a:lnTo>
                    <a:lnTo>
                      <a:pt x="f423" y="f393"/>
                    </a:lnTo>
                    <a:lnTo>
                      <a:pt x="f206" y="f424"/>
                    </a:lnTo>
                    <a:lnTo>
                      <a:pt x="f408" y="f386"/>
                    </a:lnTo>
                    <a:lnTo>
                      <a:pt x="f425" y="f426"/>
                    </a:lnTo>
                    <a:lnTo>
                      <a:pt x="f193" y="f380"/>
                    </a:lnTo>
                    <a:lnTo>
                      <a:pt x="f191" y="f379"/>
                    </a:lnTo>
                    <a:lnTo>
                      <a:pt x="f427" y="f428"/>
                    </a:lnTo>
                    <a:lnTo>
                      <a:pt x="f429" y="f430"/>
                    </a:lnTo>
                    <a:lnTo>
                      <a:pt x="f431" y="f432"/>
                    </a:lnTo>
                    <a:lnTo>
                      <a:pt x="f433" y="f434"/>
                    </a:lnTo>
                    <a:lnTo>
                      <a:pt x="f435" y="f436"/>
                    </a:lnTo>
                    <a:lnTo>
                      <a:pt x="f437" y="f372"/>
                    </a:lnTo>
                    <a:lnTo>
                      <a:pt x="f437" y="f438"/>
                    </a:lnTo>
                    <a:lnTo>
                      <a:pt x="f183" y="f365"/>
                    </a:lnTo>
                    <a:lnTo>
                      <a:pt x="f439" y="f440"/>
                    </a:lnTo>
                    <a:lnTo>
                      <a:pt x="f441" y="f359"/>
                    </a:lnTo>
                    <a:lnTo>
                      <a:pt x="f442" y="f359"/>
                    </a:lnTo>
                    <a:lnTo>
                      <a:pt x="f170" y="f360"/>
                    </a:lnTo>
                    <a:lnTo>
                      <a:pt x="f443" y="f365"/>
                    </a:lnTo>
                    <a:lnTo>
                      <a:pt x="f444" y="f445"/>
                    </a:lnTo>
                    <a:lnTo>
                      <a:pt x="f169" y="f446"/>
                    </a:lnTo>
                    <a:lnTo>
                      <a:pt x="f170" y="f447"/>
                    </a:lnTo>
                    <a:lnTo>
                      <a:pt x="f172" y="f448"/>
                    </a:lnTo>
                    <a:lnTo>
                      <a:pt x="f449" y="f450"/>
                    </a:lnTo>
                    <a:lnTo>
                      <a:pt x="f443" y="f377"/>
                    </a:lnTo>
                    <a:lnTo>
                      <a:pt x="f451" y="f434"/>
                    </a:lnTo>
                    <a:lnTo>
                      <a:pt x="f452" y="f453"/>
                    </a:lnTo>
                    <a:lnTo>
                      <a:pt x="f454" y="f448"/>
                    </a:lnTo>
                    <a:lnTo>
                      <a:pt x="f455" y="f374"/>
                    </a:lnTo>
                    <a:lnTo>
                      <a:pt x="f456" y="f457"/>
                    </a:lnTo>
                    <a:lnTo>
                      <a:pt x="f458" y="f371"/>
                    </a:lnTo>
                    <a:lnTo>
                      <a:pt x="f459" y="f438"/>
                    </a:lnTo>
                    <a:lnTo>
                      <a:pt x="f460" y="f445"/>
                    </a:lnTo>
                    <a:lnTo>
                      <a:pt x="f138" y="f362"/>
                    </a:lnTo>
                    <a:lnTo>
                      <a:pt x="f83" y="f357"/>
                    </a:lnTo>
                    <a:lnTo>
                      <a:pt x="f136" y="f353"/>
                    </a:lnTo>
                    <a:lnTo>
                      <a:pt x="f87" y="f461"/>
                    </a:lnTo>
                    <a:lnTo>
                      <a:pt x="f80" y="f462"/>
                    </a:lnTo>
                    <a:lnTo>
                      <a:pt x="f460" y="f463"/>
                    </a:lnTo>
                    <a:lnTo>
                      <a:pt x="f459" y="f464"/>
                    </a:lnTo>
                    <a:lnTo>
                      <a:pt x="f465" y="f348"/>
                    </a:lnTo>
                    <a:lnTo>
                      <a:pt x="f466" y="f347"/>
                    </a:lnTo>
                    <a:lnTo>
                      <a:pt x="f152" y="f467"/>
                    </a:lnTo>
                    <a:lnTo>
                      <a:pt x="f468" y="f469"/>
                    </a:lnTo>
                    <a:lnTo>
                      <a:pt x="f152" y="f470"/>
                    </a:lnTo>
                    <a:lnTo>
                      <a:pt x="f458" y="f471"/>
                    </a:lnTo>
                    <a:lnTo>
                      <a:pt x="f472" y="f471"/>
                    </a:lnTo>
                    <a:lnTo>
                      <a:pt x="f473" y="f474"/>
                    </a:lnTo>
                    <a:lnTo>
                      <a:pt x="f475" y="f476"/>
                    </a:lnTo>
                    <a:lnTo>
                      <a:pt x="f138" y="f477"/>
                    </a:lnTo>
                    <a:lnTo>
                      <a:pt x="f138" y="f478"/>
                    </a:lnTo>
                    <a:lnTo>
                      <a:pt x="f78" y="f479"/>
                    </a:lnTo>
                    <a:lnTo>
                      <a:pt x="f76" y="f480"/>
                    </a:lnTo>
                    <a:lnTo>
                      <a:pt x="f481" y="f482"/>
                    </a:lnTo>
                    <a:lnTo>
                      <a:pt x="f93" y="f483"/>
                    </a:lnTo>
                    <a:lnTo>
                      <a:pt x="f76" y="f334"/>
                    </a:lnTo>
                    <a:lnTo>
                      <a:pt x="f136" y="f484"/>
                    </a:lnTo>
                    <a:lnTo>
                      <a:pt x="f89" y="f331"/>
                    </a:lnTo>
                    <a:lnTo>
                      <a:pt x="f75" y="f485"/>
                    </a:lnTo>
                    <a:lnTo>
                      <a:pt x="f100" y="f486"/>
                    </a:lnTo>
                    <a:lnTo>
                      <a:pt x="f487" y="f488"/>
                    </a:lnTo>
                    <a:lnTo>
                      <a:pt x="f67" y="f489"/>
                    </a:lnTo>
                    <a:lnTo>
                      <a:pt x="f115" y="f490"/>
                    </a:lnTo>
                    <a:lnTo>
                      <a:pt x="f491" y="f322"/>
                    </a:lnTo>
                    <a:lnTo>
                      <a:pt x="f50" y="f492"/>
                    </a:lnTo>
                    <a:lnTo>
                      <a:pt x="f49" y="f322"/>
                    </a:lnTo>
                    <a:lnTo>
                      <a:pt x="f493" y="f494"/>
                    </a:lnTo>
                    <a:lnTo>
                      <a:pt x="f495" y="f496"/>
                    </a:lnTo>
                    <a:lnTo>
                      <a:pt x="f497" y="f486"/>
                    </a:lnTo>
                    <a:lnTo>
                      <a:pt x="f34" y="f498"/>
                    </a:lnTo>
                    <a:lnTo>
                      <a:pt x="f499" y="f500"/>
                    </a:lnTo>
                    <a:lnTo>
                      <a:pt x="f22" y="f501"/>
                    </a:lnTo>
                    <a:lnTo>
                      <a:pt x="f502" y="f324"/>
                    </a:lnTo>
                    <a:lnTo>
                      <a:pt x="f503" y="f504"/>
                    </a:lnTo>
                    <a:lnTo>
                      <a:pt x="f505" y="f321"/>
                    </a:lnTo>
                    <a:lnTo>
                      <a:pt x="f506" y="f316"/>
                    </a:lnTo>
                    <a:lnTo>
                      <a:pt x="f5" y="f507"/>
                    </a:lnTo>
                    <a:lnTo>
                      <a:pt x="f5" y="f6"/>
                    </a:lnTo>
                    <a:lnTo>
                      <a:pt x="f10" y="f161"/>
                    </a:lnTo>
                    <a:lnTo>
                      <a:pt x="f508" y="f190"/>
                    </a:lnTo>
                    <a:lnTo>
                      <a:pt x="f509" y="f159"/>
                    </a:lnTo>
                    <a:lnTo>
                      <a:pt x="f510" y="f175"/>
                    </a:lnTo>
                    <a:lnTo>
                      <a:pt x="f511" y="f175"/>
                    </a:lnTo>
                    <a:lnTo>
                      <a:pt x="f512" y="f513"/>
                    </a:lnTo>
                    <a:lnTo>
                      <a:pt x="f26" y="f514"/>
                    </a:lnTo>
                    <a:lnTo>
                      <a:pt x="f515" y="f157"/>
                    </a:lnTo>
                    <a:lnTo>
                      <a:pt x="f515" y="f185"/>
                    </a:lnTo>
                    <a:lnTo>
                      <a:pt x="f516" y="f198"/>
                    </a:lnTo>
                    <a:lnTo>
                      <a:pt x="f499" y="f517"/>
                    </a:lnTo>
                    <a:lnTo>
                      <a:pt x="f512" y="f151"/>
                    </a:lnTo>
                    <a:lnTo>
                      <a:pt x="f518" y="f519"/>
                    </a:lnTo>
                    <a:lnTo>
                      <a:pt x="f520" y="f149"/>
                    </a:lnTo>
                    <a:lnTo>
                      <a:pt x="f27" y="f263"/>
                    </a:lnTo>
                    <a:lnTo>
                      <a:pt x="f521" y="f223"/>
                    </a:lnTo>
                    <a:lnTo>
                      <a:pt x="f41" y="f209"/>
                    </a:lnTo>
                    <a:lnTo>
                      <a:pt x="f522" y="f226"/>
                    </a:lnTo>
                    <a:lnTo>
                      <a:pt x="f523" y="f146"/>
                    </a:lnTo>
                    <a:lnTo>
                      <a:pt x="f524" y="f144"/>
                    </a:lnTo>
                    <a:lnTo>
                      <a:pt x="f525" y="f143"/>
                    </a:lnTo>
                    <a:lnTo>
                      <a:pt x="f495" y="f217"/>
                    </a:lnTo>
                    <a:lnTo>
                      <a:pt x="f526" y="f217"/>
                    </a:lnTo>
                    <a:lnTo>
                      <a:pt x="f527" y="f528"/>
                    </a:lnTo>
                    <a:lnTo>
                      <a:pt x="f527" y="f137"/>
                    </a:lnTo>
                    <a:lnTo>
                      <a:pt x="f526" y="f278"/>
                    </a:lnTo>
                    <a:lnTo>
                      <a:pt x="f526" y="f234"/>
                    </a:lnTo>
                    <a:lnTo>
                      <a:pt x="f529" y="f129"/>
                    </a:lnTo>
                    <a:lnTo>
                      <a:pt x="f48" y="f236"/>
                    </a:lnTo>
                    <a:lnTo>
                      <a:pt x="f530" y="f268"/>
                    </a:lnTo>
                    <a:lnTo>
                      <a:pt x="f50" y="f268"/>
                    </a:lnTo>
                    <a:lnTo>
                      <a:pt x="f531" y="f134"/>
                    </a:lnTo>
                    <a:lnTo>
                      <a:pt x="f532" y="f132"/>
                    </a:lnTo>
                    <a:lnTo>
                      <a:pt x="f533" y="f125"/>
                    </a:lnTo>
                    <a:lnTo>
                      <a:pt x="f493" y="f534"/>
                    </a:lnTo>
                    <a:lnTo>
                      <a:pt x="f535" y="f123"/>
                    </a:lnTo>
                    <a:lnTo>
                      <a:pt x="f47" y="f275"/>
                    </a:lnTo>
                    <a:lnTo>
                      <a:pt x="f495" y="f244"/>
                    </a:lnTo>
                    <a:lnTo>
                      <a:pt x="f535" y="f536"/>
                    </a:lnTo>
                    <a:lnTo>
                      <a:pt x="f537" y="f538"/>
                    </a:lnTo>
                    <a:lnTo>
                      <a:pt x="f539" y="f90"/>
                    </a:lnTo>
                    <a:lnTo>
                      <a:pt x="f526" y="f82"/>
                    </a:lnTo>
                    <a:lnTo>
                      <a:pt x="f540" y="f541"/>
                    </a:lnTo>
                    <a:lnTo>
                      <a:pt x="f542" y="f543"/>
                    </a:lnTo>
                    <a:lnTo>
                      <a:pt x="f542" y="f544"/>
                    </a:lnTo>
                    <a:lnTo>
                      <a:pt x="f545" y="f30"/>
                    </a:lnTo>
                    <a:lnTo>
                      <a:pt x="f546" y="f33"/>
                    </a:lnTo>
                    <a:lnTo>
                      <a:pt x="f547" y="f36"/>
                    </a:lnTo>
                    <a:lnTo>
                      <a:pt x="f495" y="f39"/>
                    </a:lnTo>
                    <a:lnTo>
                      <a:pt x="f495" y="f42"/>
                    </a:lnTo>
                    <a:lnTo>
                      <a:pt x="f548" y="f549"/>
                    </a:lnTo>
                    <a:lnTo>
                      <a:pt x="f547" y="f63"/>
                    </a:lnTo>
                    <a:lnTo>
                      <a:pt x="f547" y="f282"/>
                    </a:lnTo>
                    <a:lnTo>
                      <a:pt x="f548" y="f70"/>
                    </a:lnTo>
                    <a:lnTo>
                      <a:pt x="f548" y="f68"/>
                    </a:lnTo>
                    <a:lnTo>
                      <a:pt x="f526" y="f550"/>
                    </a:lnTo>
                    <a:lnTo>
                      <a:pt x="f551" y="f285"/>
                    </a:lnTo>
                    <a:lnTo>
                      <a:pt x="f537" y="f8"/>
                    </a:lnTo>
                    <a:lnTo>
                      <a:pt x="f493" y="f552"/>
                    </a:lnTo>
                    <a:lnTo>
                      <a:pt x="f553" y="f552"/>
                    </a:lnTo>
                    <a:lnTo>
                      <a:pt x="f533" y="f285"/>
                    </a:lnTo>
                    <a:lnTo>
                      <a:pt x="f554" y="f550"/>
                    </a:lnTo>
                    <a:lnTo>
                      <a:pt x="f49" y="f14"/>
                    </a:lnTo>
                    <a:lnTo>
                      <a:pt x="f555" y="f68"/>
                    </a:lnTo>
                    <a:lnTo>
                      <a:pt x="f556" y="f14"/>
                    </a:lnTo>
                    <a:lnTo>
                      <a:pt x="f557" y="f285"/>
                    </a:lnTo>
                    <a:lnTo>
                      <a:pt x="f50" y="f290"/>
                    </a:lnTo>
                    <a:lnTo>
                      <a:pt x="f558" y="f292"/>
                    </a:lnTo>
                    <a:lnTo>
                      <a:pt x="f120" y="f559"/>
                    </a:lnTo>
                    <a:lnTo>
                      <a:pt x="f491" y="f560"/>
                    </a:lnTo>
                    <a:lnTo>
                      <a:pt x="f532" y="f246"/>
                    </a:lnTo>
                    <a:lnTo>
                      <a:pt x="f556" y="f258"/>
                    </a:lnTo>
                    <a:lnTo>
                      <a:pt x="f561" y="f562"/>
                    </a:lnTo>
                    <a:lnTo>
                      <a:pt x="f563" y="f564"/>
                    </a:lnTo>
                    <a:lnTo>
                      <a:pt x="f128" y="f565"/>
                    </a:lnTo>
                    <a:lnTo>
                      <a:pt x="f106" y="f566"/>
                    </a:lnTo>
                    <a:lnTo>
                      <a:pt x="f53" y="f567"/>
                    </a:lnTo>
                    <a:lnTo>
                      <a:pt x="f120" y="f568"/>
                    </a:lnTo>
                    <a:lnTo>
                      <a:pt x="f122" y="f569"/>
                    </a:lnTo>
                    <a:lnTo>
                      <a:pt x="f124" y="f307"/>
                    </a:lnTo>
                    <a:lnTo>
                      <a:pt x="f51" y="f345"/>
                    </a:lnTo>
                    <a:lnTo>
                      <a:pt x="f106" y="f310"/>
                    </a:lnTo>
                    <a:lnTo>
                      <a:pt x="f62" y="f328"/>
                    </a:lnTo>
                    <a:lnTo>
                      <a:pt x="f71" y="f385"/>
                    </a:lnTo>
                    <a:lnTo>
                      <a:pt x="f72" y="f220"/>
                    </a:lnTo>
                    <a:lnTo>
                      <a:pt x="f100" y="f570"/>
                    </a:lnTo>
                    <a:lnTo>
                      <a:pt x="f96" y="f570"/>
                    </a:lnTo>
                    <a:lnTo>
                      <a:pt x="f481" y="f220"/>
                    </a:lnTo>
                    <a:lnTo>
                      <a:pt x="f136" y="f314"/>
                    </a:lnTo>
                    <a:lnTo>
                      <a:pt x="f83" y="f332"/>
                    </a:lnTo>
                    <a:lnTo>
                      <a:pt x="f140" y="f332"/>
                    </a:lnTo>
                    <a:lnTo>
                      <a:pt x="f460" y="f314"/>
                    </a:lnTo>
                    <a:lnTo>
                      <a:pt x="f571" y="f570"/>
                    </a:lnTo>
                    <a:lnTo>
                      <a:pt x="f150" y="f388"/>
                    </a:lnTo>
                    <a:lnTo>
                      <a:pt x="f458" y="f572"/>
                    </a:lnTo>
                    <a:lnTo>
                      <a:pt x="f573" y="f215"/>
                    </a:lnTo>
                    <a:lnTo>
                      <a:pt x="f156" y="f394"/>
                    </a:lnTo>
                    <a:lnTo>
                      <a:pt x="f158" y="f574"/>
                    </a:lnTo>
                    <a:lnTo>
                      <a:pt x="f455" y="f211"/>
                    </a:lnTo>
                    <a:lnTo>
                      <a:pt x="f160" y="f575"/>
                    </a:lnTo>
                    <a:lnTo>
                      <a:pt x="f576" y="f422"/>
                    </a:lnTo>
                    <a:lnTo>
                      <a:pt x="f577" y="f420"/>
                    </a:lnTo>
                    <a:lnTo>
                      <a:pt x="f578" y="f193"/>
                    </a:lnTo>
                    <a:lnTo>
                      <a:pt x="f451" y="f189"/>
                    </a:lnTo>
                    <a:lnTo>
                      <a:pt x="f451" y="f579"/>
                    </a:lnTo>
                    <a:lnTo>
                      <a:pt x="f580" y="f186"/>
                    </a:lnTo>
                    <a:lnTo>
                      <a:pt x="f581" y="f437"/>
                    </a:lnTo>
                    <a:lnTo>
                      <a:pt x="f451" y="f582"/>
                    </a:lnTo>
                    <a:lnTo>
                      <a:pt x="f583" y="f584"/>
                    </a:lnTo>
                    <a:lnTo>
                      <a:pt x="f449" y="f584"/>
                    </a:lnTo>
                    <a:lnTo>
                      <a:pt x="f585" y="f181"/>
                    </a:lnTo>
                    <a:lnTo>
                      <a:pt x="f586" y="f441"/>
                    </a:lnTo>
                    <a:lnTo>
                      <a:pt x="f587" y="f582"/>
                    </a:lnTo>
                    <a:lnTo>
                      <a:pt x="f588" y="f589"/>
                    </a:lnTo>
                    <a:lnTo>
                      <a:pt x="f431" y="f590"/>
                    </a:lnTo>
                    <a:lnTo>
                      <a:pt x="f591" y="f592"/>
                    </a:lnTo>
                    <a:lnTo>
                      <a:pt x="f593" y="f583"/>
                    </a:lnTo>
                    <a:lnTo>
                      <a:pt x="f594" y="f578"/>
                    </a:lnTo>
                    <a:lnTo>
                      <a:pt x="f427" y="f452"/>
                    </a:lnTo>
                    <a:lnTo>
                      <a:pt x="f595" y="f454"/>
                    </a:lnTo>
                    <a:lnTo>
                      <a:pt x="f595" y="f160"/>
                    </a:lnTo>
                    <a:lnTo>
                      <a:pt x="f596" y="f597"/>
                    </a:lnTo>
                    <a:lnTo>
                      <a:pt x="f579" y="f459"/>
                    </a:lnTo>
                    <a:lnTo>
                      <a:pt x="f598" y="f599"/>
                    </a:lnTo>
                    <a:lnTo>
                      <a:pt x="f431" y="f138"/>
                    </a:lnTo>
                    <a:lnTo>
                      <a:pt x="f184" y="f140"/>
                    </a:lnTo>
                    <a:lnTo>
                      <a:pt x="f435" y="f473"/>
                    </a:lnTo>
                    <a:lnTo>
                      <a:pt x="f584" y="f600"/>
                    </a:lnTo>
                    <a:lnTo>
                      <a:pt x="f590" y="f465"/>
                    </a:lnTo>
                    <a:lnTo>
                      <a:pt x="f601" y="f602"/>
                    </a:lnTo>
                    <a:lnTo>
                      <a:pt x="f449" y="f140"/>
                    </a:lnTo>
                    <a:lnTo>
                      <a:pt x="f449" y="f80"/>
                    </a:lnTo>
                    <a:lnTo>
                      <a:pt x="f172" y="f85"/>
                    </a:lnTo>
                    <a:lnTo>
                      <a:pt x="f603" y="f89"/>
                    </a:lnTo>
                    <a:lnTo>
                      <a:pt x="f584" y="f95"/>
                    </a:lnTo>
                    <a:lnTo>
                      <a:pt x="f586" y="f72"/>
                    </a:lnTo>
                    <a:lnTo>
                      <a:pt x="f435" y="f71"/>
                    </a:lnTo>
                    <a:lnTo>
                      <a:pt x="f604" y="f64"/>
                    </a:lnTo>
                    <a:lnTo>
                      <a:pt x="f588" y="f103"/>
                    </a:lnTo>
                    <a:lnTo>
                      <a:pt x="f598" y="f131"/>
                    </a:lnTo>
                    <a:lnTo>
                      <a:pt x="f595" y="f115"/>
                    </a:lnTo>
                    <a:lnTo>
                      <a:pt x="f202" y="f59"/>
                    </a:lnTo>
                    <a:lnTo>
                      <a:pt x="f206" y="f104"/>
                    </a:lnTo>
                    <a:lnTo>
                      <a:pt x="f210" y="f57"/>
                    </a:lnTo>
                    <a:lnTo>
                      <a:pt x="f389" y="f55"/>
                    </a:lnTo>
                    <a:lnTo>
                      <a:pt x="f605" y="f53"/>
                    </a:lnTo>
                    <a:lnTo>
                      <a:pt x="f219" y="f122"/>
                    </a:lnTo>
                    <a:lnTo>
                      <a:pt x="f606" y="f607"/>
                    </a:lnTo>
                    <a:lnTo>
                      <a:pt x="f388" y="f530"/>
                    </a:lnTo>
                    <a:lnTo>
                      <a:pt x="f216" y="f608"/>
                    </a:lnTo>
                    <a:lnTo>
                      <a:pt x="f216" y="f537"/>
                    </a:lnTo>
                    <a:lnTo>
                      <a:pt x="f388" y="f527"/>
                    </a:lnTo>
                    <a:lnTo>
                      <a:pt x="f219" y="f548"/>
                    </a:lnTo>
                    <a:lnTo>
                      <a:pt x="f609" y="f525"/>
                    </a:lnTo>
                    <a:lnTo>
                      <a:pt x="f330" y="f610"/>
                    </a:lnTo>
                    <a:lnTo>
                      <a:pt x="f227" y="f548"/>
                    </a:lnTo>
                    <a:lnTo>
                      <a:pt x="f310" y="f551"/>
                    </a:lnTo>
                    <a:lnTo>
                      <a:pt x="f345" y="f608"/>
                    </a:lnTo>
                    <a:lnTo>
                      <a:pt x="f307" y="f49"/>
                    </a:lnTo>
                    <a:lnTo>
                      <a:pt x="f237" y="f49"/>
                    </a:lnTo>
                    <a:lnTo>
                      <a:pt x="f303" y="f554"/>
                    </a:lnTo>
                    <a:lnTo>
                      <a:pt x="f611" y="f608"/>
                    </a:lnTo>
                    <a:lnTo>
                      <a:pt x="f238" y="f612"/>
                    </a:lnTo>
                    <a:lnTo>
                      <a:pt x="f613" y="f537"/>
                    </a:lnTo>
                    <a:lnTo>
                      <a:pt x="f614" y="f527"/>
                    </a:lnTo>
                    <a:lnTo>
                      <a:pt x="f615" y="f616"/>
                    </a:lnTo>
                    <a:lnTo>
                      <a:pt x="f294" y="f522"/>
                    </a:lnTo>
                    <a:lnTo>
                      <a:pt x="f617" y="f37"/>
                    </a:lnTo>
                    <a:lnTo>
                      <a:pt x="f247" y="f518"/>
                    </a:lnTo>
                    <a:lnTo>
                      <a:pt x="f255" y="f618"/>
                    </a:lnTo>
                    <a:lnTo>
                      <a:pt x="f255" y="f510"/>
                    </a:lnTo>
                    <a:lnTo>
                      <a:pt x="f248" y="f619"/>
                    </a:lnTo>
                    <a:lnTo>
                      <a:pt x="f249" y="f503"/>
                    </a:lnTo>
                    <a:lnTo>
                      <a:pt x="f264" y="f18"/>
                    </a:lnTo>
                    <a:lnTo>
                      <a:pt x="f620" y="f12"/>
                    </a:lnTo>
                    <a:lnTo>
                      <a:pt x="f620" y="f621"/>
                    </a:lnTo>
                    <a:lnTo>
                      <a:pt x="f559" y="f622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09467C74-406A-4094-94F8-4EA37F651CA1}"/>
                  </a:ext>
                </a:extLst>
              </p:cNvPr>
              <p:cNvSpPr/>
              <p:nvPr/>
            </p:nvSpPr>
            <p:spPr>
              <a:xfrm rot="21447621">
                <a:off x="5051347" y="1695032"/>
                <a:ext cx="452216" cy="334450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797"/>
                  <a:gd name="f8" fmla="val 622"/>
                  <a:gd name="f9" fmla="val 237"/>
                  <a:gd name="f10" fmla="val 243"/>
                  <a:gd name="f11" fmla="val 2"/>
                  <a:gd name="f12" fmla="val 249"/>
                  <a:gd name="f13" fmla="val 5"/>
                  <a:gd name="f14" fmla="val 252"/>
                  <a:gd name="f15" fmla="val 9"/>
                  <a:gd name="f16" fmla="val 256"/>
                  <a:gd name="f17" fmla="val 12"/>
                  <a:gd name="f18" fmla="val 260"/>
                  <a:gd name="f19" fmla="val 13"/>
                  <a:gd name="f20" fmla="val 266"/>
                  <a:gd name="f21" fmla="val 273"/>
                  <a:gd name="f22" fmla="val 14"/>
                  <a:gd name="f23" fmla="val 279"/>
                  <a:gd name="f24" fmla="val 19"/>
                  <a:gd name="f25" fmla="val 285"/>
                  <a:gd name="f26" fmla="val 25"/>
                  <a:gd name="f27" fmla="val 292"/>
                  <a:gd name="f28" fmla="val 31"/>
                  <a:gd name="f29" fmla="val 298"/>
                  <a:gd name="f30" fmla="val 34"/>
                  <a:gd name="f31" fmla="val 306"/>
                  <a:gd name="f32" fmla="val 36"/>
                  <a:gd name="f33" fmla="val 312"/>
                  <a:gd name="f34" fmla="val 42"/>
                  <a:gd name="f35" fmla="val 317"/>
                  <a:gd name="f36" fmla="val 48"/>
                  <a:gd name="f37" fmla="val 320"/>
                  <a:gd name="f38" fmla="val 56"/>
                  <a:gd name="f39" fmla="val 322"/>
                  <a:gd name="f40" fmla="val 64"/>
                  <a:gd name="f41" fmla="val 323"/>
                  <a:gd name="f42" fmla="val 70"/>
                  <a:gd name="f43" fmla="val 75"/>
                  <a:gd name="f44" fmla="val 318"/>
                  <a:gd name="f45" fmla="val 78"/>
                  <a:gd name="f46" fmla="val 319"/>
                  <a:gd name="f47" fmla="val 82"/>
                  <a:gd name="f48" fmla="val 321"/>
                  <a:gd name="f49" fmla="val 86"/>
                  <a:gd name="f50" fmla="val 91"/>
                  <a:gd name="f51" fmla="val 95"/>
                  <a:gd name="f52" fmla="val 99"/>
                  <a:gd name="f53" fmla="val 315"/>
                  <a:gd name="f54" fmla="val 104"/>
                  <a:gd name="f55" fmla="val 314"/>
                  <a:gd name="f56" fmla="val 109"/>
                  <a:gd name="f57" fmla="val 112"/>
                  <a:gd name="f58" fmla="val 113"/>
                  <a:gd name="f59" fmla="val 328"/>
                  <a:gd name="f60" fmla="val 111"/>
                  <a:gd name="f61" fmla="val 333"/>
                  <a:gd name="f62" fmla="val 340"/>
                  <a:gd name="f63" fmla="val 114"/>
                  <a:gd name="f64" fmla="val 348"/>
                  <a:gd name="f65" fmla="val 355"/>
                  <a:gd name="f66" fmla="val 363"/>
                  <a:gd name="f67" fmla="val 371"/>
                  <a:gd name="f68" fmla="val 100"/>
                  <a:gd name="f69" fmla="val 377"/>
                  <a:gd name="f70" fmla="val 385"/>
                  <a:gd name="f71" fmla="val 105"/>
                  <a:gd name="f72" fmla="val 396"/>
                  <a:gd name="f73" fmla="val 409"/>
                  <a:gd name="f74" fmla="val 117"/>
                  <a:gd name="f75" fmla="val 422"/>
                  <a:gd name="f76" fmla="val 121"/>
                  <a:gd name="f77" fmla="val 435"/>
                  <a:gd name="f78" fmla="val 123"/>
                  <a:gd name="f79" fmla="val 445"/>
                  <a:gd name="f80" fmla="val 122"/>
                  <a:gd name="f81" fmla="val 457"/>
                  <a:gd name="f82" fmla="val 120"/>
                  <a:gd name="f83" fmla="val 470"/>
                  <a:gd name="f84" fmla="val 483"/>
                  <a:gd name="f85" fmla="val 494"/>
                  <a:gd name="f86" fmla="val 110"/>
                  <a:gd name="f87" fmla="val 503"/>
                  <a:gd name="f88" fmla="val 108"/>
                  <a:gd name="f89" fmla="val 509"/>
                  <a:gd name="f90" fmla="val 514"/>
                  <a:gd name="f91" fmla="val 525"/>
                  <a:gd name="f92" fmla="val 528"/>
                  <a:gd name="f93" fmla="val 531"/>
                  <a:gd name="f94" fmla="val 119"/>
                  <a:gd name="f95" fmla="val 534"/>
                  <a:gd name="f96" fmla="val 536"/>
                  <a:gd name="f97" fmla="val 538"/>
                  <a:gd name="f98" fmla="val 88"/>
                  <a:gd name="f99" fmla="val 540"/>
                  <a:gd name="f100" fmla="val 77"/>
                  <a:gd name="f101" fmla="val 542"/>
                  <a:gd name="f102" fmla="val 69"/>
                  <a:gd name="f103" fmla="val 545"/>
                  <a:gd name="f104" fmla="val 65"/>
                  <a:gd name="f105" fmla="val 549"/>
                  <a:gd name="f106" fmla="val 61"/>
                  <a:gd name="f107" fmla="val 554"/>
                  <a:gd name="f108" fmla="val 53"/>
                  <a:gd name="f109" fmla="val 560"/>
                  <a:gd name="f110" fmla="val 45"/>
                  <a:gd name="f111" fmla="val 566"/>
                  <a:gd name="f112" fmla="val 39"/>
                  <a:gd name="f113" fmla="val 572"/>
                  <a:gd name="f114" fmla="val 581"/>
                  <a:gd name="f115" fmla="val 37"/>
                  <a:gd name="f116" fmla="val 592"/>
                  <a:gd name="f117" fmla="val 38"/>
                  <a:gd name="f118" fmla="val 601"/>
                  <a:gd name="f119" fmla="val 41"/>
                  <a:gd name="f120" fmla="val 607"/>
                  <a:gd name="f121" fmla="val 608"/>
                  <a:gd name="f122" fmla="val 46"/>
                  <a:gd name="f123" fmla="val 609"/>
                  <a:gd name="f124" fmla="val 49"/>
                  <a:gd name="f125" fmla="val 51"/>
                  <a:gd name="f126" fmla="val 611"/>
                  <a:gd name="f127" fmla="val 612"/>
                  <a:gd name="f128" fmla="val 50"/>
                  <a:gd name="f129" fmla="val 618"/>
                  <a:gd name="f130" fmla="val 625"/>
                  <a:gd name="f131" fmla="val 637"/>
                  <a:gd name="f132" fmla="val 650"/>
                  <a:gd name="f133" fmla="val 33"/>
                  <a:gd name="f134" fmla="val 662"/>
                  <a:gd name="f135" fmla="val 29"/>
                  <a:gd name="f136" fmla="val 677"/>
                  <a:gd name="f137" fmla="val 23"/>
                  <a:gd name="f138" fmla="val 680"/>
                  <a:gd name="f139" fmla="val 683"/>
                  <a:gd name="f140" fmla="val 687"/>
                  <a:gd name="f141" fmla="val 690"/>
                  <a:gd name="f142" fmla="val 30"/>
                  <a:gd name="f143" fmla="val 693"/>
                  <a:gd name="f144" fmla="val 28"/>
                  <a:gd name="f145" fmla="val 695"/>
                  <a:gd name="f146" fmla="val 696"/>
                  <a:gd name="f147" fmla="val 18"/>
                  <a:gd name="f148" fmla="val 698"/>
                  <a:gd name="f149" fmla="val 15"/>
                  <a:gd name="f150" fmla="val 702"/>
                  <a:gd name="f151" fmla="val 704"/>
                  <a:gd name="f152" fmla="val 11"/>
                  <a:gd name="f153" fmla="val 709"/>
                  <a:gd name="f154" fmla="val 712"/>
                  <a:gd name="f155" fmla="val 10"/>
                  <a:gd name="f156" fmla="val 711"/>
                  <a:gd name="f157" fmla="val 17"/>
                  <a:gd name="f158" fmla="val 708"/>
                  <a:gd name="f159" fmla="val 21"/>
                  <a:gd name="f160" fmla="val 720"/>
                  <a:gd name="f161" fmla="val 35"/>
                  <a:gd name="f162" fmla="val 732"/>
                  <a:gd name="f163" fmla="val 745"/>
                  <a:gd name="f164" fmla="val 756"/>
                  <a:gd name="f165" fmla="val 766"/>
                  <a:gd name="f166" fmla="val 55"/>
                  <a:gd name="f167" fmla="val 771"/>
                  <a:gd name="f168" fmla="val 59"/>
                  <a:gd name="f169" fmla="val 774"/>
                  <a:gd name="f170" fmla="val 776"/>
                  <a:gd name="f171" fmla="val 73"/>
                  <a:gd name="f172" fmla="val 94"/>
                  <a:gd name="f173" fmla="val 779"/>
                  <a:gd name="f174" fmla="val 785"/>
                  <a:gd name="f175" fmla="val 116"/>
                  <a:gd name="f176" fmla="val 791"/>
                  <a:gd name="f177" fmla="val 125"/>
                  <a:gd name="f178" fmla="val 796"/>
                  <a:gd name="f179" fmla="val 135"/>
                  <a:gd name="f180" fmla="val 142"/>
                  <a:gd name="f181" fmla="val 795"/>
                  <a:gd name="f182" fmla="val 153"/>
                  <a:gd name="f183" fmla="val 792"/>
                  <a:gd name="f184" fmla="val 165"/>
                  <a:gd name="f185" fmla="val 788"/>
                  <a:gd name="f186" fmla="val 178"/>
                  <a:gd name="f187" fmla="val 190"/>
                  <a:gd name="f188" fmla="val 782"/>
                  <a:gd name="f189" fmla="val 201"/>
                  <a:gd name="f190" fmla="val 780"/>
                  <a:gd name="f191" fmla="val 219"/>
                  <a:gd name="f192" fmla="val 778"/>
                  <a:gd name="f193" fmla="val 232"/>
                  <a:gd name="f194" fmla="val 770"/>
                  <a:gd name="f195" fmla="val 261"/>
                  <a:gd name="f196" fmla="val 274"/>
                  <a:gd name="f197" fmla="val 761"/>
                  <a:gd name="f198" fmla="val 753"/>
                  <a:gd name="f199" fmla="val 297"/>
                  <a:gd name="f200" fmla="val 751"/>
                  <a:gd name="f201" fmla="val 303"/>
                  <a:gd name="f202" fmla="val 750"/>
                  <a:gd name="f203" fmla="val 311"/>
                  <a:gd name="f204" fmla="val 747"/>
                  <a:gd name="f205" fmla="val 743"/>
                  <a:gd name="f206" fmla="val 325"/>
                  <a:gd name="f207" fmla="val 737"/>
                  <a:gd name="f208" fmla="val 326"/>
                  <a:gd name="f209" fmla="val 730"/>
                  <a:gd name="f210" fmla="val 722"/>
                  <a:gd name="f211" fmla="val 706"/>
                  <a:gd name="f212" fmla="val 699"/>
                  <a:gd name="f213" fmla="val 310"/>
                  <a:gd name="f214" fmla="val 694"/>
                  <a:gd name="f215" fmla="val 305"/>
                  <a:gd name="f216" fmla="val 300"/>
                  <a:gd name="f217" fmla="val 700"/>
                  <a:gd name="f218" fmla="val 295"/>
                  <a:gd name="f219" fmla="val 703"/>
                  <a:gd name="f220" fmla="val 290"/>
                  <a:gd name="f221" fmla="val 705"/>
                  <a:gd name="f222" fmla="val 286"/>
                  <a:gd name="f223" fmla="val 284"/>
                  <a:gd name="f224" fmla="val 697"/>
                  <a:gd name="f225" fmla="val 692"/>
                  <a:gd name="f226" fmla="val 686"/>
                  <a:gd name="f227" fmla="val 280"/>
                  <a:gd name="f228" fmla="val 682"/>
                  <a:gd name="f229" fmla="val 276"/>
                  <a:gd name="f230" fmla="val 684"/>
                  <a:gd name="f231" fmla="val 271"/>
                  <a:gd name="f232" fmla="val 267"/>
                  <a:gd name="f233" fmla="val 263"/>
                  <a:gd name="f234" fmla="val 258"/>
                  <a:gd name="f235" fmla="val 681"/>
                  <a:gd name="f236" fmla="val 255"/>
                  <a:gd name="f237" fmla="val 674"/>
                  <a:gd name="f238" fmla="val 665"/>
                  <a:gd name="f239" fmla="val 242"/>
                  <a:gd name="f240" fmla="val 660"/>
                  <a:gd name="f241" fmla="val 238"/>
                  <a:gd name="f242" fmla="val 656"/>
                  <a:gd name="f243" fmla="val 241"/>
                  <a:gd name="f244" fmla="val 646"/>
                  <a:gd name="f245" fmla="val 244"/>
                  <a:gd name="f246" fmla="val 639"/>
                  <a:gd name="f247" fmla="val 247"/>
                  <a:gd name="f248" fmla="val 632"/>
                  <a:gd name="f249" fmla="val 627"/>
                  <a:gd name="f250" fmla="val 248"/>
                  <a:gd name="f251" fmla="val 246"/>
                  <a:gd name="f252" fmla="val 617"/>
                  <a:gd name="f253" fmla="val 605"/>
                  <a:gd name="f254" fmla="val 604"/>
                  <a:gd name="f255" fmla="val 254"/>
                  <a:gd name="f256" fmla="val 603"/>
                  <a:gd name="f257" fmla="val 262"/>
                  <a:gd name="f258" fmla="val 610"/>
                  <a:gd name="f259" fmla="val 613"/>
                  <a:gd name="f260" fmla="val 615"/>
                  <a:gd name="f261" fmla="val 623"/>
                  <a:gd name="f262" fmla="val 624"/>
                  <a:gd name="f263" fmla="val 264"/>
                  <a:gd name="f264" fmla="val 278"/>
                  <a:gd name="f265" fmla="val 626"/>
                  <a:gd name="f266" fmla="val 629"/>
                  <a:gd name="f267" fmla="val 282"/>
                  <a:gd name="f268" fmla="val 635"/>
                  <a:gd name="f269" fmla="val 299"/>
                  <a:gd name="f270" fmla="val 634"/>
                  <a:gd name="f271" fmla="val 630"/>
                  <a:gd name="f272" fmla="val 307"/>
                  <a:gd name="f273" fmla="val 308"/>
                  <a:gd name="f274" fmla="val 309"/>
                  <a:gd name="f275" fmla="val 600"/>
                  <a:gd name="f276" fmla="val 313"/>
                  <a:gd name="f277" fmla="val 590"/>
                  <a:gd name="f278" fmla="val 580"/>
                  <a:gd name="f279" fmla="val 570"/>
                  <a:gd name="f280" fmla="val 334"/>
                  <a:gd name="f281" fmla="val 339"/>
                  <a:gd name="f282" fmla="val 550"/>
                  <a:gd name="f283" fmla="val 342"/>
                  <a:gd name="f284" fmla="val 539"/>
                  <a:gd name="f285" fmla="val 344"/>
                  <a:gd name="f286" fmla="val 529"/>
                  <a:gd name="f287" fmla="val 345"/>
                  <a:gd name="f288" fmla="val 522"/>
                  <a:gd name="f289" fmla="val 347"/>
                  <a:gd name="f290" fmla="val 517"/>
                  <a:gd name="f291" fmla="val 351"/>
                  <a:gd name="f292" fmla="val 515"/>
                  <a:gd name="f293" fmla="val 357"/>
                  <a:gd name="f294" fmla="val 512"/>
                  <a:gd name="f295" fmla="val 508"/>
                  <a:gd name="f296" fmla="val 370"/>
                  <a:gd name="f297" fmla="val 502"/>
                  <a:gd name="f298" fmla="val 375"/>
                  <a:gd name="f299" fmla="val 378"/>
                  <a:gd name="f300" fmla="val 380"/>
                  <a:gd name="f301" fmla="val 458"/>
                  <a:gd name="f302" fmla="val 381"/>
                  <a:gd name="f303" fmla="val 382"/>
                  <a:gd name="f304" fmla="val 436"/>
                  <a:gd name="f305" fmla="val 383"/>
                  <a:gd name="f306" fmla="val 428"/>
                  <a:gd name="f307" fmla="val 421"/>
                  <a:gd name="f308" fmla="val 387"/>
                  <a:gd name="f309" fmla="val 417"/>
                  <a:gd name="f310" fmla="val 390"/>
                  <a:gd name="f311" fmla="val 415"/>
                  <a:gd name="f312" fmla="val 413"/>
                  <a:gd name="f313" fmla="val 412"/>
                  <a:gd name="f314" fmla="val 410"/>
                  <a:gd name="f315" fmla="val 420"/>
                  <a:gd name="f316" fmla="val 406"/>
                  <a:gd name="f317" fmla="val 425"/>
                  <a:gd name="f318" fmla="val 400"/>
                  <a:gd name="f319" fmla="val 427"/>
                  <a:gd name="f320" fmla="val 419"/>
                  <a:gd name="f321" fmla="val 414"/>
                  <a:gd name="f322" fmla="val 379"/>
                  <a:gd name="f323" fmla="val 431"/>
                  <a:gd name="f324" fmla="val 364"/>
                  <a:gd name="f325" fmla="val 359"/>
                  <a:gd name="f326" fmla="val 439"/>
                  <a:gd name="f327" fmla="val 352"/>
                  <a:gd name="f328" fmla="val 440"/>
                  <a:gd name="f329" fmla="val 343"/>
                  <a:gd name="f330" fmla="val 443"/>
                  <a:gd name="f331" fmla="val 341"/>
                  <a:gd name="f332" fmla="val 449"/>
                  <a:gd name="f333" fmla="val 456"/>
                  <a:gd name="f334" fmla="val 472"/>
                  <a:gd name="f335" fmla="val 335"/>
                  <a:gd name="f336" fmla="val 476"/>
                  <a:gd name="f337" fmla="val 479"/>
                  <a:gd name="f338" fmla="val 480"/>
                  <a:gd name="f339" fmla="val 481"/>
                  <a:gd name="f340" fmla="val 301"/>
                  <a:gd name="f341" fmla="val 294"/>
                  <a:gd name="f342" fmla="val 485"/>
                  <a:gd name="f343" fmla="val 289"/>
                  <a:gd name="f344" fmla="val 491"/>
                  <a:gd name="f345" fmla="val 287"/>
                  <a:gd name="f346" fmla="val 498"/>
                  <a:gd name="f347" fmla="val 506"/>
                  <a:gd name="f348" fmla="val 283"/>
                  <a:gd name="f349" fmla="val 513"/>
                  <a:gd name="f350" fmla="val 518"/>
                  <a:gd name="f351" fmla="val 519"/>
                  <a:gd name="f352" fmla="val 269"/>
                  <a:gd name="f353" fmla="val 516"/>
                  <a:gd name="f354" fmla="val 504"/>
                  <a:gd name="f355" fmla="val 233"/>
                  <a:gd name="f356" fmla="val 223"/>
                  <a:gd name="f357" fmla="val 217"/>
                  <a:gd name="f358" fmla="val 505"/>
                  <a:gd name="f359" fmla="val 214"/>
                  <a:gd name="f360" fmla="val 212"/>
                  <a:gd name="f361" fmla="val 210"/>
                  <a:gd name="f362" fmla="val 520"/>
                  <a:gd name="f363" fmla="val 208"/>
                  <a:gd name="f364" fmla="val 523"/>
                  <a:gd name="f365" fmla="val 202"/>
                  <a:gd name="f366" fmla="val 196"/>
                  <a:gd name="f367" fmla="val 524"/>
                  <a:gd name="f368" fmla="val 189"/>
                  <a:gd name="f369" fmla="val 183"/>
                  <a:gd name="f370" fmla="val 171"/>
                  <a:gd name="f371" fmla="val 164"/>
                  <a:gd name="f372" fmla="val 526"/>
                  <a:gd name="f373" fmla="val 157"/>
                  <a:gd name="f374" fmla="val 152"/>
                  <a:gd name="f375" fmla="val 537"/>
                  <a:gd name="f376" fmla="val 146"/>
                  <a:gd name="f377" fmla="val 546"/>
                  <a:gd name="f378" fmla="val 140"/>
                  <a:gd name="f379" fmla="val 553"/>
                  <a:gd name="f380" fmla="val 133"/>
                  <a:gd name="f381" fmla="val 557"/>
                  <a:gd name="f382" fmla="val 128"/>
                  <a:gd name="f383" fmla="val 562"/>
                  <a:gd name="f384" fmla="val 124"/>
                  <a:gd name="f385" fmla="val 571"/>
                  <a:gd name="f386" fmla="val 115"/>
                  <a:gd name="f387" fmla="val 589"/>
                  <a:gd name="f388" fmla="val 594"/>
                  <a:gd name="f389" fmla="val 620"/>
                  <a:gd name="f390" fmla="val 107"/>
                  <a:gd name="f391" fmla="val 621"/>
                  <a:gd name="f392" fmla="val 102"/>
                  <a:gd name="f393" fmla="val 101"/>
                  <a:gd name="f394" fmla="val 614"/>
                  <a:gd name="f395" fmla="val 97"/>
                  <a:gd name="f396" fmla="val 595"/>
                  <a:gd name="f397" fmla="val 93"/>
                  <a:gd name="f398" fmla="val 591"/>
                  <a:gd name="f399" fmla="val 92"/>
                  <a:gd name="f400" fmla="val 586"/>
                  <a:gd name="f401" fmla="val 582"/>
                  <a:gd name="f402" fmla="val 90"/>
                  <a:gd name="f403" fmla="val 80"/>
                  <a:gd name="f404" fmla="val 579"/>
                  <a:gd name="f405" fmla="val 76"/>
                  <a:gd name="f406" fmla="val 575"/>
                  <a:gd name="f407" fmla="val 74"/>
                  <a:gd name="f408" fmla="val 565"/>
                  <a:gd name="f409" fmla="val 63"/>
                  <a:gd name="f410" fmla="val 561"/>
                  <a:gd name="f411" fmla="val 57"/>
                  <a:gd name="f412" fmla="val 563"/>
                  <a:gd name="f413" fmla="val 58"/>
                  <a:gd name="f414" fmla="val 43"/>
                  <a:gd name="f415" fmla="val 551"/>
                  <a:gd name="f416" fmla="val 532"/>
                  <a:gd name="f417" fmla="val 527"/>
                  <a:gd name="f418" fmla="val 7"/>
                  <a:gd name="f419" fmla="val 490"/>
                  <a:gd name="f420" fmla="val 6"/>
                  <a:gd name="f421" fmla="val 484"/>
                  <a:gd name="f422" fmla="val 477"/>
                  <a:gd name="f423" fmla="val 475"/>
                  <a:gd name="f424" fmla="val 16"/>
                  <a:gd name="f425" fmla="val 474"/>
                  <a:gd name="f426" fmla="val 473"/>
                  <a:gd name="f427" fmla="val 466"/>
                  <a:gd name="f428" fmla="val 464"/>
                  <a:gd name="f429" fmla="val 44"/>
                  <a:gd name="f430" fmla="val 462"/>
                  <a:gd name="f431" fmla="val 461"/>
                  <a:gd name="f432" fmla="val 463"/>
                  <a:gd name="f433" fmla="val 460"/>
                  <a:gd name="f434" fmla="val 66"/>
                  <a:gd name="f435" fmla="val 455"/>
                  <a:gd name="f436" fmla="val 442"/>
                  <a:gd name="f437" fmla="val 67"/>
                  <a:gd name="f438" fmla="val 433"/>
                  <a:gd name="f439" fmla="val 432"/>
                  <a:gd name="f440" fmla="val 83"/>
                  <a:gd name="f441" fmla="val 430"/>
                  <a:gd name="f442" fmla="val 426"/>
                  <a:gd name="f443" fmla="val 98"/>
                  <a:gd name="f444" fmla="val 405"/>
                  <a:gd name="f445" fmla="val 89"/>
                  <a:gd name="f446" fmla="val 399"/>
                  <a:gd name="f447" fmla="val 87"/>
                  <a:gd name="f448" fmla="val 394"/>
                  <a:gd name="f449" fmla="val 392"/>
                  <a:gd name="f450" fmla="val 388"/>
                  <a:gd name="f451" fmla="val 374"/>
                  <a:gd name="f452" fmla="val 368"/>
                  <a:gd name="f453" fmla="val 366"/>
                  <a:gd name="f454" fmla="val 362"/>
                  <a:gd name="f455" fmla="val 96"/>
                  <a:gd name="f456" fmla="val 358"/>
                  <a:gd name="f457" fmla="val 356"/>
                  <a:gd name="f458" fmla="val 353"/>
                  <a:gd name="f459" fmla="val 349"/>
                  <a:gd name="f460" fmla="val 130"/>
                  <a:gd name="f461" fmla="val 139"/>
                  <a:gd name="f462" fmla="val 331"/>
                  <a:gd name="f463" fmla="val 158"/>
                  <a:gd name="f464" fmla="val 327"/>
                  <a:gd name="f465" fmla="val 163"/>
                  <a:gd name="f466" fmla="val 168"/>
                  <a:gd name="f467" fmla="val 184"/>
                  <a:gd name="f468" fmla="val 192"/>
                  <a:gd name="f469" fmla="val 191"/>
                  <a:gd name="f470" fmla="val 188"/>
                  <a:gd name="f471" fmla="val 173"/>
                  <a:gd name="f472" fmla="val 291"/>
                  <a:gd name="f473" fmla="val 166"/>
                  <a:gd name="f474" fmla="val 288"/>
                  <a:gd name="f475" fmla="val 161"/>
                  <a:gd name="f476" fmla="val 154"/>
                  <a:gd name="f477" fmla="val 148"/>
                  <a:gd name="f478" fmla="val 272"/>
                  <a:gd name="f479" fmla="val 265"/>
                  <a:gd name="f480" fmla="val 131"/>
                  <a:gd name="f481" fmla="val 250"/>
                  <a:gd name="f482" fmla="val 81"/>
                  <a:gd name="f483" fmla="val 68"/>
                  <a:gd name="f484" fmla="val 230"/>
                  <a:gd name="f485" fmla="val 221"/>
                  <a:gd name="f486" fmla="val 213"/>
                  <a:gd name="f487" fmla="val 205"/>
                  <a:gd name="f488" fmla="val 194"/>
                  <a:gd name="f489" fmla="val 182"/>
                  <a:gd name="f490" fmla="val 170"/>
                  <a:gd name="f491" fmla="val 160"/>
                  <a:gd name="f492" fmla="val 150"/>
                  <a:gd name="f493" fmla="val 60"/>
                  <a:gd name="f494" fmla="val 143"/>
                  <a:gd name="f495" fmla="val 138"/>
                  <a:gd name="f496" fmla="val 132"/>
                  <a:gd name="f497" fmla="val 62"/>
                  <a:gd name="f498" fmla="val 106"/>
                  <a:gd name="f499" fmla="val 54"/>
                  <a:gd name="f500" fmla="val 84"/>
                  <a:gd name="f501" fmla="val 71"/>
                  <a:gd name="f502" fmla="val 52"/>
                  <a:gd name="f503" fmla="val 47"/>
                  <a:gd name="f504" fmla="val 32"/>
                  <a:gd name="f505" fmla="val 176"/>
                  <a:gd name="f506" fmla="val 27"/>
                  <a:gd name="f507" fmla="val 187"/>
                  <a:gd name="f508" fmla="val 199"/>
                  <a:gd name="f509" fmla="val 203"/>
                  <a:gd name="f510" fmla="val 207"/>
                  <a:gd name="f511" fmla="val 216"/>
                  <a:gd name="f512" fmla="val 224"/>
                  <a:gd name="f513" fmla="val 229"/>
                  <a:gd name="f514" fmla="val 4"/>
                  <a:gd name="f515" fmla="val 1"/>
                  <a:gd name="f516" fmla="+- 0 0 -90"/>
                  <a:gd name="f517" fmla="*/ f4 1 797"/>
                  <a:gd name="f518" fmla="*/ f5 1 622"/>
                  <a:gd name="f519" fmla="+- f8 0 f6"/>
                  <a:gd name="f520" fmla="+- f7 0 f6"/>
                  <a:gd name="f521" fmla="*/ f516 f0 1"/>
                  <a:gd name="f522" fmla="*/ f520 1 797"/>
                  <a:gd name="f523" fmla="*/ f519 1 622"/>
                  <a:gd name="f524" fmla="*/ f521 1 f3"/>
                  <a:gd name="f525" fmla="*/ 273 1 f522"/>
                  <a:gd name="f526" fmla="*/ 14 1 f523"/>
                  <a:gd name="f527" fmla="*/ 320 1 f522"/>
                  <a:gd name="f528" fmla="*/ 56 1 f523"/>
                  <a:gd name="f529" fmla="*/ 95 1 f523"/>
                  <a:gd name="f530" fmla="*/ 340 1 f522"/>
                  <a:gd name="f531" fmla="*/ 114 1 f523"/>
                  <a:gd name="f532" fmla="*/ 409 1 f522"/>
                  <a:gd name="f533" fmla="*/ 117 1 f523"/>
                  <a:gd name="f534" fmla="*/ 503 1 f522"/>
                  <a:gd name="f535" fmla="*/ 108 1 f523"/>
                  <a:gd name="f536" fmla="*/ 538 1 f522"/>
                  <a:gd name="f537" fmla="*/ 88 1 f523"/>
                  <a:gd name="f538" fmla="*/ 572 1 f522"/>
                  <a:gd name="f539" fmla="*/ 36 1 f523"/>
                  <a:gd name="f540" fmla="*/ 609 1 f522"/>
                  <a:gd name="f541" fmla="*/ 51 1 f523"/>
                  <a:gd name="f542" fmla="*/ 677 1 f522"/>
                  <a:gd name="f543" fmla="*/ 23 1 f523"/>
                  <a:gd name="f544" fmla="*/ 698 1 f522"/>
                  <a:gd name="f545" fmla="*/ 15 1 f523"/>
                  <a:gd name="f546" fmla="*/ 708 1 f522"/>
                  <a:gd name="f547" fmla="*/ 25 1 f523"/>
                  <a:gd name="f548" fmla="*/ 774 1 f522"/>
                  <a:gd name="f549" fmla="*/ 65 1 f523"/>
                  <a:gd name="f550" fmla="*/ 795 1 f522"/>
                  <a:gd name="f551" fmla="*/ 153 1 f523"/>
                  <a:gd name="f552" fmla="*/ 766 1 f522"/>
                  <a:gd name="f553" fmla="*/ 274 1 f523"/>
                  <a:gd name="f554" fmla="*/ 730 1 f522"/>
                  <a:gd name="f555" fmla="*/ 325 1 f523"/>
                  <a:gd name="f556" fmla="*/ 703 1 f522"/>
                  <a:gd name="f557" fmla="*/ 290 1 f523"/>
                  <a:gd name="f558" fmla="*/ 682 1 f522"/>
                  <a:gd name="f559" fmla="*/ 276 1 f523"/>
                  <a:gd name="f560" fmla="*/ 660 1 f522"/>
                  <a:gd name="f561" fmla="*/ 238 1 f523"/>
                  <a:gd name="f562" fmla="*/ 622 1 f522"/>
                  <a:gd name="f563" fmla="*/ 244 1 f523"/>
                  <a:gd name="f564" fmla="*/ 604 1 f522"/>
                  <a:gd name="f565" fmla="*/ 262 1 f523"/>
                  <a:gd name="f566" fmla="*/ 624 1 f522"/>
                  <a:gd name="f567" fmla="*/ 264 1 f523"/>
                  <a:gd name="f568" fmla="*/ 637 1 f522"/>
                  <a:gd name="f569" fmla="*/ 299 1 f523"/>
                  <a:gd name="f570" fmla="*/ 580 1 f522"/>
                  <a:gd name="f571" fmla="*/ 326 1 f523"/>
                  <a:gd name="f572" fmla="*/ 515 1 f522"/>
                  <a:gd name="f573" fmla="*/ 357 1 f523"/>
                  <a:gd name="f574" fmla="*/ 445 1 f522"/>
                  <a:gd name="f575" fmla="*/ 382 1 f523"/>
                  <a:gd name="f576" fmla="*/ 406 1 f522"/>
                  <a:gd name="f577" fmla="*/ 425 1 f523"/>
                  <a:gd name="f578" fmla="*/ 364 1 f522"/>
                  <a:gd name="f579" fmla="*/ 436 1 f523"/>
                  <a:gd name="f580" fmla="*/ 335 1 f522"/>
                  <a:gd name="f581" fmla="*/ 476 1 f523"/>
                  <a:gd name="f582" fmla="*/ 285 1 f522"/>
                  <a:gd name="f583" fmla="*/ 506 1 f523"/>
                  <a:gd name="f584" fmla="*/ 233 1 f522"/>
                  <a:gd name="f585" fmla="*/ 503 1 f523"/>
                  <a:gd name="f586" fmla="*/ 196 1 f522"/>
                  <a:gd name="f587" fmla="*/ 524 1 f523"/>
                  <a:gd name="f588" fmla="*/ 146 1 f522"/>
                  <a:gd name="f589" fmla="*/ 546 1 f523"/>
                  <a:gd name="f590" fmla="*/ 112 1 f522"/>
                  <a:gd name="f591" fmla="*/ 601 1 f523"/>
                  <a:gd name="f592" fmla="*/ 102 1 f522"/>
                  <a:gd name="f593" fmla="*/ 617 1 f523"/>
                  <a:gd name="f594" fmla="*/ 91 1 f522"/>
                  <a:gd name="f595" fmla="*/ 582 1 f523"/>
                  <a:gd name="f596" fmla="*/ 63 1 f522"/>
                  <a:gd name="f597" fmla="*/ 557 1 f523"/>
                  <a:gd name="f598" fmla="*/ 17 1 f522"/>
                  <a:gd name="f599" fmla="*/ 545 1 f523"/>
                  <a:gd name="f600" fmla="*/ 6 1 f522"/>
                  <a:gd name="f601" fmla="*/ 484 1 f523"/>
                  <a:gd name="f602" fmla="*/ 28 1 f522"/>
                  <a:gd name="f603" fmla="*/ 473 1 f523"/>
                  <a:gd name="f604" fmla="*/ 49 1 f522"/>
                  <a:gd name="f605" fmla="*/ 461 1 f523"/>
                  <a:gd name="f606" fmla="*/ 74 1 f522"/>
                  <a:gd name="f607" fmla="*/ 432 1 f523"/>
                  <a:gd name="f608" fmla="*/ 98 1 f522"/>
                  <a:gd name="f609" fmla="*/ 409 1 f523"/>
                  <a:gd name="f610" fmla="*/ 90 1 f522"/>
                  <a:gd name="f611" fmla="*/ 368 1 f523"/>
                  <a:gd name="f612" fmla="*/ 116 1 f522"/>
                  <a:gd name="f613" fmla="*/ 353 1 f523"/>
                  <a:gd name="f614" fmla="*/ 158 1 f522"/>
                  <a:gd name="f615" fmla="*/ 327 1 f523"/>
                  <a:gd name="f616" fmla="*/ 183 1 f522"/>
                  <a:gd name="f617" fmla="*/ 300 1 f523"/>
                  <a:gd name="f618" fmla="*/ 148 1 f522"/>
                  <a:gd name="f619" fmla="*/ 272 1 f523"/>
                  <a:gd name="f620" fmla="*/ 105 1 f522"/>
                  <a:gd name="f621" fmla="*/ 68 1 f522"/>
                  <a:gd name="f622" fmla="*/ 237 1 f523"/>
                  <a:gd name="f623" fmla="*/ 48 1 f522"/>
                  <a:gd name="f624" fmla="*/ 160 1 f523"/>
                  <a:gd name="f625" fmla="*/ 58 1 f522"/>
                  <a:gd name="f626" fmla="*/ 115 1 f523"/>
                  <a:gd name="f627" fmla="*/ 71 1 f522"/>
                  <a:gd name="f628" fmla="*/ 55 1 f523"/>
                  <a:gd name="f629" fmla="*/ 138 1 f522"/>
                  <a:gd name="f630" fmla="*/ 32 1 f523"/>
                  <a:gd name="f631" fmla="*/ 199 1 f522"/>
                  <a:gd name="f632" fmla="*/ 12 1 f523"/>
                  <a:gd name="f633" fmla="*/ 237 1 f522"/>
                  <a:gd name="f634" fmla="*/ 0 1 f523"/>
                  <a:gd name="f635" fmla="*/ 0 1 f522"/>
                  <a:gd name="f636" fmla="*/ f7 1 f522"/>
                  <a:gd name="f637" fmla="*/ f8 1 f523"/>
                  <a:gd name="f638" fmla="+- f524 0 f1"/>
                  <a:gd name="f639" fmla="*/ f635 f517 1"/>
                  <a:gd name="f640" fmla="*/ f636 f517 1"/>
                  <a:gd name="f641" fmla="*/ f637 f518 1"/>
                  <a:gd name="f642" fmla="*/ f634 f518 1"/>
                  <a:gd name="f643" fmla="*/ f525 f517 1"/>
                  <a:gd name="f644" fmla="*/ f526 f518 1"/>
                  <a:gd name="f645" fmla="*/ f527 f517 1"/>
                  <a:gd name="f646" fmla="*/ f528 f518 1"/>
                  <a:gd name="f647" fmla="*/ f529 f518 1"/>
                  <a:gd name="f648" fmla="*/ f530 f517 1"/>
                  <a:gd name="f649" fmla="*/ f531 f518 1"/>
                  <a:gd name="f650" fmla="*/ f532 f517 1"/>
                  <a:gd name="f651" fmla="*/ f533 f518 1"/>
                  <a:gd name="f652" fmla="*/ f534 f517 1"/>
                  <a:gd name="f653" fmla="*/ f535 f518 1"/>
                  <a:gd name="f654" fmla="*/ f536 f517 1"/>
                  <a:gd name="f655" fmla="*/ f537 f518 1"/>
                  <a:gd name="f656" fmla="*/ f538 f517 1"/>
                  <a:gd name="f657" fmla="*/ f539 f518 1"/>
                  <a:gd name="f658" fmla="*/ f540 f517 1"/>
                  <a:gd name="f659" fmla="*/ f541 f518 1"/>
                  <a:gd name="f660" fmla="*/ f542 f517 1"/>
                  <a:gd name="f661" fmla="*/ f543 f518 1"/>
                  <a:gd name="f662" fmla="*/ f544 f517 1"/>
                  <a:gd name="f663" fmla="*/ f545 f518 1"/>
                  <a:gd name="f664" fmla="*/ f546 f517 1"/>
                  <a:gd name="f665" fmla="*/ f547 f518 1"/>
                  <a:gd name="f666" fmla="*/ f548 f517 1"/>
                  <a:gd name="f667" fmla="*/ f549 f518 1"/>
                  <a:gd name="f668" fmla="*/ f550 f517 1"/>
                  <a:gd name="f669" fmla="*/ f551 f518 1"/>
                  <a:gd name="f670" fmla="*/ f552 f517 1"/>
                  <a:gd name="f671" fmla="*/ f553 f518 1"/>
                  <a:gd name="f672" fmla="*/ f554 f517 1"/>
                  <a:gd name="f673" fmla="*/ f555 f518 1"/>
                  <a:gd name="f674" fmla="*/ f556 f517 1"/>
                  <a:gd name="f675" fmla="*/ f557 f518 1"/>
                  <a:gd name="f676" fmla="*/ f558 f517 1"/>
                  <a:gd name="f677" fmla="*/ f559 f518 1"/>
                  <a:gd name="f678" fmla="*/ f560 f517 1"/>
                  <a:gd name="f679" fmla="*/ f561 f518 1"/>
                  <a:gd name="f680" fmla="*/ f562 f517 1"/>
                  <a:gd name="f681" fmla="*/ f563 f518 1"/>
                  <a:gd name="f682" fmla="*/ f564 f517 1"/>
                  <a:gd name="f683" fmla="*/ f565 f518 1"/>
                  <a:gd name="f684" fmla="*/ f566 f517 1"/>
                  <a:gd name="f685" fmla="*/ f567 f518 1"/>
                  <a:gd name="f686" fmla="*/ f568 f517 1"/>
                  <a:gd name="f687" fmla="*/ f569 f518 1"/>
                  <a:gd name="f688" fmla="*/ f570 f517 1"/>
                  <a:gd name="f689" fmla="*/ f571 f518 1"/>
                  <a:gd name="f690" fmla="*/ f572 f517 1"/>
                  <a:gd name="f691" fmla="*/ f573 f518 1"/>
                  <a:gd name="f692" fmla="*/ f574 f517 1"/>
                  <a:gd name="f693" fmla="*/ f575 f518 1"/>
                  <a:gd name="f694" fmla="*/ f576 f517 1"/>
                  <a:gd name="f695" fmla="*/ f577 f518 1"/>
                  <a:gd name="f696" fmla="*/ f578 f517 1"/>
                  <a:gd name="f697" fmla="*/ f579 f518 1"/>
                  <a:gd name="f698" fmla="*/ f580 f517 1"/>
                  <a:gd name="f699" fmla="*/ f581 f518 1"/>
                  <a:gd name="f700" fmla="*/ f582 f517 1"/>
                  <a:gd name="f701" fmla="*/ f583 f518 1"/>
                  <a:gd name="f702" fmla="*/ f584 f517 1"/>
                  <a:gd name="f703" fmla="*/ f585 f518 1"/>
                  <a:gd name="f704" fmla="*/ f586 f517 1"/>
                  <a:gd name="f705" fmla="*/ f587 f518 1"/>
                  <a:gd name="f706" fmla="*/ f588 f517 1"/>
                  <a:gd name="f707" fmla="*/ f589 f518 1"/>
                  <a:gd name="f708" fmla="*/ f590 f517 1"/>
                  <a:gd name="f709" fmla="*/ f591 f518 1"/>
                  <a:gd name="f710" fmla="*/ f592 f517 1"/>
                  <a:gd name="f711" fmla="*/ f593 f518 1"/>
                  <a:gd name="f712" fmla="*/ f594 f517 1"/>
                  <a:gd name="f713" fmla="*/ f595 f518 1"/>
                  <a:gd name="f714" fmla="*/ f596 f517 1"/>
                  <a:gd name="f715" fmla="*/ f597 f518 1"/>
                  <a:gd name="f716" fmla="*/ f598 f517 1"/>
                  <a:gd name="f717" fmla="*/ f599 f518 1"/>
                  <a:gd name="f718" fmla="*/ f600 f517 1"/>
                  <a:gd name="f719" fmla="*/ f601 f518 1"/>
                  <a:gd name="f720" fmla="*/ f602 f517 1"/>
                  <a:gd name="f721" fmla="*/ f603 f518 1"/>
                  <a:gd name="f722" fmla="*/ f604 f517 1"/>
                  <a:gd name="f723" fmla="*/ f605 f518 1"/>
                  <a:gd name="f724" fmla="*/ f606 f517 1"/>
                  <a:gd name="f725" fmla="*/ f607 f518 1"/>
                  <a:gd name="f726" fmla="*/ f608 f517 1"/>
                  <a:gd name="f727" fmla="*/ f609 f518 1"/>
                  <a:gd name="f728" fmla="*/ f610 f517 1"/>
                  <a:gd name="f729" fmla="*/ f611 f518 1"/>
                  <a:gd name="f730" fmla="*/ f612 f517 1"/>
                  <a:gd name="f731" fmla="*/ f613 f518 1"/>
                  <a:gd name="f732" fmla="*/ f614 f517 1"/>
                  <a:gd name="f733" fmla="*/ f615 f518 1"/>
                  <a:gd name="f734" fmla="*/ f616 f517 1"/>
                  <a:gd name="f735" fmla="*/ f617 f518 1"/>
                  <a:gd name="f736" fmla="*/ f618 f517 1"/>
                  <a:gd name="f737" fmla="*/ f619 f518 1"/>
                  <a:gd name="f738" fmla="*/ f620 f517 1"/>
                  <a:gd name="f739" fmla="*/ f621 f517 1"/>
                  <a:gd name="f740" fmla="*/ f622 f518 1"/>
                  <a:gd name="f741" fmla="*/ f623 f517 1"/>
                  <a:gd name="f742" fmla="*/ f624 f518 1"/>
                  <a:gd name="f743" fmla="*/ f625 f517 1"/>
                  <a:gd name="f744" fmla="*/ f626 f518 1"/>
                  <a:gd name="f745" fmla="*/ f627 f517 1"/>
                  <a:gd name="f746" fmla="*/ f628 f518 1"/>
                  <a:gd name="f747" fmla="*/ f629 f517 1"/>
                  <a:gd name="f748" fmla="*/ f630 f518 1"/>
                  <a:gd name="f749" fmla="*/ f631 f517 1"/>
                  <a:gd name="f750" fmla="*/ f632 f518 1"/>
                  <a:gd name="f751" fmla="*/ f633 f5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38">
                    <a:pos x="f643" y="f644"/>
                  </a:cxn>
                  <a:cxn ang="f638">
                    <a:pos x="f645" y="f646"/>
                  </a:cxn>
                  <a:cxn ang="f638">
                    <a:pos x="f645" y="f647"/>
                  </a:cxn>
                  <a:cxn ang="f638">
                    <a:pos x="f648" y="f649"/>
                  </a:cxn>
                  <a:cxn ang="f638">
                    <a:pos x="f650" y="f651"/>
                  </a:cxn>
                  <a:cxn ang="f638">
                    <a:pos x="f652" y="f653"/>
                  </a:cxn>
                  <a:cxn ang="f638">
                    <a:pos x="f654" y="f655"/>
                  </a:cxn>
                  <a:cxn ang="f638">
                    <a:pos x="f656" y="f657"/>
                  </a:cxn>
                  <a:cxn ang="f638">
                    <a:pos x="f658" y="f659"/>
                  </a:cxn>
                  <a:cxn ang="f638">
                    <a:pos x="f660" y="f661"/>
                  </a:cxn>
                  <a:cxn ang="f638">
                    <a:pos x="f662" y="f663"/>
                  </a:cxn>
                  <a:cxn ang="f638">
                    <a:pos x="f664" y="f665"/>
                  </a:cxn>
                  <a:cxn ang="f638">
                    <a:pos x="f666" y="f667"/>
                  </a:cxn>
                  <a:cxn ang="f638">
                    <a:pos x="f668" y="f669"/>
                  </a:cxn>
                  <a:cxn ang="f638">
                    <a:pos x="f670" y="f671"/>
                  </a:cxn>
                  <a:cxn ang="f638">
                    <a:pos x="f672" y="f673"/>
                  </a:cxn>
                  <a:cxn ang="f638">
                    <a:pos x="f674" y="f675"/>
                  </a:cxn>
                  <a:cxn ang="f638">
                    <a:pos x="f676" y="f677"/>
                  </a:cxn>
                  <a:cxn ang="f638">
                    <a:pos x="f678" y="f679"/>
                  </a:cxn>
                  <a:cxn ang="f638">
                    <a:pos x="f680" y="f681"/>
                  </a:cxn>
                  <a:cxn ang="f638">
                    <a:pos x="f682" y="f683"/>
                  </a:cxn>
                  <a:cxn ang="f638">
                    <a:pos x="f684" y="f685"/>
                  </a:cxn>
                  <a:cxn ang="f638">
                    <a:pos x="f686" y="f687"/>
                  </a:cxn>
                  <a:cxn ang="f638">
                    <a:pos x="f688" y="f689"/>
                  </a:cxn>
                  <a:cxn ang="f638">
                    <a:pos x="f690" y="f691"/>
                  </a:cxn>
                  <a:cxn ang="f638">
                    <a:pos x="f692" y="f693"/>
                  </a:cxn>
                  <a:cxn ang="f638">
                    <a:pos x="f694" y="f695"/>
                  </a:cxn>
                  <a:cxn ang="f638">
                    <a:pos x="f696" y="f697"/>
                  </a:cxn>
                  <a:cxn ang="f638">
                    <a:pos x="f698" y="f699"/>
                  </a:cxn>
                  <a:cxn ang="f638">
                    <a:pos x="f700" y="f701"/>
                  </a:cxn>
                  <a:cxn ang="f638">
                    <a:pos x="f702" y="f703"/>
                  </a:cxn>
                  <a:cxn ang="f638">
                    <a:pos x="f704" y="f705"/>
                  </a:cxn>
                  <a:cxn ang="f638">
                    <a:pos x="f706" y="f707"/>
                  </a:cxn>
                  <a:cxn ang="f638">
                    <a:pos x="f708" y="f709"/>
                  </a:cxn>
                  <a:cxn ang="f638">
                    <a:pos x="f710" y="f711"/>
                  </a:cxn>
                  <a:cxn ang="f638">
                    <a:pos x="f712" y="f713"/>
                  </a:cxn>
                  <a:cxn ang="f638">
                    <a:pos x="f714" y="f715"/>
                  </a:cxn>
                  <a:cxn ang="f638">
                    <a:pos x="f716" y="f717"/>
                  </a:cxn>
                  <a:cxn ang="f638">
                    <a:pos x="f718" y="f719"/>
                  </a:cxn>
                  <a:cxn ang="f638">
                    <a:pos x="f720" y="f721"/>
                  </a:cxn>
                  <a:cxn ang="f638">
                    <a:pos x="f722" y="f723"/>
                  </a:cxn>
                  <a:cxn ang="f638">
                    <a:pos x="f724" y="f725"/>
                  </a:cxn>
                  <a:cxn ang="f638">
                    <a:pos x="f726" y="f727"/>
                  </a:cxn>
                  <a:cxn ang="f638">
                    <a:pos x="f728" y="f729"/>
                  </a:cxn>
                  <a:cxn ang="f638">
                    <a:pos x="f730" y="f731"/>
                  </a:cxn>
                  <a:cxn ang="f638">
                    <a:pos x="f732" y="f733"/>
                  </a:cxn>
                  <a:cxn ang="f638">
                    <a:pos x="f734" y="f735"/>
                  </a:cxn>
                  <a:cxn ang="f638">
                    <a:pos x="f736" y="f737"/>
                  </a:cxn>
                  <a:cxn ang="f638">
                    <a:pos x="f738" y="f681"/>
                  </a:cxn>
                  <a:cxn ang="f638">
                    <a:pos x="f739" y="f740"/>
                  </a:cxn>
                  <a:cxn ang="f638">
                    <a:pos x="f741" y="f742"/>
                  </a:cxn>
                  <a:cxn ang="f638">
                    <a:pos x="f743" y="f744"/>
                  </a:cxn>
                  <a:cxn ang="f638">
                    <a:pos x="f745" y="f746"/>
                  </a:cxn>
                  <a:cxn ang="f638">
                    <a:pos x="f747" y="f748"/>
                  </a:cxn>
                  <a:cxn ang="f638">
                    <a:pos x="f749" y="f750"/>
                  </a:cxn>
                  <a:cxn ang="f638">
                    <a:pos x="f751" y="f642"/>
                  </a:cxn>
                </a:cxnLst>
                <a:rect l="f639" t="f642" r="f640" b="f641"/>
                <a:pathLst>
                  <a:path w="797" h="622">
                    <a:moveTo>
                      <a:pt x="f9" y="f6"/>
                    </a:move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19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37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39" y="f50"/>
                    </a:lnTo>
                    <a:lnTo>
                      <a:pt x="f37" y="f51"/>
                    </a:lnTo>
                    <a:lnTo>
                      <a:pt x="f35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3" y="f57"/>
                    </a:lnTo>
                    <a:lnTo>
                      <a:pt x="f44" y="f58"/>
                    </a:lnTo>
                    <a:lnTo>
                      <a:pt x="f59" y="f60"/>
                    </a:lnTo>
                    <a:lnTo>
                      <a:pt x="f61" y="f57"/>
                    </a:lnTo>
                    <a:lnTo>
                      <a:pt x="f62" y="f63"/>
                    </a:lnTo>
                    <a:lnTo>
                      <a:pt x="f64" y="f63"/>
                    </a:lnTo>
                    <a:lnTo>
                      <a:pt x="f65" y="f56"/>
                    </a:lnTo>
                    <a:lnTo>
                      <a:pt x="f66" y="f54"/>
                    </a:lnTo>
                    <a:lnTo>
                      <a:pt x="f67" y="f68"/>
                    </a:lnTo>
                    <a:lnTo>
                      <a:pt x="f69" y="f68"/>
                    </a:lnTo>
                    <a:lnTo>
                      <a:pt x="f70" y="f71"/>
                    </a:lnTo>
                    <a:lnTo>
                      <a:pt x="f72" y="f60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74"/>
                    </a:lnTo>
                    <a:lnTo>
                      <a:pt x="f84" y="f58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9" y="f88"/>
                    </a:lnTo>
                    <a:lnTo>
                      <a:pt x="f90" y="f60"/>
                    </a:lnTo>
                    <a:lnTo>
                      <a:pt x="f91" y="f76"/>
                    </a:lnTo>
                    <a:lnTo>
                      <a:pt x="f92" y="f80"/>
                    </a:lnTo>
                    <a:lnTo>
                      <a:pt x="f93" y="f94"/>
                    </a:lnTo>
                    <a:lnTo>
                      <a:pt x="f95" y="f60"/>
                    </a:lnTo>
                    <a:lnTo>
                      <a:pt x="f96" y="f68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109" y="f110"/>
                    </a:lnTo>
                    <a:lnTo>
                      <a:pt x="f111" y="f112"/>
                    </a:lnTo>
                    <a:lnTo>
                      <a:pt x="f113" y="f32"/>
                    </a:lnTo>
                    <a:lnTo>
                      <a:pt x="f114" y="f115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20" y="f110"/>
                    </a:lnTo>
                    <a:lnTo>
                      <a:pt x="f121" y="f122"/>
                    </a:lnTo>
                    <a:lnTo>
                      <a:pt x="f121" y="f36"/>
                    </a:lnTo>
                    <a:lnTo>
                      <a:pt x="f123" y="f124"/>
                    </a:lnTo>
                    <a:lnTo>
                      <a:pt x="f123" y="f125"/>
                    </a:lnTo>
                    <a:lnTo>
                      <a:pt x="f126" y="f125"/>
                    </a:lnTo>
                    <a:lnTo>
                      <a:pt x="f127" y="f128"/>
                    </a:lnTo>
                    <a:lnTo>
                      <a:pt x="f129" y="f122"/>
                    </a:lnTo>
                    <a:lnTo>
                      <a:pt x="f130" y="f34"/>
                    </a:lnTo>
                    <a:lnTo>
                      <a:pt x="f131" y="f115"/>
                    </a:lnTo>
                    <a:lnTo>
                      <a:pt x="f132" y="f133"/>
                    </a:ln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7"/>
                    </a:lnTo>
                    <a:lnTo>
                      <a:pt x="f139" y="f26"/>
                    </a:lnTo>
                    <a:lnTo>
                      <a:pt x="f140" y="f135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37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17"/>
                    </a:lnTo>
                    <a:lnTo>
                      <a:pt x="f151" y="f152"/>
                    </a:lnTo>
                    <a:lnTo>
                      <a:pt x="f153" y="f152"/>
                    </a:lnTo>
                    <a:lnTo>
                      <a:pt x="f154" y="f155"/>
                    </a:lnTo>
                    <a:lnTo>
                      <a:pt x="f156" y="f22"/>
                    </a:lnTo>
                    <a:lnTo>
                      <a:pt x="f153" y="f157"/>
                    </a:lnTo>
                    <a:lnTo>
                      <a:pt x="f158" y="f159"/>
                    </a:lnTo>
                    <a:lnTo>
                      <a:pt x="f158" y="f26"/>
                    </a:lnTo>
                    <a:lnTo>
                      <a:pt x="f154" y="f142"/>
                    </a:lnTo>
                    <a:lnTo>
                      <a:pt x="f160" y="f161"/>
                    </a:lnTo>
                    <a:lnTo>
                      <a:pt x="f162" y="f119"/>
                    </a:lnTo>
                    <a:lnTo>
                      <a:pt x="f163" y="f122"/>
                    </a:lnTo>
                    <a:lnTo>
                      <a:pt x="f164" y="f125"/>
                    </a:lnTo>
                    <a:lnTo>
                      <a:pt x="f165" y="f166"/>
                    </a:lnTo>
                    <a:lnTo>
                      <a:pt x="f167" y="f168"/>
                    </a:lnTo>
                    <a:lnTo>
                      <a:pt x="f169" y="f104"/>
                    </a:lnTo>
                    <a:lnTo>
                      <a:pt x="f170" y="f171"/>
                    </a:lnTo>
                    <a:lnTo>
                      <a:pt x="f170" y="f172"/>
                    </a:lnTo>
                    <a:lnTo>
                      <a:pt x="f173" y="f71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lnTo>
                      <a:pt x="f7" y="f180"/>
                    </a:lnTo>
                    <a:lnTo>
                      <a:pt x="f181" y="f182"/>
                    </a:lnTo>
                    <a:lnTo>
                      <a:pt x="f183" y="f184"/>
                    </a:lnTo>
                    <a:lnTo>
                      <a:pt x="f185" y="f186"/>
                    </a:lnTo>
                    <a:lnTo>
                      <a:pt x="f174" y="f187"/>
                    </a:lnTo>
                    <a:lnTo>
                      <a:pt x="f188" y="f189"/>
                    </a:lnTo>
                    <a:lnTo>
                      <a:pt x="f190" y="f191"/>
                    </a:lnTo>
                    <a:lnTo>
                      <a:pt x="f192" y="f193"/>
                    </a:lnTo>
                    <a:lnTo>
                      <a:pt x="f194" y="f195"/>
                    </a:lnTo>
                    <a:lnTo>
                      <a:pt x="f165" y="f196"/>
                    </a:lnTo>
                    <a:lnTo>
                      <a:pt x="f197" y="f25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202" y="f203"/>
                    </a:lnTo>
                    <a:lnTo>
                      <a:pt x="f204" y="f48"/>
                    </a:lnTo>
                    <a:lnTo>
                      <a:pt x="f205" y="f206"/>
                    </a:lnTo>
                    <a:lnTo>
                      <a:pt x="f207" y="f208"/>
                    </a:lnTo>
                    <a:lnTo>
                      <a:pt x="f209" y="f206"/>
                    </a:lnTo>
                    <a:lnTo>
                      <a:pt x="f210" y="f41"/>
                    </a:lnTo>
                    <a:lnTo>
                      <a:pt x="f211" y="f35"/>
                    </a:lnTo>
                    <a:lnTo>
                      <a:pt x="f212" y="f55"/>
                    </a:lnTo>
                    <a:lnTo>
                      <a:pt x="f145" y="f213"/>
                    </a:lnTo>
                    <a:lnTo>
                      <a:pt x="f214" y="f215"/>
                    </a:lnTo>
                    <a:lnTo>
                      <a:pt x="f146" y="f216"/>
                    </a:lnTo>
                    <a:lnTo>
                      <a:pt x="f217" y="f218"/>
                    </a:lnTo>
                    <a:lnTo>
                      <a:pt x="f219" y="f220"/>
                    </a:lnTo>
                    <a:lnTo>
                      <a:pt x="f221" y="f222"/>
                    </a:lnTo>
                    <a:lnTo>
                      <a:pt x="f221" y="f223"/>
                    </a:lnTo>
                    <a:lnTo>
                      <a:pt x="f150" y="f25"/>
                    </a:lnTo>
                    <a:lnTo>
                      <a:pt x="f224" y="f25"/>
                    </a:lnTo>
                    <a:lnTo>
                      <a:pt x="f225" y="f222"/>
                    </a:lnTo>
                    <a:lnTo>
                      <a:pt x="f226" y="f223"/>
                    </a:lnTo>
                    <a:lnTo>
                      <a:pt x="f139" y="f227"/>
                    </a:lnTo>
                    <a:lnTo>
                      <a:pt x="f228" y="f229"/>
                    </a:lnTo>
                    <a:lnTo>
                      <a:pt x="f230" y="f231"/>
                    </a:lnTo>
                    <a:lnTo>
                      <a:pt x="f226" y="f232"/>
                    </a:lnTo>
                    <a:lnTo>
                      <a:pt x="f140" y="f233"/>
                    </a:lnTo>
                    <a:lnTo>
                      <a:pt x="f226" y="f234"/>
                    </a:lnTo>
                    <a:lnTo>
                      <a:pt x="f235" y="f236"/>
                    </a:lnTo>
                    <a:lnTo>
                      <a:pt x="f237" y="f12"/>
                    </a:lnTo>
                    <a:lnTo>
                      <a:pt x="f238" y="f239"/>
                    </a:lnTo>
                    <a:lnTo>
                      <a:pt x="f240" y="f241"/>
                    </a:lnTo>
                    <a:lnTo>
                      <a:pt x="f242" y="f241"/>
                    </a:lnTo>
                    <a:lnTo>
                      <a:pt x="f132" y="f243"/>
                    </a:lnTo>
                    <a:lnTo>
                      <a:pt x="f244" y="f245"/>
                    </a:lnTo>
                    <a:lnTo>
                      <a:pt x="f246" y="f247"/>
                    </a:lnTo>
                    <a:lnTo>
                      <a:pt x="f248" y="f12"/>
                    </a:lnTo>
                    <a:lnTo>
                      <a:pt x="f249" y="f250"/>
                    </a:lnTo>
                    <a:lnTo>
                      <a:pt x="f130" y="f251"/>
                    </a:lnTo>
                    <a:lnTo>
                      <a:pt x="f8" y="f245"/>
                    </a:lnTo>
                    <a:lnTo>
                      <a:pt x="f252" y="f243"/>
                    </a:lnTo>
                    <a:lnTo>
                      <a:pt x="f126" y="f243"/>
                    </a:lnTo>
                    <a:lnTo>
                      <a:pt x="f120" y="f245"/>
                    </a:lnTo>
                    <a:lnTo>
                      <a:pt x="f253" y="f250"/>
                    </a:lnTo>
                    <a:lnTo>
                      <a:pt x="f254" y="f255"/>
                    </a:lnTo>
                    <a:lnTo>
                      <a:pt x="f256" y="f234"/>
                    </a:lnTo>
                    <a:lnTo>
                      <a:pt x="f256" y="f18"/>
                    </a:lnTo>
                    <a:lnTo>
                      <a:pt x="f254" y="f257"/>
                    </a:lnTo>
                    <a:lnTo>
                      <a:pt x="f253" y="f233"/>
                    </a:lnTo>
                    <a:lnTo>
                      <a:pt x="f258" y="f233"/>
                    </a:lnTo>
                    <a:lnTo>
                      <a:pt x="f259" y="f257"/>
                    </a:lnTo>
                    <a:lnTo>
                      <a:pt x="f260" y="f257"/>
                    </a:lnTo>
                    <a:lnTo>
                      <a:pt x="f129" y="f195"/>
                    </a:lnTo>
                    <a:lnTo>
                      <a:pt x="f8" y="f195"/>
                    </a:lnTo>
                    <a:lnTo>
                      <a:pt x="f261" y="f257"/>
                    </a:lnTo>
                    <a:lnTo>
                      <a:pt x="f262" y="f263"/>
                    </a:lnTo>
                    <a:lnTo>
                      <a:pt x="f262" y="f196"/>
                    </a:lnTo>
                    <a:lnTo>
                      <a:pt x="f130" y="f264"/>
                    </a:lnTo>
                    <a:lnTo>
                      <a:pt x="f265" y="f23"/>
                    </a:lnTo>
                    <a:lnTo>
                      <a:pt x="f266" y="f227"/>
                    </a:lnTo>
                    <a:lnTo>
                      <a:pt x="f248" y="f267"/>
                    </a:lnTo>
                    <a:lnTo>
                      <a:pt x="f268" y="f25"/>
                    </a:lnTo>
                    <a:lnTo>
                      <a:pt x="f131" y="f27"/>
                    </a:lnTo>
                    <a:lnTo>
                      <a:pt x="f131" y="f269"/>
                    </a:lnTo>
                    <a:lnTo>
                      <a:pt x="f270" y="f201"/>
                    </a:lnTo>
                    <a:lnTo>
                      <a:pt x="f271" y="f215"/>
                    </a:lnTo>
                    <a:lnTo>
                      <a:pt x="f130" y="f272"/>
                    </a:lnTo>
                    <a:lnTo>
                      <a:pt x="f129" y="f273"/>
                    </a:lnTo>
                    <a:lnTo>
                      <a:pt x="f258" y="f274"/>
                    </a:lnTo>
                    <a:lnTo>
                      <a:pt x="f275" y="f276"/>
                    </a:lnTo>
                    <a:lnTo>
                      <a:pt x="f277" y="f46"/>
                    </a:lnTo>
                    <a:lnTo>
                      <a:pt x="f278" y="f208"/>
                    </a:lnTo>
                    <a:lnTo>
                      <a:pt x="f279" y="f280"/>
                    </a:lnTo>
                    <a:lnTo>
                      <a:pt x="f109" y="f281"/>
                    </a:lnTo>
                    <a:lnTo>
                      <a:pt x="f282" y="f283"/>
                    </a:lnTo>
                    <a:lnTo>
                      <a:pt x="f284" y="f285"/>
                    </a:lnTo>
                    <a:lnTo>
                      <a:pt x="f286" y="f287"/>
                    </a:lnTo>
                    <a:lnTo>
                      <a:pt x="f288" y="f289"/>
                    </a:lnTo>
                    <a:lnTo>
                      <a:pt x="f290" y="f291"/>
                    </a:lnTo>
                    <a:lnTo>
                      <a:pt x="f292" y="f293"/>
                    </a:lnTo>
                    <a:lnTo>
                      <a:pt x="f294" y="f66"/>
                    </a:lnTo>
                    <a:lnTo>
                      <a:pt x="f295" y="f296"/>
                    </a:lnTo>
                    <a:lnTo>
                      <a:pt x="f297" y="f298"/>
                    </a:lnTo>
                    <a:lnTo>
                      <a:pt x="f85" y="f299"/>
                    </a:lnTo>
                    <a:lnTo>
                      <a:pt x="f84" y="f300"/>
                    </a:lnTo>
                    <a:lnTo>
                      <a:pt x="f83" y="f300"/>
                    </a:lnTo>
                    <a:lnTo>
                      <a:pt x="f301" y="f302"/>
                    </a:lnTo>
                    <a:lnTo>
                      <a:pt x="f79" y="f303"/>
                    </a:lnTo>
                    <a:lnTo>
                      <a:pt x="f304" y="f305"/>
                    </a:lnTo>
                    <a:lnTo>
                      <a:pt x="f306" y="f70"/>
                    </a:lnTo>
                    <a:lnTo>
                      <a:pt x="f307" y="f308"/>
                    </a:lnTo>
                    <a:lnTo>
                      <a:pt x="f309" y="f310"/>
                    </a:lnTo>
                    <a:lnTo>
                      <a:pt x="f311" y="f72"/>
                    </a:lnTo>
                    <a:lnTo>
                      <a:pt x="f312" y="f313"/>
                    </a:lnTo>
                    <a:lnTo>
                      <a:pt x="f314" y="f315"/>
                    </a:lnTo>
                    <a:lnTo>
                      <a:pt x="f316" y="f317"/>
                    </a:lnTo>
                    <a:lnTo>
                      <a:pt x="f318" y="f306"/>
                    </a:lnTo>
                    <a:lnTo>
                      <a:pt x="f72" y="f319"/>
                    </a:lnTo>
                    <a:lnTo>
                      <a:pt x="f310" y="f320"/>
                    </a:lnTo>
                    <a:lnTo>
                      <a:pt x="f308" y="f321"/>
                    </a:lnTo>
                    <a:lnTo>
                      <a:pt x="f305" y="f312"/>
                    </a:lnTo>
                    <a:lnTo>
                      <a:pt x="f322" y="f309"/>
                    </a:lnTo>
                    <a:lnTo>
                      <a:pt x="f296" y="f323"/>
                    </a:lnTo>
                    <a:lnTo>
                      <a:pt x="f324" y="f304"/>
                    </a:lnTo>
                    <a:lnTo>
                      <a:pt x="f325" y="f326"/>
                    </a:lnTo>
                    <a:lnTo>
                      <a:pt x="f327" y="f326"/>
                    </a:lnTo>
                    <a:lnTo>
                      <a:pt x="f289" y="f328"/>
                    </a:lnTo>
                    <a:lnTo>
                      <a:pt x="f329" y="f330"/>
                    </a:lnTo>
                    <a:lnTo>
                      <a:pt x="f331" y="f332"/>
                    </a:lnTo>
                    <a:lnTo>
                      <a:pt x="f331" y="f333"/>
                    </a:lnTo>
                    <a:lnTo>
                      <a:pt x="f281" y="f334"/>
                    </a:lnTo>
                    <a:lnTo>
                      <a:pt x="f335" y="f336"/>
                    </a:lnTo>
                    <a:lnTo>
                      <a:pt x="f59" y="f337"/>
                    </a:lnTo>
                    <a:lnTo>
                      <a:pt x="f46" y="f338"/>
                    </a:lnTo>
                    <a:lnTo>
                      <a:pt x="f274" y="f339"/>
                    </a:lnTo>
                    <a:lnTo>
                      <a:pt x="f340" y="f84"/>
                    </a:lnTo>
                    <a:lnTo>
                      <a:pt x="f341" y="f342"/>
                    </a:lnTo>
                    <a:lnTo>
                      <a:pt x="f343" y="f344"/>
                    </a:lnTo>
                    <a:lnTo>
                      <a:pt x="f345" y="f346"/>
                    </a:lnTo>
                    <a:lnTo>
                      <a:pt x="f25" y="f347"/>
                    </a:lnTo>
                    <a:lnTo>
                      <a:pt x="f348" y="f349"/>
                    </a:lnTo>
                    <a:lnTo>
                      <a:pt x="f23" y="f350"/>
                    </a:lnTo>
                    <a:lnTo>
                      <a:pt x="f196" y="f351"/>
                    </a:lnTo>
                    <a:lnTo>
                      <a:pt x="f352" y="f353"/>
                    </a:lnTo>
                    <a:lnTo>
                      <a:pt x="f233" y="f294"/>
                    </a:lnTo>
                    <a:lnTo>
                      <a:pt x="f236" y="f295"/>
                    </a:lnTo>
                    <a:lnTo>
                      <a:pt x="f251" y="f354"/>
                    </a:lnTo>
                    <a:lnTo>
                      <a:pt x="f355" y="f87"/>
                    </a:lnTo>
                    <a:lnTo>
                      <a:pt x="f356" y="f87"/>
                    </a:lnTo>
                    <a:lnTo>
                      <a:pt x="f357" y="f358"/>
                    </a:lnTo>
                    <a:lnTo>
                      <a:pt x="f359" y="f295"/>
                    </a:lnTo>
                    <a:lnTo>
                      <a:pt x="f360" y="f294"/>
                    </a:lnTo>
                    <a:lnTo>
                      <a:pt x="f361" y="f362"/>
                    </a:lnTo>
                    <a:lnTo>
                      <a:pt x="f363" y="f364"/>
                    </a:lnTo>
                    <a:lnTo>
                      <a:pt x="f365" y="f91"/>
                    </a:lnTo>
                    <a:lnTo>
                      <a:pt x="f366" y="f367"/>
                    </a:lnTo>
                    <a:lnTo>
                      <a:pt x="f368" y="f288"/>
                    </a:lnTo>
                    <a:lnTo>
                      <a:pt x="f369" y="f288"/>
                    </a:lnTo>
                    <a:lnTo>
                      <a:pt x="f186" y="f364"/>
                    </a:lnTo>
                    <a:lnTo>
                      <a:pt x="f370" y="f367"/>
                    </a:lnTo>
                    <a:lnTo>
                      <a:pt x="f371" y="f372"/>
                    </a:lnTo>
                    <a:lnTo>
                      <a:pt x="f373" y="f93"/>
                    </a:lnTo>
                    <a:lnTo>
                      <a:pt x="f374" y="f375"/>
                    </a:lnTo>
                    <a:lnTo>
                      <a:pt x="f376" y="f377"/>
                    </a:lnTo>
                    <a:lnTo>
                      <a:pt x="f378" y="f379"/>
                    </a:lnTo>
                    <a:lnTo>
                      <a:pt x="f380" y="f381"/>
                    </a:lnTo>
                    <a:lnTo>
                      <a:pt x="f382" y="f383"/>
                    </a:lnTo>
                    <a:lnTo>
                      <a:pt x="f384" y="f385"/>
                    </a:lnTo>
                    <a:lnTo>
                      <a:pt x="f82" y="f114"/>
                    </a:lnTo>
                    <a:lnTo>
                      <a:pt x="f386" y="f387"/>
                    </a:lnTo>
                    <a:lnTo>
                      <a:pt x="f57" y="f388"/>
                    </a:lnTo>
                    <a:lnTo>
                      <a:pt x="f57" y="f118"/>
                    </a:lnTo>
                    <a:lnTo>
                      <a:pt x="f58" y="f121"/>
                    </a:lnTo>
                    <a:lnTo>
                      <a:pt x="f57" y="f252"/>
                    </a:lnTo>
                    <a:lnTo>
                      <a:pt x="f86" y="f389"/>
                    </a:lnTo>
                    <a:lnTo>
                      <a:pt x="f88" y="f8"/>
                    </a:lnTo>
                    <a:lnTo>
                      <a:pt x="f390" y="f8"/>
                    </a:lnTo>
                    <a:lnTo>
                      <a:pt x="f71" y="f391"/>
                    </a:lnTo>
                    <a:lnTo>
                      <a:pt x="f54" y="f389"/>
                    </a:lnTo>
                    <a:lnTo>
                      <a:pt x="f392" y="f252"/>
                    </a:lnTo>
                    <a:lnTo>
                      <a:pt x="f393" y="f394"/>
                    </a:lnTo>
                    <a:lnTo>
                      <a:pt x="f393" y="f120"/>
                    </a:lnTo>
                    <a:lnTo>
                      <a:pt x="f68" y="f275"/>
                    </a:lnTo>
                    <a:lnTo>
                      <a:pt x="f395" y="f396"/>
                    </a:lnTo>
                    <a:lnTo>
                      <a:pt x="f397" y="f398"/>
                    </a:lnTo>
                    <a:lnTo>
                      <a:pt x="f399" y="f400"/>
                    </a:lnTo>
                    <a:lnTo>
                      <a:pt x="f399" y="f401"/>
                    </a:lnTo>
                    <a:lnTo>
                      <a:pt x="f50" y="f401"/>
                    </a:lnTo>
                    <a:lnTo>
                      <a:pt x="f402" y="f114"/>
                    </a:lnTo>
                    <a:lnTo>
                      <a:pt x="f403" y="f114"/>
                    </a:lnTo>
                    <a:lnTo>
                      <a:pt x="f100" y="f404"/>
                    </a:lnTo>
                    <a:lnTo>
                      <a:pt x="f405" y="f406"/>
                    </a:lnTo>
                    <a:lnTo>
                      <a:pt x="f405" y="f279"/>
                    </a:lnTo>
                    <a:lnTo>
                      <a:pt x="f407" y="f408"/>
                    </a:lnTo>
                    <a:lnTo>
                      <a:pt x="f42" y="f109"/>
                    </a:lnTo>
                    <a:lnTo>
                      <a:pt x="f409" y="f381"/>
                    </a:lnTo>
                    <a:lnTo>
                      <a:pt x="f166" y="f381"/>
                    </a:lnTo>
                    <a:lnTo>
                      <a:pt x="f166" y="f410"/>
                    </a:lnTo>
                    <a:lnTo>
                      <a:pt x="f411" y="f412"/>
                    </a:lnTo>
                    <a:lnTo>
                      <a:pt x="f413" y="f408"/>
                    </a:lnTo>
                    <a:lnTo>
                      <a:pt x="f414" y="f383"/>
                    </a:lnTo>
                    <a:lnTo>
                      <a:pt x="f28" y="f381"/>
                    </a:lnTo>
                    <a:lnTo>
                      <a:pt x="f137" y="f415"/>
                    </a:lnTo>
                    <a:lnTo>
                      <a:pt x="f157" y="f103"/>
                    </a:lnTo>
                    <a:lnTo>
                      <a:pt x="f19" y="f99"/>
                    </a:lnTo>
                    <a:lnTo>
                      <a:pt x="f15" y="f416"/>
                    </a:lnTo>
                    <a:lnTo>
                      <a:pt x="f13" y="f417"/>
                    </a:lnTo>
                    <a:lnTo>
                      <a:pt x="f6" y="f290"/>
                    </a:lnTo>
                    <a:lnTo>
                      <a:pt x="f13" y="f294"/>
                    </a:lnTo>
                    <a:lnTo>
                      <a:pt x="f418" y="f347"/>
                    </a:lnTo>
                    <a:lnTo>
                      <a:pt x="f418" y="f419"/>
                    </a:lnTo>
                    <a:lnTo>
                      <a:pt x="f420" y="f421"/>
                    </a:lnTo>
                    <a:lnTo>
                      <a:pt x="f420" y="f339"/>
                    </a:lnTo>
                    <a:lnTo>
                      <a:pt x="f418" y="f337"/>
                    </a:lnTo>
                    <a:lnTo>
                      <a:pt x="f15" y="f422"/>
                    </a:lnTo>
                    <a:lnTo>
                      <a:pt x="f152" y="f336"/>
                    </a:lnTo>
                    <a:lnTo>
                      <a:pt x="f22" y="f423"/>
                    </a:lnTo>
                    <a:lnTo>
                      <a:pt x="f424" y="f425"/>
                    </a:lnTo>
                    <a:lnTo>
                      <a:pt x="f24" y="f426"/>
                    </a:lnTo>
                    <a:lnTo>
                      <a:pt x="f144" y="f426"/>
                    </a:lnTo>
                    <a:lnTo>
                      <a:pt x="f142" y="f425"/>
                    </a:lnTo>
                    <a:lnTo>
                      <a:pt x="f133" y="f425"/>
                    </a:lnTo>
                    <a:lnTo>
                      <a:pt x="f161" y="f426"/>
                    </a:lnTo>
                    <a:lnTo>
                      <a:pt x="f32" y="f334"/>
                    </a:lnTo>
                    <a:lnTo>
                      <a:pt x="f112" y="f427"/>
                    </a:lnTo>
                    <a:lnTo>
                      <a:pt x="f119" y="f428"/>
                    </a:lnTo>
                    <a:lnTo>
                      <a:pt x="f429" y="f430"/>
                    </a:lnTo>
                    <a:lnTo>
                      <a:pt x="f124" y="f431"/>
                    </a:lnTo>
                    <a:lnTo>
                      <a:pt x="f411" y="f432"/>
                    </a:lnTo>
                    <a:lnTo>
                      <a:pt x="f106" y="f432"/>
                    </a:lnTo>
                    <a:lnTo>
                      <a:pt x="f40" y="f433"/>
                    </a:lnTo>
                    <a:lnTo>
                      <a:pt x="f434" y="f435"/>
                    </a:lnTo>
                    <a:lnTo>
                      <a:pt x="f434" y="f436"/>
                    </a:lnTo>
                    <a:lnTo>
                      <a:pt x="f437" y="f304"/>
                    </a:lnTo>
                    <a:lnTo>
                      <a:pt x="f102" y="f438"/>
                    </a:lnTo>
                    <a:lnTo>
                      <a:pt x="f407" y="f439"/>
                    </a:lnTo>
                    <a:lnTo>
                      <a:pt x="f440" y="f323"/>
                    </a:lnTo>
                    <a:lnTo>
                      <a:pt x="f50" y="f439"/>
                    </a:lnTo>
                    <a:lnTo>
                      <a:pt x="f395" y="f439"/>
                    </a:lnTo>
                    <a:lnTo>
                      <a:pt x="f52" y="f441"/>
                    </a:lnTo>
                    <a:lnTo>
                      <a:pt x="f393" y="f442"/>
                    </a:lnTo>
                    <a:lnTo>
                      <a:pt x="f392" y="f315"/>
                    </a:lnTo>
                    <a:lnTo>
                      <a:pt x="f393" y="f321"/>
                    </a:lnTo>
                    <a:lnTo>
                      <a:pt x="f443" y="f73"/>
                    </a:lnTo>
                    <a:lnTo>
                      <a:pt x="f397" y="f444"/>
                    </a:lnTo>
                    <a:lnTo>
                      <a:pt x="f445" y="f446"/>
                    </a:lnTo>
                    <a:lnTo>
                      <a:pt x="f447" y="f448"/>
                    </a:lnTo>
                    <a:lnTo>
                      <a:pt x="f98" y="f449"/>
                    </a:lnTo>
                    <a:lnTo>
                      <a:pt x="f445" y="f450"/>
                    </a:lnTo>
                    <a:lnTo>
                      <a:pt x="f50" y="f302"/>
                    </a:lnTo>
                    <a:lnTo>
                      <a:pt x="f50" y="f451"/>
                    </a:lnTo>
                    <a:lnTo>
                      <a:pt x="f402" y="f452"/>
                    </a:lnTo>
                    <a:lnTo>
                      <a:pt x="f402" y="f453"/>
                    </a:lnTo>
                    <a:lnTo>
                      <a:pt x="f50" y="f66"/>
                    </a:lnTo>
                    <a:lnTo>
                      <a:pt x="f397" y="f454"/>
                    </a:lnTo>
                    <a:lnTo>
                      <a:pt x="f455" y="f2"/>
                    </a:lnTo>
                    <a:lnTo>
                      <a:pt x="f68" y="f325"/>
                    </a:lnTo>
                    <a:lnTo>
                      <a:pt x="f71" y="f456"/>
                    </a:lnTo>
                    <a:lnTo>
                      <a:pt x="f57" y="f457"/>
                    </a:lnTo>
                    <a:lnTo>
                      <a:pt x="f175" y="f458"/>
                    </a:lnTo>
                    <a:lnTo>
                      <a:pt x="f82" y="f459"/>
                    </a:lnTo>
                    <a:lnTo>
                      <a:pt x="f384" y="f64"/>
                    </a:lnTo>
                    <a:lnTo>
                      <a:pt x="f460" y="f289"/>
                    </a:lnTo>
                    <a:lnTo>
                      <a:pt x="f179" y="f329"/>
                    </a:lnTo>
                    <a:lnTo>
                      <a:pt x="f461" y="f281"/>
                    </a:lnTo>
                    <a:lnTo>
                      <a:pt x="f180" y="f335"/>
                    </a:lnTo>
                    <a:lnTo>
                      <a:pt x="f376" y="f462"/>
                    </a:lnTo>
                    <a:lnTo>
                      <a:pt x="f463" y="f464"/>
                    </a:lnTo>
                    <a:lnTo>
                      <a:pt x="f465" y="f464"/>
                    </a:lnTo>
                    <a:lnTo>
                      <a:pt x="f466" y="f208"/>
                    </a:lnTo>
                    <a:lnTo>
                      <a:pt x="f467" y="f37"/>
                    </a:lnTo>
                    <a:lnTo>
                      <a:pt x="f187" y="f44"/>
                    </a:lnTo>
                    <a:lnTo>
                      <a:pt x="f468" y="f53"/>
                    </a:lnTo>
                    <a:lnTo>
                      <a:pt x="f469" y="f203"/>
                    </a:lnTo>
                    <a:lnTo>
                      <a:pt x="f470" y="f31"/>
                    </a:lnTo>
                    <a:lnTo>
                      <a:pt x="f369" y="f216"/>
                    </a:lnTo>
                    <a:lnTo>
                      <a:pt x="f186" y="f218"/>
                    </a:lnTo>
                    <a:lnTo>
                      <a:pt x="f471" y="f472"/>
                    </a:lnTo>
                    <a:lnTo>
                      <a:pt x="f473" y="f474"/>
                    </a:lnTo>
                    <a:lnTo>
                      <a:pt x="f475" y="f345"/>
                    </a:lnTo>
                    <a:lnTo>
                      <a:pt x="f463" y="f25"/>
                    </a:lnTo>
                    <a:lnTo>
                      <a:pt x="f373" y="f267"/>
                    </a:lnTo>
                    <a:lnTo>
                      <a:pt x="f476" y="f264"/>
                    </a:lnTo>
                    <a:lnTo>
                      <a:pt x="f477" y="f478"/>
                    </a:lnTo>
                    <a:lnTo>
                      <a:pt x="f378" y="f479"/>
                    </a:lnTo>
                    <a:lnTo>
                      <a:pt x="f480" y="f234"/>
                    </a:lnTo>
                    <a:lnTo>
                      <a:pt x="f78" y="f255"/>
                    </a:lnTo>
                    <a:lnTo>
                      <a:pt x="f74" y="f14"/>
                    </a:lnTo>
                    <a:lnTo>
                      <a:pt x="f58" y="f481"/>
                    </a:lnTo>
                    <a:lnTo>
                      <a:pt x="f86" y="f250"/>
                    </a:lnTo>
                    <a:lnTo>
                      <a:pt x="f88" y="f251"/>
                    </a:lnTo>
                    <a:lnTo>
                      <a:pt x="f71" y="f245"/>
                    </a:lnTo>
                    <a:lnTo>
                      <a:pt x="f52" y="f10"/>
                    </a:lnTo>
                    <a:lnTo>
                      <a:pt x="f397" y="f10"/>
                    </a:lnTo>
                    <a:lnTo>
                      <a:pt x="f50" y="f245"/>
                    </a:lnTo>
                    <a:lnTo>
                      <a:pt x="f98" y="f247"/>
                    </a:lnTo>
                    <a:lnTo>
                      <a:pt x="f447" y="f12"/>
                    </a:lnTo>
                    <a:lnTo>
                      <a:pt x="f482" y="f10"/>
                    </a:lnTo>
                    <a:lnTo>
                      <a:pt x="f43" y="f243"/>
                    </a:lnTo>
                    <a:lnTo>
                      <a:pt x="f483" y="f9"/>
                    </a:lnTo>
                    <a:lnTo>
                      <a:pt x="f409" y="f484"/>
                    </a:lnTo>
                    <a:lnTo>
                      <a:pt x="f168" y="f485"/>
                    </a:lnTo>
                    <a:lnTo>
                      <a:pt x="f411" y="f486"/>
                    </a:lnTo>
                    <a:lnTo>
                      <a:pt x="f38" y="f487"/>
                    </a:lnTo>
                    <a:lnTo>
                      <a:pt x="f166" y="f488"/>
                    </a:lnTo>
                    <a:lnTo>
                      <a:pt x="f108" y="f489"/>
                    </a:lnTo>
                    <a:lnTo>
                      <a:pt x="f128" y="f490"/>
                    </a:lnTo>
                    <a:lnTo>
                      <a:pt x="f36" y="f491"/>
                    </a:lnTo>
                    <a:lnTo>
                      <a:pt x="f36" y="f476"/>
                    </a:lnTo>
                    <a:lnTo>
                      <a:pt x="f125" y="f492"/>
                    </a:lnTo>
                    <a:lnTo>
                      <a:pt x="f166" y="f376"/>
                    </a:lnTo>
                    <a:lnTo>
                      <a:pt x="f493" y="f494"/>
                    </a:lnTo>
                    <a:lnTo>
                      <a:pt x="f40" y="f495"/>
                    </a:lnTo>
                    <a:lnTo>
                      <a:pt x="f40" y="f496"/>
                    </a:lnTo>
                    <a:lnTo>
                      <a:pt x="f497" y="f78"/>
                    </a:lnTo>
                    <a:lnTo>
                      <a:pt x="f413" y="f386"/>
                    </a:lnTo>
                    <a:lnTo>
                      <a:pt x="f166" y="f498"/>
                    </a:lnTo>
                    <a:lnTo>
                      <a:pt x="f499" y="f443"/>
                    </a:lnTo>
                    <a:lnTo>
                      <a:pt x="f411" y="f50"/>
                    </a:lnTo>
                    <a:lnTo>
                      <a:pt x="f106" y="f500"/>
                    </a:lnTo>
                    <a:lnTo>
                      <a:pt x="f409" y="f100"/>
                    </a:lnTo>
                    <a:lnTo>
                      <a:pt x="f40" y="f102"/>
                    </a:lnTo>
                    <a:lnTo>
                      <a:pt x="f437" y="f493"/>
                    </a:lnTo>
                    <a:lnTo>
                      <a:pt x="f501" y="f166"/>
                    </a:lnTo>
                    <a:lnTo>
                      <a:pt x="f100" y="f502"/>
                    </a:lnTo>
                    <a:lnTo>
                      <a:pt x="f440" y="f128"/>
                    </a:lnTo>
                    <a:lnTo>
                      <a:pt x="f50" y="f124"/>
                    </a:lnTo>
                    <a:lnTo>
                      <a:pt x="f443" y="f503"/>
                    </a:lnTo>
                    <a:lnTo>
                      <a:pt x="f71" y="f414"/>
                    </a:lnTo>
                    <a:lnTo>
                      <a:pt x="f63" y="f117"/>
                    </a:lnTo>
                    <a:lnTo>
                      <a:pt x="f177" y="f30"/>
                    </a:lnTo>
                    <a:lnTo>
                      <a:pt x="f495" y="f504"/>
                    </a:lnTo>
                    <a:lnTo>
                      <a:pt x="f492" y="f142"/>
                    </a:lnTo>
                    <a:lnTo>
                      <a:pt x="f475" y="f142"/>
                    </a:lnTo>
                    <a:lnTo>
                      <a:pt x="f490" y="f135"/>
                    </a:lnTo>
                    <a:lnTo>
                      <a:pt x="f505" y="f506"/>
                    </a:lnTo>
                    <a:lnTo>
                      <a:pt x="f489" y="f137"/>
                    </a:lnTo>
                    <a:lnTo>
                      <a:pt x="f507" y="f24"/>
                    </a:lnTo>
                    <a:lnTo>
                      <a:pt x="f488" y="f149"/>
                    </a:lnTo>
                    <a:lnTo>
                      <a:pt x="f508" y="f17"/>
                    </a:lnTo>
                    <a:lnTo>
                      <a:pt x="f509" y="f17"/>
                    </a:lnTo>
                    <a:lnTo>
                      <a:pt x="f510" y="f22"/>
                    </a:lnTo>
                    <a:lnTo>
                      <a:pt x="f361" y="f149"/>
                    </a:lnTo>
                    <a:lnTo>
                      <a:pt x="f511" y="f19"/>
                    </a:lnTo>
                    <a:lnTo>
                      <a:pt x="f512" y="f15"/>
                    </a:lnTo>
                    <a:lnTo>
                      <a:pt x="f513" y="f514"/>
                    </a:lnTo>
                    <a:lnTo>
                      <a:pt x="f355" y="f515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9381195-63FA-4DE1-9D80-C817A132D907}"/>
                  </a:ext>
                </a:extLst>
              </p:cNvPr>
              <p:cNvSpPr/>
              <p:nvPr/>
            </p:nvSpPr>
            <p:spPr>
              <a:xfrm rot="21447621">
                <a:off x="4398421" y="2147870"/>
                <a:ext cx="466965" cy="489853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823"/>
                  <a:gd name="f7" fmla="val 911"/>
                  <a:gd name="f8" fmla="val 550"/>
                  <a:gd name="f9" fmla="val 555"/>
                  <a:gd name="f10" fmla="val 560"/>
                  <a:gd name="f11" fmla="val 3"/>
                  <a:gd name="f12" fmla="val 565"/>
                  <a:gd name="f13" fmla="val 7"/>
                  <a:gd name="f14" fmla="val 570"/>
                  <a:gd name="f15" fmla="val 10"/>
                  <a:gd name="f16" fmla="val 573"/>
                  <a:gd name="f17" fmla="val 578"/>
                  <a:gd name="f18" fmla="val 8"/>
                  <a:gd name="f19" fmla="val 584"/>
                  <a:gd name="f20" fmla="val 5"/>
                  <a:gd name="f21" fmla="val 590"/>
                  <a:gd name="f22" fmla="val 595"/>
                  <a:gd name="f23" fmla="val 2"/>
                  <a:gd name="f24" fmla="val 597"/>
                  <a:gd name="f25" fmla="val 13"/>
                  <a:gd name="f26" fmla="val 593"/>
                  <a:gd name="f27" fmla="val 19"/>
                  <a:gd name="f28" fmla="val 591"/>
                  <a:gd name="f29" fmla="val 25"/>
                  <a:gd name="f30" fmla="val 31"/>
                  <a:gd name="f31" fmla="val 592"/>
                  <a:gd name="f32" fmla="val 34"/>
                  <a:gd name="f33" fmla="val 596"/>
                  <a:gd name="f34" fmla="val 35"/>
                  <a:gd name="f35" fmla="val 601"/>
                  <a:gd name="f36" fmla="val 605"/>
                  <a:gd name="f37" fmla="val 30"/>
                  <a:gd name="f38" fmla="val 609"/>
                  <a:gd name="f39" fmla="val 28"/>
                  <a:gd name="f40" fmla="val 612"/>
                  <a:gd name="f41" fmla="val 29"/>
                  <a:gd name="f42" fmla="val 613"/>
                  <a:gd name="f43" fmla="val 614"/>
                  <a:gd name="f44" fmla="val 32"/>
                  <a:gd name="f45" fmla="val 616"/>
                  <a:gd name="f46" fmla="val 619"/>
                  <a:gd name="f47" fmla="val 634"/>
                  <a:gd name="f48" fmla="val 638"/>
                  <a:gd name="f49" fmla="val 641"/>
                  <a:gd name="f50" fmla="val 643"/>
                  <a:gd name="f51" fmla="val 36"/>
                  <a:gd name="f52" fmla="val 644"/>
                  <a:gd name="f53" fmla="val 43"/>
                  <a:gd name="f54" fmla="val 50"/>
                  <a:gd name="f55" fmla="val 645"/>
                  <a:gd name="f56" fmla="val 55"/>
                  <a:gd name="f57" fmla="val 652"/>
                  <a:gd name="f58" fmla="val 62"/>
                  <a:gd name="f59" fmla="val 655"/>
                  <a:gd name="f60" fmla="val 67"/>
                  <a:gd name="f61" fmla="val 72"/>
                  <a:gd name="f62" fmla="val 653"/>
                  <a:gd name="f63" fmla="val 79"/>
                  <a:gd name="f64" fmla="val 651"/>
                  <a:gd name="f65" fmla="val 85"/>
                  <a:gd name="f66" fmla="val 650"/>
                  <a:gd name="f67" fmla="val 91"/>
                  <a:gd name="f68" fmla="val 95"/>
                  <a:gd name="f69" fmla="val 96"/>
                  <a:gd name="f70" fmla="val 658"/>
                  <a:gd name="f71" fmla="val 660"/>
                  <a:gd name="f72" fmla="val 93"/>
                  <a:gd name="f73" fmla="val 662"/>
                  <a:gd name="f74" fmla="val 90"/>
                  <a:gd name="f75" fmla="val 663"/>
                  <a:gd name="f76" fmla="val 88"/>
                  <a:gd name="f77" fmla="val 665"/>
                  <a:gd name="f78" fmla="val 87"/>
                  <a:gd name="f79" fmla="val 666"/>
                  <a:gd name="f80" fmla="val 86"/>
                  <a:gd name="f81" fmla="val 668"/>
                  <a:gd name="f82" fmla="val 89"/>
                  <a:gd name="f83" fmla="val 669"/>
                  <a:gd name="f84" fmla="val 97"/>
                  <a:gd name="f85" fmla="val 671"/>
                  <a:gd name="f86" fmla="val 106"/>
                  <a:gd name="f87" fmla="val 672"/>
                  <a:gd name="f88" fmla="val 115"/>
                  <a:gd name="f89" fmla="val 673"/>
                  <a:gd name="f90" fmla="val 121"/>
                  <a:gd name="f91" fmla="val 676"/>
                  <a:gd name="f92" fmla="val 124"/>
                  <a:gd name="f93" fmla="val 680"/>
                  <a:gd name="f94" fmla="val 126"/>
                  <a:gd name="f95" fmla="val 692"/>
                  <a:gd name="f96" fmla="val 697"/>
                  <a:gd name="f97" fmla="val 702"/>
                  <a:gd name="f98" fmla="val 119"/>
                  <a:gd name="f99" fmla="val 706"/>
                  <a:gd name="f100" fmla="val 112"/>
                  <a:gd name="f101" fmla="val 709"/>
                  <a:gd name="f102" fmla="val 712"/>
                  <a:gd name="f103" fmla="val 103"/>
                  <a:gd name="f104" fmla="val 715"/>
                  <a:gd name="f105" fmla="val 105"/>
                  <a:gd name="f106" fmla="val 718"/>
                  <a:gd name="f107" fmla="val 113"/>
                  <a:gd name="f108" fmla="val 721"/>
                  <a:gd name="f109" fmla="val 122"/>
                  <a:gd name="f110" fmla="val 722"/>
                  <a:gd name="f111" fmla="val 131"/>
                  <a:gd name="f112" fmla="val 138"/>
                  <a:gd name="f113" fmla="val 723"/>
                  <a:gd name="f114" fmla="val 144"/>
                  <a:gd name="f115" fmla="val 725"/>
                  <a:gd name="f116" fmla="val 148"/>
                  <a:gd name="f117" fmla="val 728"/>
                  <a:gd name="f118" fmla="val 153"/>
                  <a:gd name="f119" fmla="val 731"/>
                  <a:gd name="f120" fmla="val 158"/>
                  <a:gd name="f121" fmla="val 163"/>
                  <a:gd name="f122" fmla="val 729"/>
                  <a:gd name="f123" fmla="val 165"/>
                  <a:gd name="f124" fmla="val 169"/>
                  <a:gd name="f125" fmla="val 171"/>
                  <a:gd name="f126" fmla="val 716"/>
                  <a:gd name="f127" fmla="val 173"/>
                  <a:gd name="f128" fmla="val 179"/>
                  <a:gd name="f129" fmla="val 186"/>
                  <a:gd name="f130" fmla="val 720"/>
                  <a:gd name="f131" fmla="val 194"/>
                  <a:gd name="f132" fmla="val 724"/>
                  <a:gd name="f133" fmla="val 201"/>
                  <a:gd name="f134" fmla="val 726"/>
                  <a:gd name="f135" fmla="val 207"/>
                  <a:gd name="f136" fmla="val 211"/>
                  <a:gd name="f137" fmla="val 215"/>
                  <a:gd name="f138" fmla="val 222"/>
                  <a:gd name="f139" fmla="val 727"/>
                  <a:gd name="f140" fmla="val 229"/>
                  <a:gd name="f141" fmla="val 237"/>
                  <a:gd name="f142" fmla="val 732"/>
                  <a:gd name="f143" fmla="val 243"/>
                  <a:gd name="f144" fmla="val 737"/>
                  <a:gd name="f145" fmla="val 250"/>
                  <a:gd name="f146" fmla="val 746"/>
                  <a:gd name="f147" fmla="val 257"/>
                  <a:gd name="f148" fmla="val 754"/>
                  <a:gd name="f149" fmla="val 263"/>
                  <a:gd name="f150" fmla="val 760"/>
                  <a:gd name="f151" fmla="val 267"/>
                  <a:gd name="f152" fmla="val 761"/>
                  <a:gd name="f153" fmla="val 268"/>
                  <a:gd name="f154" fmla="val 759"/>
                  <a:gd name="f155" fmla="val 272"/>
                  <a:gd name="f156" fmla="val 757"/>
                  <a:gd name="f157" fmla="val 274"/>
                  <a:gd name="f158" fmla="val 755"/>
                  <a:gd name="f159" fmla="val 275"/>
                  <a:gd name="f160" fmla="val 753"/>
                  <a:gd name="f161" fmla="val 277"/>
                  <a:gd name="f162" fmla="val 751"/>
                  <a:gd name="f163" fmla="val 281"/>
                  <a:gd name="f164" fmla="val 752"/>
                  <a:gd name="f165" fmla="val 282"/>
                  <a:gd name="f166" fmla="val 756"/>
                  <a:gd name="f167" fmla="val 287"/>
                  <a:gd name="f168" fmla="val 293"/>
                  <a:gd name="f169" fmla="val 765"/>
                  <a:gd name="f170" fmla="val 300"/>
                  <a:gd name="f171" fmla="val 766"/>
                  <a:gd name="f172" fmla="val 303"/>
                  <a:gd name="f173" fmla="val 767"/>
                  <a:gd name="f174" fmla="val 305"/>
                  <a:gd name="f175" fmla="val 769"/>
                  <a:gd name="f176" fmla="val 306"/>
                  <a:gd name="f177" fmla="val 770"/>
                  <a:gd name="f178" fmla="val 772"/>
                  <a:gd name="f179" fmla="val 307"/>
                  <a:gd name="f180" fmla="val 775"/>
                  <a:gd name="f181" fmla="val 778"/>
                  <a:gd name="f182" fmla="val 308"/>
                  <a:gd name="f183" fmla="val 782"/>
                  <a:gd name="f184" fmla="val 311"/>
                  <a:gd name="f185" fmla="val 788"/>
                  <a:gd name="f186" fmla="val 318"/>
                  <a:gd name="f187" fmla="val 795"/>
                  <a:gd name="f188" fmla="val 326"/>
                  <a:gd name="f189" fmla="val 802"/>
                  <a:gd name="f190" fmla="val 335"/>
                  <a:gd name="f191" fmla="val 808"/>
                  <a:gd name="f192" fmla="val 344"/>
                  <a:gd name="f193" fmla="val 813"/>
                  <a:gd name="f194" fmla="val 350"/>
                  <a:gd name="f195" fmla="val 814"/>
                  <a:gd name="f196" fmla="val 354"/>
                  <a:gd name="f197" fmla="val 358"/>
                  <a:gd name="f198" fmla="val 812"/>
                  <a:gd name="f199" fmla="val 361"/>
                  <a:gd name="f200" fmla="val 810"/>
                  <a:gd name="f201" fmla="val 366"/>
                  <a:gd name="f202" fmla="val 811"/>
                  <a:gd name="f203" fmla="val 371"/>
                  <a:gd name="f204" fmla="val 377"/>
                  <a:gd name="f205" fmla="val 385"/>
                  <a:gd name="f206" fmla="val 809"/>
                  <a:gd name="f207" fmla="val 396"/>
                  <a:gd name="f208" fmla="val 806"/>
                  <a:gd name="f209" fmla="val 406"/>
                  <a:gd name="f210" fmla="val 416"/>
                  <a:gd name="f211" fmla="val 805"/>
                  <a:gd name="f212" fmla="val 423"/>
                  <a:gd name="f213" fmla="val 429"/>
                  <a:gd name="f214" fmla="val 432"/>
                  <a:gd name="f215" fmla="val 435"/>
                  <a:gd name="f216" fmla="val 817"/>
                  <a:gd name="f217" fmla="val 439"/>
                  <a:gd name="f218" fmla="val 821"/>
                  <a:gd name="f219" fmla="val 444"/>
                  <a:gd name="f220" fmla="val 822"/>
                  <a:gd name="f221" fmla="val 447"/>
                  <a:gd name="f222" fmla="val 449"/>
                  <a:gd name="f223" fmla="val 453"/>
                  <a:gd name="f224" fmla="val 815"/>
                  <a:gd name="f225" fmla="val 456"/>
                  <a:gd name="f226" fmla="val 457"/>
                  <a:gd name="f227" fmla="val 458"/>
                  <a:gd name="f228" fmla="val 455"/>
                  <a:gd name="f229" fmla="val 451"/>
                  <a:gd name="f230" fmla="val 804"/>
                  <a:gd name="f231" fmla="val 448"/>
                  <a:gd name="f232" fmla="val 798"/>
                  <a:gd name="f233" fmla="val 792"/>
                  <a:gd name="f234" fmla="val 790"/>
                  <a:gd name="f235" fmla="val 459"/>
                  <a:gd name="f236" fmla="val 786"/>
                  <a:gd name="f237" fmla="val 777"/>
                  <a:gd name="f238" fmla="val 450"/>
                  <a:gd name="f239" fmla="val 768"/>
                  <a:gd name="f240" fmla="val 764"/>
                  <a:gd name="f241" fmla="val 763"/>
                  <a:gd name="f242" fmla="val 464"/>
                  <a:gd name="f243" fmla="val 474"/>
                  <a:gd name="f244" fmla="val 773"/>
                  <a:gd name="f245" fmla="val 485"/>
                  <a:gd name="f246" fmla="val 776"/>
                  <a:gd name="f247" fmla="val 495"/>
                  <a:gd name="f248" fmla="val 503"/>
                  <a:gd name="f249" fmla="val 509"/>
                  <a:gd name="f250" fmla="val 774"/>
                  <a:gd name="f251" fmla="val 512"/>
                  <a:gd name="f252" fmla="val 513"/>
                  <a:gd name="f253" fmla="val 515"/>
                  <a:gd name="f254" fmla="val 519"/>
                  <a:gd name="f255" fmla="val 526"/>
                  <a:gd name="f256" fmla="val 747"/>
                  <a:gd name="f257" fmla="val 531"/>
                  <a:gd name="f258" fmla="val 736"/>
                  <a:gd name="f259" fmla="val 535"/>
                  <a:gd name="f260" fmla="val 538"/>
                  <a:gd name="f261" fmla="val 540"/>
                  <a:gd name="f262" fmla="val 703"/>
                  <a:gd name="f263" fmla="val 542"/>
                  <a:gd name="f264" fmla="val 700"/>
                  <a:gd name="f265" fmla="val 545"/>
                  <a:gd name="f266" fmla="val 556"/>
                  <a:gd name="f267" fmla="val 696"/>
                  <a:gd name="f268" fmla="val 691"/>
                  <a:gd name="f269" fmla="val 571"/>
                  <a:gd name="f270" fmla="val 688"/>
                  <a:gd name="f271" fmla="val 577"/>
                  <a:gd name="f272" fmla="val 581"/>
                  <a:gd name="f273" fmla="val 689"/>
                  <a:gd name="f274" fmla="val 588"/>
                  <a:gd name="f275" fmla="val 698"/>
                  <a:gd name="f276" fmla="val 606"/>
                  <a:gd name="f277" fmla="val 625"/>
                  <a:gd name="f278" fmla="val 632"/>
                  <a:gd name="f279" fmla="val 711"/>
                  <a:gd name="f280" fmla="val 717"/>
                  <a:gd name="f281" fmla="val 667"/>
                  <a:gd name="f282" fmla="val 733"/>
                  <a:gd name="f283" fmla="val 713"/>
                  <a:gd name="f284" fmla="val 741"/>
                  <a:gd name="f285" fmla="val 748"/>
                  <a:gd name="f286" fmla="val 710"/>
                  <a:gd name="f287" fmla="val 714"/>
                  <a:gd name="f288" fmla="val 793"/>
                  <a:gd name="f289" fmla="val 801"/>
                  <a:gd name="f290" fmla="val 807"/>
                  <a:gd name="f291" fmla="val 719"/>
                  <a:gd name="f292" fmla="val 819"/>
                  <a:gd name="f293" fmla="val 827"/>
                  <a:gd name="f294" fmla="val 829"/>
                  <a:gd name="f295" fmla="val 830"/>
                  <a:gd name="f296" fmla="val 831"/>
                  <a:gd name="f297" fmla="val 832"/>
                  <a:gd name="f298" fmla="val 833"/>
                  <a:gd name="f299" fmla="val 835"/>
                  <a:gd name="f300" fmla="val 837"/>
                  <a:gd name="f301" fmla="val 845"/>
                  <a:gd name="f302" fmla="val 862"/>
                  <a:gd name="f303" fmla="val 865"/>
                  <a:gd name="f304" fmla="val 867"/>
                  <a:gd name="f305" fmla="val 682"/>
                  <a:gd name="f306" fmla="val 870"/>
                  <a:gd name="f307" fmla="val 677"/>
                  <a:gd name="f308" fmla="val 873"/>
                  <a:gd name="f309" fmla="val 876"/>
                  <a:gd name="f310" fmla="val 656"/>
                  <a:gd name="f311" fmla="val 869"/>
                  <a:gd name="f312" fmla="val 868"/>
                  <a:gd name="f313" fmla="val 871"/>
                  <a:gd name="f314" fmla="val 637"/>
                  <a:gd name="f315" fmla="val 877"/>
                  <a:gd name="f316" fmla="val 631"/>
                  <a:gd name="f317" fmla="val 884"/>
                  <a:gd name="f318" fmla="val 890"/>
                  <a:gd name="f319" fmla="val 617"/>
                  <a:gd name="f320" fmla="val 894"/>
                  <a:gd name="f321" fmla="val 895"/>
                  <a:gd name="f322" fmla="val 599"/>
                  <a:gd name="f323" fmla="val 896"/>
                  <a:gd name="f324" fmla="val 594"/>
                  <a:gd name="f325" fmla="val 898"/>
                  <a:gd name="f326" fmla="val 901"/>
                  <a:gd name="f327" fmla="val 906"/>
                  <a:gd name="f328" fmla="val 564"/>
                  <a:gd name="f329" fmla="val 900"/>
                  <a:gd name="f330" fmla="val 558"/>
                  <a:gd name="f331" fmla="val 891"/>
                  <a:gd name="f332" fmla="val 553"/>
                  <a:gd name="f333" fmla="val 887"/>
                  <a:gd name="f334" fmla="val 551"/>
                  <a:gd name="f335" fmla="val 882"/>
                  <a:gd name="f336" fmla="val 544"/>
                  <a:gd name="f337" fmla="val 534"/>
                  <a:gd name="f338" fmla="val 523"/>
                  <a:gd name="f339" fmla="val 866"/>
                  <a:gd name="f340" fmla="val 517"/>
                  <a:gd name="f341" fmla="val 507"/>
                  <a:gd name="f342" fmla="val 502"/>
                  <a:gd name="f343" fmla="val 496"/>
                  <a:gd name="f344" fmla="val 488"/>
                  <a:gd name="f345" fmla="val 860"/>
                  <a:gd name="f346" fmla="val 482"/>
                  <a:gd name="f347" fmla="val 853"/>
                  <a:gd name="f348" fmla="val 478"/>
                  <a:gd name="f349" fmla="val 847"/>
                  <a:gd name="f350" fmla="val 476"/>
                  <a:gd name="f351" fmla="val 841"/>
                  <a:gd name="f352" fmla="val 473"/>
                  <a:gd name="f353" fmla="val 465"/>
                  <a:gd name="f354" fmla="val 824"/>
                  <a:gd name="f355" fmla="val 437"/>
                  <a:gd name="f356" fmla="val 430"/>
                  <a:gd name="f357" fmla="val 424"/>
                  <a:gd name="f358" fmla="val 433"/>
                  <a:gd name="f359" fmla="val 818"/>
                  <a:gd name="f360" fmla="val 834"/>
                  <a:gd name="f361" fmla="val 460"/>
                  <a:gd name="f362" fmla="val 848"/>
                  <a:gd name="f363" fmla="val 863"/>
                  <a:gd name="f364" fmla="val 452"/>
                  <a:gd name="f365" fmla="val 864"/>
                  <a:gd name="f366" fmla="val 445"/>
                  <a:gd name="f367" fmla="val 441"/>
                  <a:gd name="f368" fmla="val 858"/>
                  <a:gd name="f369" fmla="val 436"/>
                  <a:gd name="f370" fmla="val 854"/>
                  <a:gd name="f371" fmla="val 434"/>
                  <a:gd name="f372" fmla="val 851"/>
                  <a:gd name="f373" fmla="val 431"/>
                  <a:gd name="f374" fmla="val 426"/>
                  <a:gd name="f375" fmla="val 418"/>
                  <a:gd name="f376" fmla="val 839"/>
                  <a:gd name="f377" fmla="val 409"/>
                  <a:gd name="f378" fmla="val 401"/>
                  <a:gd name="f379" fmla="val 836"/>
                  <a:gd name="f380" fmla="val 398"/>
                  <a:gd name="f381" fmla="val 397"/>
                  <a:gd name="f382" fmla="val 840"/>
                  <a:gd name="f383" fmla="val 403"/>
                  <a:gd name="f384" fmla="val 410"/>
                  <a:gd name="f385" fmla="val 857"/>
                  <a:gd name="f386" fmla="val 411"/>
                  <a:gd name="f387" fmla="val 861"/>
                  <a:gd name="f388" fmla="val 412"/>
                  <a:gd name="f389" fmla="val 405"/>
                  <a:gd name="f390" fmla="val 392"/>
                  <a:gd name="f391" fmla="val 379"/>
                  <a:gd name="f392" fmla="val 375"/>
                  <a:gd name="f393" fmla="val 373"/>
                  <a:gd name="f394" fmla="val 372"/>
                  <a:gd name="f395" fmla="val 849"/>
                  <a:gd name="f396" fmla="val 370"/>
                  <a:gd name="f397" fmla="val 846"/>
                  <a:gd name="f398" fmla="val 368"/>
                  <a:gd name="f399" fmla="val 365"/>
                  <a:gd name="f400" fmla="val 355"/>
                  <a:gd name="f401" fmla="val 352"/>
                  <a:gd name="f402" fmla="val 349"/>
                  <a:gd name="f403" fmla="val 852"/>
                  <a:gd name="f404" fmla="val 346"/>
                  <a:gd name="f405" fmla="val 340"/>
                  <a:gd name="f406" fmla="val 333"/>
                  <a:gd name="f407" fmla="val 843"/>
                  <a:gd name="f408" fmla="val 838"/>
                  <a:gd name="f409" fmla="val 334"/>
                  <a:gd name="f410" fmla="val 828"/>
                  <a:gd name="f411" fmla="val 331"/>
                  <a:gd name="f412" fmla="val 330"/>
                  <a:gd name="f413" fmla="val 826"/>
                  <a:gd name="f414" fmla="val 328"/>
                  <a:gd name="f415" fmla="val 324"/>
                  <a:gd name="f416" fmla="val 321"/>
                  <a:gd name="f417" fmla="val 319"/>
                  <a:gd name="f418" fmla="val 816"/>
                  <a:gd name="f419" fmla="val 317"/>
                  <a:gd name="f420" fmla="val 315"/>
                  <a:gd name="f421" fmla="val 314"/>
                  <a:gd name="f422" fmla="val 312"/>
                  <a:gd name="f423" fmla="val 302"/>
                  <a:gd name="f424" fmla="val 299"/>
                  <a:gd name="f425" fmla="val 295"/>
                  <a:gd name="f426" fmla="val 290"/>
                  <a:gd name="f427" fmla="val 285"/>
                  <a:gd name="f428" fmla="val 284"/>
                  <a:gd name="f429" fmla="val 278"/>
                  <a:gd name="f430" fmla="val 269"/>
                  <a:gd name="f431" fmla="val 262"/>
                  <a:gd name="f432" fmla="val 258"/>
                  <a:gd name="f433" fmla="val 255"/>
                  <a:gd name="f434" fmla="val 251"/>
                  <a:gd name="f435" fmla="val 248"/>
                  <a:gd name="f436" fmla="val 247"/>
                  <a:gd name="f437" fmla="val 261"/>
                  <a:gd name="f438" fmla="val 273"/>
                  <a:gd name="f439" fmla="val 292"/>
                  <a:gd name="f440" fmla="val 301"/>
                  <a:gd name="f441" fmla="val 874"/>
                  <a:gd name="f442" fmla="val 309"/>
                  <a:gd name="f443" fmla="val 880"/>
                  <a:gd name="f444" fmla="val 885"/>
                  <a:gd name="f445" fmla="val 297"/>
                  <a:gd name="f446" fmla="val 283"/>
                  <a:gd name="f447" fmla="val 886"/>
                  <a:gd name="f448" fmla="val 883"/>
                  <a:gd name="f449" fmla="val 266"/>
                  <a:gd name="f450" fmla="val 888"/>
                  <a:gd name="f451" fmla="val 265"/>
                  <a:gd name="f452" fmla="val 902"/>
                  <a:gd name="f453" fmla="val 903"/>
                  <a:gd name="f454" fmla="val 904"/>
                  <a:gd name="f455" fmla="val 239"/>
                  <a:gd name="f456" fmla="val 231"/>
                  <a:gd name="f457" fmla="val 223"/>
                  <a:gd name="f458" fmla="val 216"/>
                  <a:gd name="f459" fmla="val 897"/>
                  <a:gd name="f460" fmla="val 210"/>
                  <a:gd name="f461" fmla="val 203"/>
                  <a:gd name="f462" fmla="val 187"/>
                  <a:gd name="f463" fmla="val 182"/>
                  <a:gd name="f464" fmla="val 178"/>
                  <a:gd name="f465" fmla="val 176"/>
                  <a:gd name="f466" fmla="val 892"/>
                  <a:gd name="f467" fmla="val 168"/>
                  <a:gd name="f468" fmla="val 161"/>
                  <a:gd name="f469" fmla="val 150"/>
                  <a:gd name="f470" fmla="val 905"/>
                  <a:gd name="f471" fmla="val 137"/>
                  <a:gd name="f472" fmla="val 114"/>
                  <a:gd name="f473" fmla="val 107"/>
                  <a:gd name="f474" fmla="val 102"/>
                  <a:gd name="f475" fmla="val 893"/>
                  <a:gd name="f476" fmla="val 92"/>
                  <a:gd name="f477" fmla="val 889"/>
                  <a:gd name="f478" fmla="val 80"/>
                  <a:gd name="f479" fmla="val 74"/>
                  <a:gd name="f480" fmla="val 65"/>
                  <a:gd name="f481" fmla="val 56"/>
                  <a:gd name="f482" fmla="val 909"/>
                  <a:gd name="f483" fmla="val 46"/>
                  <a:gd name="f484" fmla="val 39"/>
                  <a:gd name="f485" fmla="val 910"/>
                  <a:gd name="f486" fmla="val 41"/>
                  <a:gd name="f487" fmla="val 881"/>
                  <a:gd name="f488" fmla="val 42"/>
                  <a:gd name="f489" fmla="val 38"/>
                  <a:gd name="f490" fmla="val 878"/>
                  <a:gd name="f491" fmla="val 26"/>
                  <a:gd name="f492" fmla="val 21"/>
                  <a:gd name="f493" fmla="val 18"/>
                  <a:gd name="f494" fmla="val 15"/>
                  <a:gd name="f495" fmla="val 6"/>
                  <a:gd name="f496" fmla="val 11"/>
                  <a:gd name="f497" fmla="val 12"/>
                  <a:gd name="f498" fmla="val 784"/>
                  <a:gd name="f499" fmla="val 14"/>
                  <a:gd name="f500" fmla="val 17"/>
                  <a:gd name="f501" fmla="val 27"/>
                  <a:gd name="f502" fmla="val 742"/>
                  <a:gd name="f503" fmla="val 734"/>
                  <a:gd name="f504" fmla="val 33"/>
                  <a:gd name="f505" fmla="val 24"/>
                  <a:gd name="f506" fmla="val 707"/>
                  <a:gd name="f507" fmla="val 22"/>
                  <a:gd name="f508" fmla="val 678"/>
                  <a:gd name="f509" fmla="val 661"/>
                  <a:gd name="f510" fmla="val 642"/>
                  <a:gd name="f511" fmla="val 47"/>
                  <a:gd name="f512" fmla="val 52"/>
                  <a:gd name="f513" fmla="val 622"/>
                  <a:gd name="f514" fmla="val 54"/>
                  <a:gd name="f515" fmla="val 57"/>
                  <a:gd name="f516" fmla="val 598"/>
                  <a:gd name="f517" fmla="val 63"/>
                  <a:gd name="f518" fmla="val 69"/>
                  <a:gd name="f519" fmla="val 583"/>
                  <a:gd name="f520" fmla="val 576"/>
                  <a:gd name="f521" fmla="val 567"/>
                  <a:gd name="f522" fmla="val 73"/>
                  <a:gd name="f523" fmla="val 559"/>
                  <a:gd name="f524" fmla="val 75"/>
                  <a:gd name="f525" fmla="val 78"/>
                  <a:gd name="f526" fmla="val 543"/>
                  <a:gd name="f527" fmla="val 537"/>
                  <a:gd name="f528" fmla="val 530"/>
                  <a:gd name="f529" fmla="val 83"/>
                  <a:gd name="f530" fmla="val 94"/>
                  <a:gd name="f531" fmla="val 493"/>
                  <a:gd name="f532" fmla="val 472"/>
                  <a:gd name="f533" fmla="val 98"/>
                  <a:gd name="f534" fmla="val 109"/>
                  <a:gd name="f535" fmla="val 117"/>
                  <a:gd name="f536" fmla="val 443"/>
                  <a:gd name="f537" fmla="val 128"/>
                  <a:gd name="f538" fmla="val 132"/>
                  <a:gd name="f539" fmla="val 427"/>
                  <a:gd name="f540" fmla="val 135"/>
                  <a:gd name="f541" fmla="val 421"/>
                  <a:gd name="f542" fmla="val 136"/>
                  <a:gd name="f543" fmla="val 417"/>
                  <a:gd name="f544" fmla="val 413"/>
                  <a:gd name="f545" fmla="val 143"/>
                  <a:gd name="f546" fmla="val 149"/>
                  <a:gd name="f547" fmla="val 404"/>
                  <a:gd name="f548" fmla="val 152"/>
                  <a:gd name="f549" fmla="val 157"/>
                  <a:gd name="f550" fmla="val 166"/>
                  <a:gd name="f551" fmla="val 391"/>
                  <a:gd name="f552" fmla="val 174"/>
                  <a:gd name="f553" fmla="val 383"/>
                  <a:gd name="f554" fmla="val 191"/>
                  <a:gd name="f555" fmla="val 347"/>
                  <a:gd name="f556" fmla="val 196"/>
                  <a:gd name="f557" fmla="val 339"/>
                  <a:gd name="f558" fmla="val 197"/>
                  <a:gd name="f559" fmla="val 337"/>
                  <a:gd name="f560" fmla="val 193"/>
                  <a:gd name="f561" fmla="val 217"/>
                  <a:gd name="f562" fmla="val 224"/>
                  <a:gd name="f563" fmla="val 227"/>
                  <a:gd name="f564" fmla="val 313"/>
                  <a:gd name="f565" fmla="val 230"/>
                  <a:gd name="f566" fmla="val 234"/>
                  <a:gd name="f567" fmla="val 240"/>
                  <a:gd name="f568" fmla="val 286"/>
                  <a:gd name="f569" fmla="val 245"/>
                  <a:gd name="f570" fmla="val 249"/>
                  <a:gd name="f571" fmla="val 270"/>
                  <a:gd name="f572" fmla="val 252"/>
                  <a:gd name="f573" fmla="val 235"/>
                  <a:gd name="f574" fmla="val 253"/>
                  <a:gd name="f575" fmla="val 256"/>
                  <a:gd name="f576" fmla="val 206"/>
                  <a:gd name="f577" fmla="val 202"/>
                  <a:gd name="f578" fmla="val 198"/>
                  <a:gd name="f579" fmla="val 280"/>
                  <a:gd name="f580" fmla="val 188"/>
                  <a:gd name="f581" fmla="val 170"/>
                  <a:gd name="f582" fmla="val 279"/>
                  <a:gd name="f583" fmla="val 160"/>
                  <a:gd name="f584" fmla="val 147"/>
                  <a:gd name="f585" fmla="val 288"/>
                  <a:gd name="f586" fmla="val 145"/>
                  <a:gd name="f587" fmla="val 142"/>
                  <a:gd name="f588" fmla="val 139"/>
                  <a:gd name="f589" fmla="val 127"/>
                  <a:gd name="f590" fmla="val 271"/>
                  <a:gd name="f591" fmla="val 111"/>
                  <a:gd name="f592" fmla="val 108"/>
                  <a:gd name="f593" fmla="val 104"/>
                  <a:gd name="f594" fmla="val 304"/>
                  <a:gd name="f595" fmla="val 99"/>
                  <a:gd name="f596" fmla="val 323"/>
                  <a:gd name="f597" fmla="val 322"/>
                  <a:gd name="f598" fmla="val 320"/>
                  <a:gd name="f599" fmla="val 81"/>
                  <a:gd name="f600" fmla="val 316"/>
                  <a:gd name="f601" fmla="val 71"/>
                  <a:gd name="f602" fmla="val 64"/>
                  <a:gd name="f603" fmla="val 341"/>
                  <a:gd name="f604" fmla="val 342"/>
                  <a:gd name="f605" fmla="val 82"/>
                  <a:gd name="f606" fmla="val 343"/>
                  <a:gd name="f607" fmla="val 101"/>
                  <a:gd name="f608" fmla="val 374"/>
                  <a:gd name="f609" fmla="val 384"/>
                  <a:gd name="f610" fmla="val 389"/>
                  <a:gd name="f611" fmla="val 390"/>
                  <a:gd name="f612" fmla="val 388"/>
                  <a:gd name="f613" fmla="val 387"/>
                  <a:gd name="f614" fmla="val 380"/>
                  <a:gd name="f615" fmla="val 378"/>
                  <a:gd name="f616" fmla="val 123"/>
                  <a:gd name="f617" fmla="val 376"/>
                  <a:gd name="f618" fmla="val 146"/>
                  <a:gd name="f619" fmla="val 369"/>
                  <a:gd name="f620" fmla="val 151"/>
                  <a:gd name="f621" fmla="val 154"/>
                  <a:gd name="f622" fmla="val 155"/>
                  <a:gd name="f623" fmla="val 156"/>
                  <a:gd name="f624" fmla="val 395"/>
                  <a:gd name="f625" fmla="val 399"/>
                  <a:gd name="f626" fmla="val 402"/>
                  <a:gd name="f627" fmla="val 407"/>
                  <a:gd name="f628" fmla="val 134"/>
                  <a:gd name="f629" fmla="val 116"/>
                  <a:gd name="f630" fmla="val 420"/>
                  <a:gd name="f631" fmla="val 110"/>
                  <a:gd name="f632" fmla="val 100"/>
                  <a:gd name="f633" fmla="val 446"/>
                  <a:gd name="f634" fmla="val 442"/>
                  <a:gd name="f635" fmla="val 461"/>
                  <a:gd name="f636" fmla="val 84"/>
                  <a:gd name="f637" fmla="val 489"/>
                  <a:gd name="f638" fmla="val 499"/>
                  <a:gd name="f639" fmla="val 501"/>
                  <a:gd name="f640" fmla="val 70"/>
                  <a:gd name="f641" fmla="val 500"/>
                  <a:gd name="f642" fmla="val 66"/>
                  <a:gd name="f643" fmla="val 60"/>
                  <a:gd name="f644" fmla="val 504"/>
                  <a:gd name="f645" fmla="val 58"/>
                  <a:gd name="f646" fmla="val 511"/>
                  <a:gd name="f647" fmla="val 529"/>
                  <a:gd name="f648" fmla="val 533"/>
                  <a:gd name="f649" fmla="val 536"/>
                  <a:gd name="f650" fmla="val 532"/>
                  <a:gd name="f651" fmla="val 528"/>
                  <a:gd name="f652" fmla="val 525"/>
                  <a:gd name="f653" fmla="val 522"/>
                  <a:gd name="f654" fmla="val 521"/>
                  <a:gd name="f655" fmla="val 23"/>
                  <a:gd name="f656" fmla="val 20"/>
                  <a:gd name="f657" fmla="val 508"/>
                  <a:gd name="f658" fmla="val 510"/>
                  <a:gd name="f659" fmla="val 514"/>
                  <a:gd name="f660" fmla="val 1"/>
                  <a:gd name="f661" fmla="+- 0 0 -90"/>
                  <a:gd name="f662" fmla="*/ f3 1 823"/>
                  <a:gd name="f663" fmla="*/ f4 1 911"/>
                  <a:gd name="f664" fmla="+- f7 0 f5"/>
                  <a:gd name="f665" fmla="+- f6 0 f5"/>
                  <a:gd name="f666" fmla="*/ f661 f0 1"/>
                  <a:gd name="f667" fmla="*/ f665 1 823"/>
                  <a:gd name="f668" fmla="*/ f664 1 911"/>
                  <a:gd name="f669" fmla="*/ f666 1 f2"/>
                  <a:gd name="f670" fmla="*/ 597 1 f667"/>
                  <a:gd name="f671" fmla="*/ 3 1 f668"/>
                  <a:gd name="f672" fmla="*/ 612 1 f667"/>
                  <a:gd name="f673" fmla="*/ 28 1 f668"/>
                  <a:gd name="f674" fmla="*/ 644 1 f667"/>
                  <a:gd name="f675" fmla="*/ 50 1 f668"/>
                  <a:gd name="f676" fmla="*/ 658 1 f667"/>
                  <a:gd name="f677" fmla="*/ 95 1 f668"/>
                  <a:gd name="f678" fmla="*/ 676 1 f667"/>
                  <a:gd name="f679" fmla="*/ 124 1 f668"/>
                  <a:gd name="f680" fmla="*/ 722 1 f667"/>
                  <a:gd name="f681" fmla="*/ 131 1 f668"/>
                  <a:gd name="f682" fmla="*/ 715 1 f667"/>
                  <a:gd name="f683" fmla="*/ 179 1 f668"/>
                  <a:gd name="f684" fmla="*/ 737 1 f667"/>
                  <a:gd name="f685" fmla="*/ 250 1 f668"/>
                  <a:gd name="f686" fmla="*/ 756 1 f667"/>
                  <a:gd name="f687" fmla="*/ 287 1 f668"/>
                  <a:gd name="f688" fmla="*/ 788 1 f667"/>
                  <a:gd name="f689" fmla="*/ 318 1 f668"/>
                  <a:gd name="f690" fmla="*/ 811 1 f667"/>
                  <a:gd name="f691" fmla="*/ 385 1 f668"/>
                  <a:gd name="f692" fmla="*/ 823 1 f667"/>
                  <a:gd name="f693" fmla="*/ 449 1 f668"/>
                  <a:gd name="f694" fmla="*/ 802 1 f667"/>
                  <a:gd name="f695" fmla="*/ 448 1 f668"/>
                  <a:gd name="f696" fmla="*/ 763 1 f667"/>
                  <a:gd name="f697" fmla="*/ 456 1 f668"/>
                  <a:gd name="f698" fmla="*/ 526 1 f668"/>
                  <a:gd name="f699" fmla="*/ 688 1 f667"/>
                  <a:gd name="f700" fmla="*/ 581 1 f668"/>
                  <a:gd name="f701" fmla="*/ 728 1 f667"/>
                  <a:gd name="f702" fmla="*/ 706 1 f668"/>
                  <a:gd name="f703" fmla="*/ 719 1 f667"/>
                  <a:gd name="f704" fmla="*/ 812 1 f668"/>
                  <a:gd name="f705" fmla="*/ 720 1 f667"/>
                  <a:gd name="f706" fmla="*/ 845 1 f668"/>
                  <a:gd name="f707" fmla="*/ 650 1 f667"/>
                  <a:gd name="f708" fmla="*/ 868 1 f668"/>
                  <a:gd name="f709" fmla="*/ 564 1 f667"/>
                  <a:gd name="f710" fmla="*/ 900 1 f668"/>
                  <a:gd name="f711" fmla="*/ 502 1 f667"/>
                  <a:gd name="f712" fmla="*/ 867 1 f668"/>
                  <a:gd name="f713" fmla="*/ 430 1 f667"/>
                  <a:gd name="f714" fmla="*/ 806 1 f668"/>
                  <a:gd name="f715" fmla="*/ 457 1 f667"/>
                  <a:gd name="f716" fmla="*/ 862 1 f668"/>
                  <a:gd name="f717" fmla="*/ 426 1 f667"/>
                  <a:gd name="f718" fmla="*/ 841 1 f668"/>
                  <a:gd name="f719" fmla="*/ 411 1 f667"/>
                  <a:gd name="f720" fmla="*/ 860 1 f668"/>
                  <a:gd name="f721" fmla="*/ 373 1 f667"/>
                  <a:gd name="f722" fmla="*/ 851 1 f668"/>
                  <a:gd name="f723" fmla="*/ 340 1 f667"/>
                  <a:gd name="f724" fmla="*/ 852 1 f668"/>
                  <a:gd name="f725" fmla="*/ 321 1 f667"/>
                  <a:gd name="f726" fmla="*/ 817 1 f668"/>
                  <a:gd name="f727" fmla="*/ 305 1 f667"/>
                  <a:gd name="f728" fmla="*/ 819 1 f668"/>
                  <a:gd name="f729" fmla="*/ 262 1 f667"/>
                  <a:gd name="f730" fmla="*/ 830 1 f668"/>
                  <a:gd name="f731" fmla="*/ 278 1 f667"/>
                  <a:gd name="f732" fmla="*/ 865 1 f668"/>
                  <a:gd name="f733" fmla="*/ 283 1 f667"/>
                  <a:gd name="f734" fmla="*/ 886 1 f668"/>
                  <a:gd name="f735" fmla="*/ 904 1 f668"/>
                  <a:gd name="f736" fmla="*/ 182 1 f667"/>
                  <a:gd name="f737" fmla="*/ 883 1 f668"/>
                  <a:gd name="f738" fmla="*/ 102 1 f667"/>
                  <a:gd name="f739" fmla="*/ 893 1 f668"/>
                  <a:gd name="f740" fmla="*/ 34 1 f667"/>
                  <a:gd name="f741" fmla="*/ 15 1 f667"/>
                  <a:gd name="f742" fmla="*/ 891 1 f668"/>
                  <a:gd name="f743" fmla="*/ 11 1 f667"/>
                  <a:gd name="f744" fmla="*/ 793 1 f668"/>
                  <a:gd name="f745" fmla="*/ 24 1 f667"/>
                  <a:gd name="f746" fmla="*/ 707 1 f668"/>
                  <a:gd name="f747" fmla="*/ 55 1 f667"/>
                  <a:gd name="f748" fmla="*/ 606 1 f668"/>
                  <a:gd name="f749" fmla="*/ 83 1 f667"/>
                  <a:gd name="f750" fmla="*/ 523 1 f668"/>
                  <a:gd name="f751" fmla="*/ 122 1 f667"/>
                  <a:gd name="f752" fmla="*/ 439 1 f668"/>
                  <a:gd name="f753" fmla="*/ 174 1 f667"/>
                  <a:gd name="f754" fmla="*/ 383 1 f668"/>
                  <a:gd name="f755" fmla="*/ 230 1 f667"/>
                  <a:gd name="f756" fmla="*/ 308 1 f668"/>
                  <a:gd name="f757" fmla="*/ 210 1 f668"/>
                  <a:gd name="f758" fmla="*/ 288 1 f667"/>
                  <a:gd name="f759" fmla="*/ 145 1 f668"/>
                  <a:gd name="f760" fmla="*/ 293 1 f667"/>
                  <a:gd name="f761" fmla="*/ 106 1 f668"/>
                  <a:gd name="f762" fmla="*/ 316 1 f667"/>
                  <a:gd name="f763" fmla="*/ 71 1 f668"/>
                  <a:gd name="f764" fmla="*/ 352 1 f667"/>
                  <a:gd name="f765" fmla="*/ 101 1 f668"/>
                  <a:gd name="f766" fmla="*/ 378 1 f667"/>
                  <a:gd name="f767" fmla="*/ 123 1 f668"/>
                  <a:gd name="f768" fmla="*/ 385 1 f667"/>
                  <a:gd name="f769" fmla="*/ 156 1 f668"/>
                  <a:gd name="f770" fmla="*/ 405 1 f667"/>
                  <a:gd name="f771" fmla="*/ 439 1 f667"/>
                  <a:gd name="f772" fmla="*/ 109 1 f668"/>
                  <a:gd name="f773" fmla="*/ 453 1 f667"/>
                  <a:gd name="f774" fmla="*/ 85 1 f668"/>
                  <a:gd name="f775" fmla="*/ 507 1 f667"/>
                  <a:gd name="f776" fmla="*/ 57 1 f668"/>
                  <a:gd name="f777" fmla="*/ 534 1 f667"/>
                  <a:gd name="f778" fmla="*/ 27 1 f668"/>
                  <a:gd name="f779" fmla="*/ 511 1 f667"/>
                  <a:gd name="f780" fmla="*/ 22 1 f668"/>
                  <a:gd name="f781" fmla="*/ 0 1 f667"/>
                  <a:gd name="f782" fmla="*/ f6 1 f667"/>
                  <a:gd name="f783" fmla="*/ 0 1 f668"/>
                  <a:gd name="f784" fmla="*/ f7 1 f668"/>
                  <a:gd name="f785" fmla="+- f669 0 f1"/>
                  <a:gd name="f786" fmla="*/ f781 f662 1"/>
                  <a:gd name="f787" fmla="*/ f782 f662 1"/>
                  <a:gd name="f788" fmla="*/ f784 f663 1"/>
                  <a:gd name="f789" fmla="*/ f783 f663 1"/>
                  <a:gd name="f790" fmla="*/ f670 f662 1"/>
                  <a:gd name="f791" fmla="*/ f671 f663 1"/>
                  <a:gd name="f792" fmla="*/ f672 f662 1"/>
                  <a:gd name="f793" fmla="*/ f673 f663 1"/>
                  <a:gd name="f794" fmla="*/ f674 f662 1"/>
                  <a:gd name="f795" fmla="*/ f675 f663 1"/>
                  <a:gd name="f796" fmla="*/ f676 f662 1"/>
                  <a:gd name="f797" fmla="*/ f677 f663 1"/>
                  <a:gd name="f798" fmla="*/ f678 f662 1"/>
                  <a:gd name="f799" fmla="*/ f679 f663 1"/>
                  <a:gd name="f800" fmla="*/ f680 f662 1"/>
                  <a:gd name="f801" fmla="*/ f681 f663 1"/>
                  <a:gd name="f802" fmla="*/ f682 f662 1"/>
                  <a:gd name="f803" fmla="*/ f683 f663 1"/>
                  <a:gd name="f804" fmla="*/ f684 f662 1"/>
                  <a:gd name="f805" fmla="*/ f685 f663 1"/>
                  <a:gd name="f806" fmla="*/ f686 f662 1"/>
                  <a:gd name="f807" fmla="*/ f687 f663 1"/>
                  <a:gd name="f808" fmla="*/ f688 f662 1"/>
                  <a:gd name="f809" fmla="*/ f689 f663 1"/>
                  <a:gd name="f810" fmla="*/ f690 f662 1"/>
                  <a:gd name="f811" fmla="*/ f691 f663 1"/>
                  <a:gd name="f812" fmla="*/ f692 f662 1"/>
                  <a:gd name="f813" fmla="*/ f693 f663 1"/>
                  <a:gd name="f814" fmla="*/ f694 f662 1"/>
                  <a:gd name="f815" fmla="*/ f695 f663 1"/>
                  <a:gd name="f816" fmla="*/ f696 f662 1"/>
                  <a:gd name="f817" fmla="*/ f697 f663 1"/>
                  <a:gd name="f818" fmla="*/ f698 f663 1"/>
                  <a:gd name="f819" fmla="*/ f699 f662 1"/>
                  <a:gd name="f820" fmla="*/ f700 f663 1"/>
                  <a:gd name="f821" fmla="*/ f701 f662 1"/>
                  <a:gd name="f822" fmla="*/ f702 f663 1"/>
                  <a:gd name="f823" fmla="*/ f703 f662 1"/>
                  <a:gd name="f824" fmla="*/ f704 f663 1"/>
                  <a:gd name="f825" fmla="*/ f705 f662 1"/>
                  <a:gd name="f826" fmla="*/ f706 f663 1"/>
                  <a:gd name="f827" fmla="*/ f707 f662 1"/>
                  <a:gd name="f828" fmla="*/ f708 f663 1"/>
                  <a:gd name="f829" fmla="*/ f709 f662 1"/>
                  <a:gd name="f830" fmla="*/ f710 f663 1"/>
                  <a:gd name="f831" fmla="*/ f711 f662 1"/>
                  <a:gd name="f832" fmla="*/ f712 f663 1"/>
                  <a:gd name="f833" fmla="*/ f713 f662 1"/>
                  <a:gd name="f834" fmla="*/ f714 f663 1"/>
                  <a:gd name="f835" fmla="*/ f715 f662 1"/>
                  <a:gd name="f836" fmla="*/ f716 f663 1"/>
                  <a:gd name="f837" fmla="*/ f717 f662 1"/>
                  <a:gd name="f838" fmla="*/ f718 f663 1"/>
                  <a:gd name="f839" fmla="*/ f719 f662 1"/>
                  <a:gd name="f840" fmla="*/ f720 f663 1"/>
                  <a:gd name="f841" fmla="*/ f721 f662 1"/>
                  <a:gd name="f842" fmla="*/ f722 f663 1"/>
                  <a:gd name="f843" fmla="*/ f723 f662 1"/>
                  <a:gd name="f844" fmla="*/ f724 f663 1"/>
                  <a:gd name="f845" fmla="*/ f725 f662 1"/>
                  <a:gd name="f846" fmla="*/ f726 f663 1"/>
                  <a:gd name="f847" fmla="*/ f727 f662 1"/>
                  <a:gd name="f848" fmla="*/ f728 f663 1"/>
                  <a:gd name="f849" fmla="*/ f729 f662 1"/>
                  <a:gd name="f850" fmla="*/ f730 f663 1"/>
                  <a:gd name="f851" fmla="*/ f731 f662 1"/>
                  <a:gd name="f852" fmla="*/ f732 f663 1"/>
                  <a:gd name="f853" fmla="*/ f733 f662 1"/>
                  <a:gd name="f854" fmla="*/ f734 f663 1"/>
                  <a:gd name="f855" fmla="*/ f735 f663 1"/>
                  <a:gd name="f856" fmla="*/ f736 f662 1"/>
                  <a:gd name="f857" fmla="*/ f737 f663 1"/>
                  <a:gd name="f858" fmla="*/ f738 f662 1"/>
                  <a:gd name="f859" fmla="*/ f739 f663 1"/>
                  <a:gd name="f860" fmla="*/ f740 f662 1"/>
                  <a:gd name="f861" fmla="*/ f741 f662 1"/>
                  <a:gd name="f862" fmla="*/ f742 f663 1"/>
                  <a:gd name="f863" fmla="*/ f743 f662 1"/>
                  <a:gd name="f864" fmla="*/ f744 f663 1"/>
                  <a:gd name="f865" fmla="*/ f745 f662 1"/>
                  <a:gd name="f866" fmla="*/ f746 f663 1"/>
                  <a:gd name="f867" fmla="*/ f747 f662 1"/>
                  <a:gd name="f868" fmla="*/ f748 f663 1"/>
                  <a:gd name="f869" fmla="*/ f749 f662 1"/>
                  <a:gd name="f870" fmla="*/ f750 f663 1"/>
                  <a:gd name="f871" fmla="*/ f751 f662 1"/>
                  <a:gd name="f872" fmla="*/ f752 f663 1"/>
                  <a:gd name="f873" fmla="*/ f753 f662 1"/>
                  <a:gd name="f874" fmla="*/ f754 f663 1"/>
                  <a:gd name="f875" fmla="*/ f755 f662 1"/>
                  <a:gd name="f876" fmla="*/ f756 f663 1"/>
                  <a:gd name="f877" fmla="*/ f757 f663 1"/>
                  <a:gd name="f878" fmla="*/ f758 f662 1"/>
                  <a:gd name="f879" fmla="*/ f759 f663 1"/>
                  <a:gd name="f880" fmla="*/ f760 f662 1"/>
                  <a:gd name="f881" fmla="*/ f761 f663 1"/>
                  <a:gd name="f882" fmla="*/ f762 f662 1"/>
                  <a:gd name="f883" fmla="*/ f763 f663 1"/>
                  <a:gd name="f884" fmla="*/ f764 f662 1"/>
                  <a:gd name="f885" fmla="*/ f765 f663 1"/>
                  <a:gd name="f886" fmla="*/ f766 f662 1"/>
                  <a:gd name="f887" fmla="*/ f767 f663 1"/>
                  <a:gd name="f888" fmla="*/ f768 f662 1"/>
                  <a:gd name="f889" fmla="*/ f769 f663 1"/>
                  <a:gd name="f890" fmla="*/ f770 f662 1"/>
                  <a:gd name="f891" fmla="*/ f771 f662 1"/>
                  <a:gd name="f892" fmla="*/ f772 f663 1"/>
                  <a:gd name="f893" fmla="*/ f773 f662 1"/>
                  <a:gd name="f894" fmla="*/ f774 f663 1"/>
                  <a:gd name="f895" fmla="*/ f775 f662 1"/>
                  <a:gd name="f896" fmla="*/ f776 f663 1"/>
                  <a:gd name="f897" fmla="*/ f777 f662 1"/>
                  <a:gd name="f898" fmla="*/ f778 f663 1"/>
                  <a:gd name="f899" fmla="*/ f779 f662 1"/>
                  <a:gd name="f900" fmla="*/ f780 f663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785">
                    <a:pos x="f790" y="f791"/>
                  </a:cxn>
                  <a:cxn ang="f785">
                    <a:pos x="f792" y="f793"/>
                  </a:cxn>
                  <a:cxn ang="f785">
                    <a:pos x="f794" y="f795"/>
                  </a:cxn>
                  <a:cxn ang="f785">
                    <a:pos x="f796" y="f797"/>
                  </a:cxn>
                  <a:cxn ang="f785">
                    <a:pos x="f798" y="f799"/>
                  </a:cxn>
                  <a:cxn ang="f785">
                    <a:pos x="f800" y="f801"/>
                  </a:cxn>
                  <a:cxn ang="f785">
                    <a:pos x="f802" y="f803"/>
                  </a:cxn>
                  <a:cxn ang="f785">
                    <a:pos x="f804" y="f805"/>
                  </a:cxn>
                  <a:cxn ang="f785">
                    <a:pos x="f806" y="f807"/>
                  </a:cxn>
                  <a:cxn ang="f785">
                    <a:pos x="f808" y="f809"/>
                  </a:cxn>
                  <a:cxn ang="f785">
                    <a:pos x="f810" y="f811"/>
                  </a:cxn>
                  <a:cxn ang="f785">
                    <a:pos x="f812" y="f813"/>
                  </a:cxn>
                  <a:cxn ang="f785">
                    <a:pos x="f814" y="f815"/>
                  </a:cxn>
                  <a:cxn ang="f785">
                    <a:pos x="f816" y="f817"/>
                  </a:cxn>
                  <a:cxn ang="f785">
                    <a:pos x="f806" y="f818"/>
                  </a:cxn>
                  <a:cxn ang="f785">
                    <a:pos x="f819" y="f820"/>
                  </a:cxn>
                  <a:cxn ang="f785">
                    <a:pos x="f821" y="f822"/>
                  </a:cxn>
                  <a:cxn ang="f785">
                    <a:pos x="f823" y="f824"/>
                  </a:cxn>
                  <a:cxn ang="f785">
                    <a:pos x="f825" y="f826"/>
                  </a:cxn>
                  <a:cxn ang="f785">
                    <a:pos x="f827" y="f828"/>
                  </a:cxn>
                  <a:cxn ang="f785">
                    <a:pos x="f829" y="f830"/>
                  </a:cxn>
                  <a:cxn ang="f785">
                    <a:pos x="f831" y="f832"/>
                  </a:cxn>
                  <a:cxn ang="f785">
                    <a:pos x="f833" y="f834"/>
                  </a:cxn>
                  <a:cxn ang="f785">
                    <a:pos x="f835" y="f836"/>
                  </a:cxn>
                  <a:cxn ang="f785">
                    <a:pos x="f837" y="f838"/>
                  </a:cxn>
                  <a:cxn ang="f785">
                    <a:pos x="f839" y="f840"/>
                  </a:cxn>
                  <a:cxn ang="f785">
                    <a:pos x="f841" y="f842"/>
                  </a:cxn>
                  <a:cxn ang="f785">
                    <a:pos x="f843" y="f844"/>
                  </a:cxn>
                  <a:cxn ang="f785">
                    <a:pos x="f845" y="f846"/>
                  </a:cxn>
                  <a:cxn ang="f785">
                    <a:pos x="f847" y="f848"/>
                  </a:cxn>
                  <a:cxn ang="f785">
                    <a:pos x="f849" y="f850"/>
                  </a:cxn>
                  <a:cxn ang="f785">
                    <a:pos x="f851" y="f852"/>
                  </a:cxn>
                  <a:cxn ang="f785">
                    <a:pos x="f853" y="f854"/>
                  </a:cxn>
                  <a:cxn ang="f785">
                    <a:pos x="f849" y="f855"/>
                  </a:cxn>
                  <a:cxn ang="f785">
                    <a:pos x="f856" y="f857"/>
                  </a:cxn>
                  <a:cxn ang="f785">
                    <a:pos x="f858" y="f859"/>
                  </a:cxn>
                  <a:cxn ang="f785">
                    <a:pos x="f860" y="f830"/>
                  </a:cxn>
                  <a:cxn ang="f785">
                    <a:pos x="f861" y="f862"/>
                  </a:cxn>
                  <a:cxn ang="f785">
                    <a:pos x="f863" y="f864"/>
                  </a:cxn>
                  <a:cxn ang="f785">
                    <a:pos x="f865" y="f866"/>
                  </a:cxn>
                  <a:cxn ang="f785">
                    <a:pos x="f867" y="f868"/>
                  </a:cxn>
                  <a:cxn ang="f785">
                    <a:pos x="f869" y="f870"/>
                  </a:cxn>
                  <a:cxn ang="f785">
                    <a:pos x="f871" y="f872"/>
                  </a:cxn>
                  <a:cxn ang="f785">
                    <a:pos x="f873" y="f874"/>
                  </a:cxn>
                  <a:cxn ang="f785">
                    <a:pos x="f875" y="f876"/>
                  </a:cxn>
                  <a:cxn ang="f785">
                    <a:pos x="f849" y="f877"/>
                  </a:cxn>
                  <a:cxn ang="f785">
                    <a:pos x="f878" y="f879"/>
                  </a:cxn>
                  <a:cxn ang="f785">
                    <a:pos x="f880" y="f881"/>
                  </a:cxn>
                  <a:cxn ang="f785">
                    <a:pos x="f882" y="f883"/>
                  </a:cxn>
                  <a:cxn ang="f785">
                    <a:pos x="f884" y="f885"/>
                  </a:cxn>
                  <a:cxn ang="f785">
                    <a:pos x="f886" y="f887"/>
                  </a:cxn>
                  <a:cxn ang="f785">
                    <a:pos x="f888" y="f889"/>
                  </a:cxn>
                  <a:cxn ang="f785">
                    <a:pos x="f890" y="f799"/>
                  </a:cxn>
                  <a:cxn ang="f785">
                    <a:pos x="f891" y="f892"/>
                  </a:cxn>
                  <a:cxn ang="f785">
                    <a:pos x="f893" y="f894"/>
                  </a:cxn>
                  <a:cxn ang="f785">
                    <a:pos x="f895" y="f896"/>
                  </a:cxn>
                  <a:cxn ang="f785">
                    <a:pos x="f897" y="f898"/>
                  </a:cxn>
                  <a:cxn ang="f785">
                    <a:pos x="f899" y="f900"/>
                  </a:cxn>
                </a:cxnLst>
                <a:rect l="f786" t="f789" r="f787" b="f788"/>
                <a:pathLst>
                  <a:path w="823" h="911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5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11"/>
                    </a:lnTo>
                    <a:lnTo>
                      <a:pt x="f22" y="f23"/>
                    </a:lnTo>
                    <a:lnTo>
                      <a:pt x="f24" y="f11"/>
                    </a:lnTo>
                    <a:lnTo>
                      <a:pt x="f24" y="f13"/>
                    </a:lnTo>
                    <a:lnTo>
                      <a:pt x="f22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28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2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39"/>
                    </a:lnTo>
                    <a:lnTo>
                      <a:pt x="f40" y="f41"/>
                    </a:lnTo>
                    <a:lnTo>
                      <a:pt x="f42" y="f37"/>
                    </a:lnTo>
                    <a:lnTo>
                      <a:pt x="f43" y="f44"/>
                    </a:lnTo>
                    <a:lnTo>
                      <a:pt x="f45" y="f32"/>
                    </a:lnTo>
                    <a:lnTo>
                      <a:pt x="f46" y="f32"/>
                    </a:lnTo>
                    <a:lnTo>
                      <a:pt x="f47" y="f39"/>
                    </a:lnTo>
                    <a:lnTo>
                      <a:pt x="f48" y="f39"/>
                    </a:lnTo>
                    <a:lnTo>
                      <a:pt x="f49" y="f30"/>
                    </a:lnTo>
                    <a:lnTo>
                      <a:pt x="f50" y="f51"/>
                    </a:lnTo>
                    <a:lnTo>
                      <a:pt x="f52" y="f53"/>
                    </a:lnTo>
                    <a:lnTo>
                      <a:pt x="f52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59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4" y="f68"/>
                    </a:lnTo>
                    <a:lnTo>
                      <a:pt x="f62" y="f69"/>
                    </a:lnTo>
                    <a:lnTo>
                      <a:pt x="f59" y="f69"/>
                    </a:lnTo>
                    <a:lnTo>
                      <a:pt x="f70" y="f68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4"/>
                    </a:lnTo>
                    <a:lnTo>
                      <a:pt x="f96" y="f92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86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0" y="f112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119" y="f120"/>
                    </a:lnTo>
                    <a:lnTo>
                      <a:pt x="f119" y="f121"/>
                    </a:lnTo>
                    <a:lnTo>
                      <a:pt x="f122" y="f123"/>
                    </a:lnTo>
                    <a:lnTo>
                      <a:pt x="f108" y="f124"/>
                    </a:lnTo>
                    <a:lnTo>
                      <a:pt x="f106" y="f125"/>
                    </a:lnTo>
                    <a:lnTo>
                      <a:pt x="f126" y="f127"/>
                    </a:lnTo>
                    <a:lnTo>
                      <a:pt x="f104" y="f128"/>
                    </a:lnTo>
                    <a:lnTo>
                      <a:pt x="f126" y="f129"/>
                    </a:ln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lnTo>
                      <a:pt x="f134" y="f136"/>
                    </a:lnTo>
                    <a:lnTo>
                      <a:pt x="f132" y="f137"/>
                    </a:lnTo>
                    <a:lnTo>
                      <a:pt x="f115" y="f138"/>
                    </a:lnTo>
                    <a:lnTo>
                      <a:pt x="f139" y="f140"/>
                    </a:lnTo>
                    <a:lnTo>
                      <a:pt x="f122" y="f141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8" y="f159"/>
                    </a:lnTo>
                    <a:lnTo>
                      <a:pt x="f160" y="f161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6" y="f167"/>
                    </a:lnTo>
                    <a:lnTo>
                      <a:pt x="f152" y="f168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lnTo>
                      <a:pt x="f177" y="f176"/>
                    </a:lnTo>
                    <a:lnTo>
                      <a:pt x="f178" y="f179"/>
                    </a:lnTo>
                    <a:lnTo>
                      <a:pt x="f180" y="f179"/>
                    </a:lnTo>
                    <a:lnTo>
                      <a:pt x="f181" y="f182"/>
                    </a:lnTo>
                    <a:lnTo>
                      <a:pt x="f183" y="f184"/>
                    </a:lnTo>
                    <a:lnTo>
                      <a:pt x="f185" y="f186"/>
                    </a:lnTo>
                    <a:lnTo>
                      <a:pt x="f187" y="f188"/>
                    </a:lnTo>
                    <a:lnTo>
                      <a:pt x="f189" y="f190"/>
                    </a:lnTo>
                    <a:lnTo>
                      <a:pt x="f191" y="f192"/>
                    </a:lnTo>
                    <a:lnTo>
                      <a:pt x="f193" y="f194"/>
                    </a:lnTo>
                    <a:lnTo>
                      <a:pt x="f195" y="f196"/>
                    </a:lnTo>
                    <a:lnTo>
                      <a:pt x="f195" y="f197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202" y="f203"/>
                    </a:lnTo>
                    <a:lnTo>
                      <a:pt x="f198" y="f204"/>
                    </a:lnTo>
                    <a:lnTo>
                      <a:pt x="f202" y="f205"/>
                    </a:lnTo>
                    <a:lnTo>
                      <a:pt x="f206" y="f207"/>
                    </a:lnTo>
                    <a:lnTo>
                      <a:pt x="f208" y="f209"/>
                    </a:lnTo>
                    <a:lnTo>
                      <a:pt x="f208" y="f210"/>
                    </a:lnTo>
                    <a:lnTo>
                      <a:pt x="f211" y="f212"/>
                    </a:lnTo>
                    <a:lnTo>
                      <a:pt x="f208" y="f213"/>
                    </a:lnTo>
                    <a:lnTo>
                      <a:pt x="f200" y="f214"/>
                    </a:lnTo>
                    <a:lnTo>
                      <a:pt x="f195" y="f215"/>
                    </a:lnTo>
                    <a:lnTo>
                      <a:pt x="f216" y="f217"/>
                    </a:lnTo>
                    <a:lnTo>
                      <a:pt x="f218" y="f219"/>
                    </a:lnTo>
                    <a:lnTo>
                      <a:pt x="f220" y="f221"/>
                    </a:lnTo>
                    <a:lnTo>
                      <a:pt x="f6" y="f222"/>
                    </a:lnTo>
                    <a:lnTo>
                      <a:pt x="f218" y="f223"/>
                    </a:lnTo>
                    <a:lnTo>
                      <a:pt x="f224" y="f225"/>
                    </a:lnTo>
                    <a:lnTo>
                      <a:pt x="f195" y="f225"/>
                    </a:lnTo>
                    <a:lnTo>
                      <a:pt x="f198" y="f226"/>
                    </a:lnTo>
                    <a:lnTo>
                      <a:pt x="f202" y="f227"/>
                    </a:lnTo>
                    <a:lnTo>
                      <a:pt x="f206" y="f227"/>
                    </a:lnTo>
                    <a:lnTo>
                      <a:pt x="f191" y="f225"/>
                    </a:lnTo>
                    <a:lnTo>
                      <a:pt x="f191" y="f228"/>
                    </a:lnTo>
                    <a:lnTo>
                      <a:pt x="f208" y="f229"/>
                    </a:lnTo>
                    <a:lnTo>
                      <a:pt x="f230" y="f222"/>
                    </a:lnTo>
                    <a:lnTo>
                      <a:pt x="f189" y="f231"/>
                    </a:lnTo>
                    <a:lnTo>
                      <a:pt x="f232" y="f231"/>
                    </a:lnTo>
                    <a:lnTo>
                      <a:pt x="f187" y="f229"/>
                    </a:lnTo>
                    <a:lnTo>
                      <a:pt x="f233" y="f226"/>
                    </a:lnTo>
                    <a:lnTo>
                      <a:pt x="f234" y="f235"/>
                    </a:lnTo>
                    <a:lnTo>
                      <a:pt x="f236" y="f235"/>
                    </a:lnTo>
                    <a:lnTo>
                      <a:pt x="f183" y="f226"/>
                    </a:lnTo>
                    <a:lnTo>
                      <a:pt x="f237" y="f223"/>
                    </a:lnTo>
                    <a:lnTo>
                      <a:pt x="f178" y="f238"/>
                    </a:lnTo>
                    <a:lnTo>
                      <a:pt x="f239" y="f222"/>
                    </a:lnTo>
                    <a:lnTo>
                      <a:pt x="f240" y="f238"/>
                    </a:lnTo>
                    <a:lnTo>
                      <a:pt x="f241" y="f225"/>
                    </a:lnTo>
                    <a:lnTo>
                      <a:pt x="f169" y="f242"/>
                    </a:lnTo>
                    <a:lnTo>
                      <a:pt x="f175" y="f243"/>
                    </a:lnTo>
                    <a:lnTo>
                      <a:pt x="f244" y="f245"/>
                    </a:lnTo>
                    <a:lnTo>
                      <a:pt x="f246" y="f247"/>
                    </a:lnTo>
                    <a:lnTo>
                      <a:pt x="f237" y="f248"/>
                    </a:lnTo>
                    <a:lnTo>
                      <a:pt x="f246" y="f249"/>
                    </a:lnTo>
                    <a:lnTo>
                      <a:pt x="f250" y="f251"/>
                    </a:lnTo>
                    <a:lnTo>
                      <a:pt x="f177" y="f252"/>
                    </a:lnTo>
                    <a:lnTo>
                      <a:pt x="f171" y="f253"/>
                    </a:lnTo>
                    <a:lnTo>
                      <a:pt x="f241" y="f254"/>
                    </a:lnTo>
                    <a:lnTo>
                      <a:pt x="f166" y="f255"/>
                    </a:lnTo>
                    <a:lnTo>
                      <a:pt x="f256" y="f257"/>
                    </a:lnTo>
                    <a:lnTo>
                      <a:pt x="f258" y="f259"/>
                    </a:lnTo>
                    <a:lnTo>
                      <a:pt x="f115" y="f260"/>
                    </a:lnTo>
                    <a:lnTo>
                      <a:pt x="f101" y="f261"/>
                    </a:lnTo>
                    <a:lnTo>
                      <a:pt x="f262" y="f263"/>
                    </a:lnTo>
                    <a:lnTo>
                      <a:pt x="f264" y="f265"/>
                    </a:lnTo>
                    <a:lnTo>
                      <a:pt x="f264" y="f266"/>
                    </a:lnTo>
                    <a:lnTo>
                      <a:pt x="f267" y="f12"/>
                    </a:lnTo>
                    <a:lnTo>
                      <a:pt x="f268" y="f269"/>
                    </a:lnTo>
                    <a:lnTo>
                      <a:pt x="f270" y="f271"/>
                    </a:lnTo>
                    <a:lnTo>
                      <a:pt x="f270" y="f272"/>
                    </a:lnTo>
                    <a:lnTo>
                      <a:pt x="f273" y="f274"/>
                    </a:lnTo>
                    <a:lnTo>
                      <a:pt x="f275" y="f276"/>
                    </a:lnTo>
                    <a:lnTo>
                      <a:pt x="f97" y="f45"/>
                    </a:lnTo>
                    <a:lnTo>
                      <a:pt x="f99" y="f277"/>
                    </a:lnTo>
                    <a:lnTo>
                      <a:pt x="f101" y="f278"/>
                    </a:lnTo>
                    <a:lnTo>
                      <a:pt x="f279" y="f49"/>
                    </a:lnTo>
                    <a:lnTo>
                      <a:pt x="f280" y="f281"/>
                    </a:lnTo>
                    <a:lnTo>
                      <a:pt x="f108" y="f93"/>
                    </a:lnTo>
                    <a:lnTo>
                      <a:pt x="f132" y="f95"/>
                    </a:lnTo>
                    <a:lnTo>
                      <a:pt x="f139" y="f264"/>
                    </a:lnTo>
                    <a:lnTo>
                      <a:pt x="f117" y="f99"/>
                    </a:lnTo>
                    <a:lnTo>
                      <a:pt x="f134" y="f104"/>
                    </a:lnTo>
                    <a:lnTo>
                      <a:pt x="f110" y="f132"/>
                    </a:lnTo>
                    <a:lnTo>
                      <a:pt x="f280" y="f282"/>
                    </a:lnTo>
                    <a:lnTo>
                      <a:pt x="f283" y="f284"/>
                    </a:lnTo>
                    <a:lnTo>
                      <a:pt x="f279" y="f285"/>
                    </a:lnTo>
                    <a:lnTo>
                      <a:pt x="f286" y="f156"/>
                    </a:lnTo>
                    <a:lnTo>
                      <a:pt x="f287" y="f237"/>
                    </a:lnTo>
                    <a:lnTo>
                      <a:pt x="f287" y="f288"/>
                    </a:lnTo>
                    <a:lnTo>
                      <a:pt x="f280" y="f289"/>
                    </a:lnTo>
                    <a:lnTo>
                      <a:pt x="f130" y="f290"/>
                    </a:lnTo>
                    <a:lnTo>
                      <a:pt x="f291" y="f198"/>
                    </a:lnTo>
                    <a:lnTo>
                      <a:pt x="f104" y="f292"/>
                    </a:lnTo>
                    <a:lnTo>
                      <a:pt x="f286" y="f293"/>
                    </a:lnTo>
                    <a:lnTo>
                      <a:pt x="f101" y="f294"/>
                    </a:lnTo>
                    <a:lnTo>
                      <a:pt x="f286" y="f295"/>
                    </a:lnTo>
                    <a:lnTo>
                      <a:pt x="f286" y="f296"/>
                    </a:lnTo>
                    <a:lnTo>
                      <a:pt x="f102" y="f297"/>
                    </a:lnTo>
                    <a:lnTo>
                      <a:pt x="f280" y="f297"/>
                    </a:lnTo>
                    <a:lnTo>
                      <a:pt x="f291" y="f298"/>
                    </a:lnTo>
                    <a:lnTo>
                      <a:pt x="f108" y="f299"/>
                    </a:lnTo>
                    <a:lnTo>
                      <a:pt x="f108" y="f300"/>
                    </a:lnTo>
                    <a:lnTo>
                      <a:pt x="f130" y="f301"/>
                    </a:lnTo>
                    <a:lnTo>
                      <a:pt x="f130" y="f302"/>
                    </a:lnTo>
                    <a:lnTo>
                      <a:pt x="f280" y="f303"/>
                    </a:lnTo>
                    <a:lnTo>
                      <a:pt x="f101" y="f304"/>
                    </a:lnTo>
                    <a:lnTo>
                      <a:pt x="f273" y="f304"/>
                    </a:lnTo>
                    <a:lnTo>
                      <a:pt x="f305" y="f306"/>
                    </a:lnTo>
                    <a:lnTo>
                      <a:pt x="f307" y="f308"/>
                    </a:lnTo>
                    <a:lnTo>
                      <a:pt x="f89" y="f309"/>
                    </a:lnTo>
                    <a:lnTo>
                      <a:pt x="f81" y="f309"/>
                    </a:lnTo>
                    <a:lnTo>
                      <a:pt x="f75" y="f308"/>
                    </a:lnTo>
                    <a:lnTo>
                      <a:pt x="f310" y="f311"/>
                    </a:lnTo>
                    <a:lnTo>
                      <a:pt x="f66" y="f312"/>
                    </a:lnTo>
                    <a:lnTo>
                      <a:pt x="f52" y="f313"/>
                    </a:lnTo>
                    <a:lnTo>
                      <a:pt x="f314" y="f315"/>
                    </a:lnTo>
                    <a:lnTo>
                      <a:pt x="f316" y="f317"/>
                    </a:lnTo>
                    <a:lnTo>
                      <a:pt x="f277" y="f318"/>
                    </a:lnTo>
                    <a:lnTo>
                      <a:pt x="f319" y="f320"/>
                    </a:lnTo>
                    <a:lnTo>
                      <a:pt x="f38" y="f321"/>
                    </a:lnTo>
                    <a:lnTo>
                      <a:pt x="f322" y="f323"/>
                    </a:lnTo>
                    <a:lnTo>
                      <a:pt x="f324" y="f325"/>
                    </a:lnTo>
                    <a:lnTo>
                      <a:pt x="f274" y="f326"/>
                    </a:lnTo>
                    <a:lnTo>
                      <a:pt x="f272" y="f327"/>
                    </a:lnTo>
                    <a:lnTo>
                      <a:pt x="f328" y="f329"/>
                    </a:lnTo>
                    <a:lnTo>
                      <a:pt x="f330" y="f323"/>
                    </a:lnTo>
                    <a:lnTo>
                      <a:pt x="f9" y="f331"/>
                    </a:lnTo>
                    <a:lnTo>
                      <a:pt x="f332" y="f333"/>
                    </a:lnTo>
                    <a:lnTo>
                      <a:pt x="f334" y="f335"/>
                    </a:lnTo>
                    <a:lnTo>
                      <a:pt x="f336" y="f309"/>
                    </a:lnTo>
                    <a:lnTo>
                      <a:pt x="f337" y="f313"/>
                    </a:lnTo>
                    <a:lnTo>
                      <a:pt x="f338" y="f339"/>
                    </a:lnTo>
                    <a:lnTo>
                      <a:pt x="f340" y="f303"/>
                    </a:lnTo>
                    <a:lnTo>
                      <a:pt x="f251" y="f303"/>
                    </a:lnTo>
                    <a:lnTo>
                      <a:pt x="f341" y="f304"/>
                    </a:lnTo>
                    <a:lnTo>
                      <a:pt x="f342" y="f304"/>
                    </a:lnTo>
                    <a:lnTo>
                      <a:pt x="f343" y="f303"/>
                    </a:lnTo>
                    <a:lnTo>
                      <a:pt x="f344" y="f345"/>
                    </a:lnTo>
                    <a:lnTo>
                      <a:pt x="f346" y="f347"/>
                    </a:lnTo>
                    <a:lnTo>
                      <a:pt x="f348" y="f349"/>
                    </a:lnTo>
                    <a:lnTo>
                      <a:pt x="f350" y="f351"/>
                    </a:lnTo>
                    <a:lnTo>
                      <a:pt x="f352" y="f300"/>
                    </a:lnTo>
                    <a:lnTo>
                      <a:pt x="f353" y="f296"/>
                    </a:lnTo>
                    <a:lnTo>
                      <a:pt x="f223" y="f354"/>
                    </a:lnTo>
                    <a:lnTo>
                      <a:pt x="f219" y="f216"/>
                    </a:lnTo>
                    <a:lnTo>
                      <a:pt x="f355" y="f202"/>
                    </a:lnTo>
                    <a:lnTo>
                      <a:pt x="f356" y="f208"/>
                    </a:lnTo>
                    <a:lnTo>
                      <a:pt x="f357" y="f208"/>
                    </a:lnTo>
                    <a:lnTo>
                      <a:pt x="f212" y="f191"/>
                    </a:lnTo>
                    <a:lnTo>
                      <a:pt x="f358" y="f359"/>
                    </a:lnTo>
                    <a:lnTo>
                      <a:pt x="f217" y="f6"/>
                    </a:lnTo>
                    <a:lnTo>
                      <a:pt x="f221" y="f294"/>
                    </a:lnTo>
                    <a:lnTo>
                      <a:pt x="f223" y="f360"/>
                    </a:lnTo>
                    <a:lnTo>
                      <a:pt x="f226" y="f300"/>
                    </a:lnTo>
                    <a:lnTo>
                      <a:pt x="f361" y="f351"/>
                    </a:lnTo>
                    <a:lnTo>
                      <a:pt x="f361" y="f362"/>
                    </a:lnTo>
                    <a:lnTo>
                      <a:pt x="f227" y="f345"/>
                    </a:lnTo>
                    <a:lnTo>
                      <a:pt x="f226" y="f302"/>
                    </a:lnTo>
                    <a:lnTo>
                      <a:pt x="f228" y="f363"/>
                    </a:lnTo>
                    <a:lnTo>
                      <a:pt x="f364" y="f365"/>
                    </a:lnTo>
                    <a:lnTo>
                      <a:pt x="f238" y="f365"/>
                    </a:lnTo>
                    <a:lnTo>
                      <a:pt x="f221" y="f363"/>
                    </a:lnTo>
                    <a:lnTo>
                      <a:pt x="f366" y="f302"/>
                    </a:lnTo>
                    <a:lnTo>
                      <a:pt x="f367" y="f368"/>
                    </a:lnTo>
                    <a:lnTo>
                      <a:pt x="f369" y="f370"/>
                    </a:lnTo>
                    <a:lnTo>
                      <a:pt x="f371" y="f372"/>
                    </a:lnTo>
                    <a:lnTo>
                      <a:pt x="f373" y="f362"/>
                    </a:lnTo>
                    <a:lnTo>
                      <a:pt x="f356" y="f301"/>
                    </a:lnTo>
                    <a:lnTo>
                      <a:pt x="f374" y="f351"/>
                    </a:lnTo>
                    <a:lnTo>
                      <a:pt x="f375" y="f376"/>
                    </a:lnTo>
                    <a:lnTo>
                      <a:pt x="f377" y="f300"/>
                    </a:lnTo>
                    <a:lnTo>
                      <a:pt x="f378" y="f379"/>
                    </a:lnTo>
                    <a:lnTo>
                      <a:pt x="f380" y="f300"/>
                    </a:lnTo>
                    <a:lnTo>
                      <a:pt x="f381" y="f300"/>
                    </a:lnTo>
                    <a:lnTo>
                      <a:pt x="f381" y="f382"/>
                    </a:lnTo>
                    <a:lnTo>
                      <a:pt x="f383" y="f301"/>
                    </a:lnTo>
                    <a:lnTo>
                      <a:pt x="f209" y="f349"/>
                    </a:lnTo>
                    <a:lnTo>
                      <a:pt x="f384" y="f372"/>
                    </a:lnTo>
                    <a:lnTo>
                      <a:pt x="f384" y="f385"/>
                    </a:lnTo>
                    <a:lnTo>
                      <a:pt x="f386" y="f345"/>
                    </a:lnTo>
                    <a:lnTo>
                      <a:pt x="f386" y="f387"/>
                    </a:lnTo>
                    <a:lnTo>
                      <a:pt x="f388" y="f387"/>
                    </a:lnTo>
                    <a:lnTo>
                      <a:pt x="f388" y="f302"/>
                    </a:lnTo>
                    <a:lnTo>
                      <a:pt x="f389" y="f304"/>
                    </a:lnTo>
                    <a:lnTo>
                      <a:pt x="f380" y="f313"/>
                    </a:lnTo>
                    <a:lnTo>
                      <a:pt x="f390" y="f308"/>
                    </a:lnTo>
                    <a:lnTo>
                      <a:pt x="f205" y="f313"/>
                    </a:lnTo>
                    <a:lnTo>
                      <a:pt x="f391" y="f339"/>
                    </a:lnTo>
                    <a:lnTo>
                      <a:pt x="f392" y="f345"/>
                    </a:lnTo>
                    <a:lnTo>
                      <a:pt x="f393" y="f370"/>
                    </a:lnTo>
                    <a:lnTo>
                      <a:pt x="f393" y="f372"/>
                    </a:lnTo>
                    <a:lnTo>
                      <a:pt x="f394" y="f395"/>
                    </a:lnTo>
                    <a:lnTo>
                      <a:pt x="f394" y="f349"/>
                    </a:lnTo>
                    <a:lnTo>
                      <a:pt x="f396" y="f397"/>
                    </a:lnTo>
                    <a:lnTo>
                      <a:pt x="f398" y="f397"/>
                    </a:lnTo>
                    <a:lnTo>
                      <a:pt x="f399" y="f301"/>
                    </a:lnTo>
                    <a:lnTo>
                      <a:pt x="f400" y="f301"/>
                    </a:lnTo>
                    <a:lnTo>
                      <a:pt x="f401" y="f349"/>
                    </a:lnTo>
                    <a:lnTo>
                      <a:pt x="f194" y="f395"/>
                    </a:lnTo>
                    <a:lnTo>
                      <a:pt x="f402" y="f403"/>
                    </a:lnTo>
                    <a:lnTo>
                      <a:pt x="f404" y="f347"/>
                    </a:lnTo>
                    <a:lnTo>
                      <a:pt x="f405" y="f403"/>
                    </a:lnTo>
                    <a:lnTo>
                      <a:pt x="f190" y="f395"/>
                    </a:lnTo>
                    <a:lnTo>
                      <a:pt x="f406" y="f407"/>
                    </a:lnTo>
                    <a:lnTo>
                      <a:pt x="f406" y="f408"/>
                    </a:lnTo>
                    <a:lnTo>
                      <a:pt x="f409" y="f297"/>
                    </a:lnTo>
                    <a:lnTo>
                      <a:pt x="f190" y="f410"/>
                    </a:lnTo>
                    <a:lnTo>
                      <a:pt x="f406" y="f293"/>
                    </a:lnTo>
                    <a:lnTo>
                      <a:pt x="f411" y="f293"/>
                    </a:lnTo>
                    <a:lnTo>
                      <a:pt x="f412" y="f413"/>
                    </a:lnTo>
                    <a:lnTo>
                      <a:pt x="f414" y="f220"/>
                    </a:lnTo>
                    <a:lnTo>
                      <a:pt x="f415" y="f359"/>
                    </a:lnTo>
                    <a:lnTo>
                      <a:pt x="f416" y="f216"/>
                    </a:lnTo>
                    <a:lnTo>
                      <a:pt x="f417" y="f418"/>
                    </a:lnTo>
                    <a:lnTo>
                      <a:pt x="f419" y="f418"/>
                    </a:lnTo>
                    <a:lnTo>
                      <a:pt x="f420" y="f359"/>
                    </a:lnTo>
                    <a:lnTo>
                      <a:pt x="f420" y="f292"/>
                    </a:lnTo>
                    <a:lnTo>
                      <a:pt x="f421" y="f218"/>
                    </a:lnTo>
                    <a:lnTo>
                      <a:pt x="f421" y="f220"/>
                    </a:lnTo>
                    <a:lnTo>
                      <a:pt x="f422" y="f6"/>
                    </a:lnTo>
                    <a:lnTo>
                      <a:pt x="f182" y="f6"/>
                    </a:lnTo>
                    <a:lnTo>
                      <a:pt x="f176" y="f220"/>
                    </a:lnTo>
                    <a:lnTo>
                      <a:pt x="f174" y="f218"/>
                    </a:lnTo>
                    <a:lnTo>
                      <a:pt x="f174" y="f292"/>
                    </a:lnTo>
                    <a:lnTo>
                      <a:pt x="f423" y="f193"/>
                    </a:lnTo>
                    <a:lnTo>
                      <a:pt x="f424" y="f202"/>
                    </a:lnTo>
                    <a:lnTo>
                      <a:pt x="f425" y="f206"/>
                    </a:lnTo>
                    <a:lnTo>
                      <a:pt x="f426" y="f191"/>
                    </a:lnTo>
                    <a:lnTo>
                      <a:pt x="f167" y="f200"/>
                    </a:lnTo>
                    <a:lnTo>
                      <a:pt x="f427" y="f195"/>
                    </a:lnTo>
                    <a:lnTo>
                      <a:pt x="f428" y="f359"/>
                    </a:lnTo>
                    <a:lnTo>
                      <a:pt x="f165" y="f218"/>
                    </a:lnTo>
                    <a:lnTo>
                      <a:pt x="f429" y="f220"/>
                    </a:lnTo>
                    <a:lnTo>
                      <a:pt x="f430" y="f354"/>
                    </a:lnTo>
                    <a:lnTo>
                      <a:pt x="f431" y="f295"/>
                    </a:lnTo>
                    <a:lnTo>
                      <a:pt x="f432" y="f300"/>
                    </a:lnTo>
                    <a:lnTo>
                      <a:pt x="f433" y="f351"/>
                    </a:lnTo>
                    <a:lnTo>
                      <a:pt x="f434" y="f301"/>
                    </a:lnTo>
                    <a:lnTo>
                      <a:pt x="f435" y="f395"/>
                    </a:lnTo>
                    <a:lnTo>
                      <a:pt x="f436" y="f370"/>
                    </a:lnTo>
                    <a:lnTo>
                      <a:pt x="f145" y="f387"/>
                    </a:lnTo>
                    <a:lnTo>
                      <a:pt x="f433" y="f304"/>
                    </a:lnTo>
                    <a:lnTo>
                      <a:pt x="f437" y="f311"/>
                    </a:lnTo>
                    <a:lnTo>
                      <a:pt x="f151" y="f311"/>
                    </a:lnTo>
                    <a:lnTo>
                      <a:pt x="f438" y="f304"/>
                    </a:lnTo>
                    <a:lnTo>
                      <a:pt x="f429" y="f303"/>
                    </a:lnTo>
                    <a:lnTo>
                      <a:pt x="f428" y="f363"/>
                    </a:lnTo>
                    <a:lnTo>
                      <a:pt x="f439" y="f363"/>
                    </a:lnTo>
                    <a:lnTo>
                      <a:pt x="f440" y="f303"/>
                    </a:lnTo>
                    <a:lnTo>
                      <a:pt x="f182" y="f311"/>
                    </a:lnTo>
                    <a:lnTo>
                      <a:pt x="f184" y="f441"/>
                    </a:lnTo>
                    <a:lnTo>
                      <a:pt x="f442" y="f443"/>
                    </a:lnTo>
                    <a:lnTo>
                      <a:pt x="f176" y="f444"/>
                    </a:lnTo>
                    <a:lnTo>
                      <a:pt x="f440" y="f331"/>
                    </a:lnTo>
                    <a:lnTo>
                      <a:pt x="f445" y="f320"/>
                    </a:lnTo>
                    <a:lnTo>
                      <a:pt x="f168" y="f320"/>
                    </a:lnTo>
                    <a:lnTo>
                      <a:pt x="f446" y="f447"/>
                    </a:lnTo>
                    <a:lnTo>
                      <a:pt x="f429" y="f448"/>
                    </a:lnTo>
                    <a:lnTo>
                      <a:pt x="f155" y="f448"/>
                    </a:lnTo>
                    <a:lnTo>
                      <a:pt x="f430" y="f317"/>
                    </a:lnTo>
                    <a:lnTo>
                      <a:pt x="f151" y="f447"/>
                    </a:lnTo>
                    <a:lnTo>
                      <a:pt x="f449" y="f450"/>
                    </a:lnTo>
                    <a:lnTo>
                      <a:pt x="f451" y="f331"/>
                    </a:lnTo>
                    <a:lnTo>
                      <a:pt x="f449" y="f320"/>
                    </a:lnTo>
                    <a:lnTo>
                      <a:pt x="f153" y="f325"/>
                    </a:lnTo>
                    <a:lnTo>
                      <a:pt x="f430" y="f452"/>
                    </a:lnTo>
                    <a:lnTo>
                      <a:pt x="f151" y="f453"/>
                    </a:lnTo>
                    <a:lnTo>
                      <a:pt x="f431" y="f454"/>
                    </a:lnTo>
                    <a:lnTo>
                      <a:pt x="f433" y="f453"/>
                    </a:lnTo>
                    <a:lnTo>
                      <a:pt x="f436" y="f453"/>
                    </a:lnTo>
                    <a:lnTo>
                      <a:pt x="f455" y="f452"/>
                    </a:lnTo>
                    <a:lnTo>
                      <a:pt x="f456" y="f452"/>
                    </a:lnTo>
                    <a:lnTo>
                      <a:pt x="f457" y="f326"/>
                    </a:lnTo>
                    <a:lnTo>
                      <a:pt x="f458" y="f459"/>
                    </a:lnTo>
                    <a:lnTo>
                      <a:pt x="f460" y="f331"/>
                    </a:lnTo>
                    <a:lnTo>
                      <a:pt x="f461" y="f447"/>
                    </a:lnTo>
                    <a:lnTo>
                      <a:pt x="f131" y="f448"/>
                    </a:lnTo>
                    <a:lnTo>
                      <a:pt x="f462" y="f335"/>
                    </a:lnTo>
                    <a:lnTo>
                      <a:pt x="f463" y="f448"/>
                    </a:lnTo>
                    <a:lnTo>
                      <a:pt x="f464" y="f444"/>
                    </a:lnTo>
                    <a:lnTo>
                      <a:pt x="f465" y="f450"/>
                    </a:lnTo>
                    <a:lnTo>
                      <a:pt x="f127" y="f466"/>
                    </a:lnTo>
                    <a:lnTo>
                      <a:pt x="f467" y="f325"/>
                    </a:lnTo>
                    <a:lnTo>
                      <a:pt x="f468" y="f452"/>
                    </a:lnTo>
                    <a:lnTo>
                      <a:pt x="f469" y="f470"/>
                    </a:lnTo>
                    <a:lnTo>
                      <a:pt x="f471" y="f470"/>
                    </a:lnTo>
                    <a:lnTo>
                      <a:pt x="f92" y="f454"/>
                    </a:lnTo>
                    <a:lnTo>
                      <a:pt x="f472" y="f453"/>
                    </a:lnTo>
                    <a:lnTo>
                      <a:pt x="f473" y="f329"/>
                    </a:lnTo>
                    <a:lnTo>
                      <a:pt x="f474" y="f475"/>
                    </a:lnTo>
                    <a:lnTo>
                      <a:pt x="f84" y="f333"/>
                    </a:lnTo>
                    <a:lnTo>
                      <a:pt x="f476" y="f447"/>
                    </a:lnTo>
                    <a:lnTo>
                      <a:pt x="f80" y="f477"/>
                    </a:lnTo>
                    <a:lnTo>
                      <a:pt x="f478" y="f321"/>
                    </a:lnTo>
                    <a:lnTo>
                      <a:pt x="f479" y="f329"/>
                    </a:lnTo>
                    <a:lnTo>
                      <a:pt x="f480" y="f470"/>
                    </a:lnTo>
                    <a:lnTo>
                      <a:pt x="f481" y="f482"/>
                    </a:lnTo>
                    <a:lnTo>
                      <a:pt x="f483" y="f7"/>
                    </a:lnTo>
                    <a:lnTo>
                      <a:pt x="f484" y="f485"/>
                    </a:lnTo>
                    <a:lnTo>
                      <a:pt x="f32" y="f327"/>
                    </a:lnTo>
                    <a:lnTo>
                      <a:pt x="f32" y="f329"/>
                    </a:lnTo>
                    <a:lnTo>
                      <a:pt x="f51" y="f466"/>
                    </a:lnTo>
                    <a:lnTo>
                      <a:pt x="f486" y="f487"/>
                    </a:lnTo>
                    <a:lnTo>
                      <a:pt x="f488" y="f315"/>
                    </a:lnTo>
                    <a:lnTo>
                      <a:pt x="f486" y="f315"/>
                    </a:lnTo>
                    <a:lnTo>
                      <a:pt x="f489" y="f490"/>
                    </a:lnTo>
                    <a:lnTo>
                      <a:pt x="f34" y="f487"/>
                    </a:lnTo>
                    <a:lnTo>
                      <a:pt x="f37" y="f444"/>
                    </a:lnTo>
                    <a:lnTo>
                      <a:pt x="f491" y="f477"/>
                    </a:lnTo>
                    <a:lnTo>
                      <a:pt x="f492" y="f466"/>
                    </a:lnTo>
                    <a:lnTo>
                      <a:pt x="f493" y="f475"/>
                    </a:lnTo>
                    <a:lnTo>
                      <a:pt x="f494" y="f331"/>
                    </a:lnTo>
                    <a:lnTo>
                      <a:pt x="f13" y="f313"/>
                    </a:lnTo>
                    <a:lnTo>
                      <a:pt x="f11" y="f368"/>
                    </a:lnTo>
                    <a:lnTo>
                      <a:pt x="f5" y="f395"/>
                    </a:lnTo>
                    <a:lnTo>
                      <a:pt x="f5" y="f351"/>
                    </a:lnTo>
                    <a:lnTo>
                      <a:pt x="f23" y="f299"/>
                    </a:lnTo>
                    <a:lnTo>
                      <a:pt x="f495" y="f294"/>
                    </a:lnTo>
                    <a:lnTo>
                      <a:pt x="f18" y="f6"/>
                    </a:lnTo>
                    <a:lnTo>
                      <a:pt x="f13" y="f418"/>
                    </a:lnTo>
                    <a:lnTo>
                      <a:pt x="f20" y="f206"/>
                    </a:lnTo>
                    <a:lnTo>
                      <a:pt x="f13" y="f189"/>
                    </a:lnTo>
                    <a:lnTo>
                      <a:pt x="f496" y="f288"/>
                    </a:lnTo>
                    <a:lnTo>
                      <a:pt x="f497" y="f498"/>
                    </a:lnTo>
                    <a:lnTo>
                      <a:pt x="f497" y="f180"/>
                    </a:lnTo>
                    <a:lnTo>
                      <a:pt x="f499" y="f239"/>
                    </a:lnTo>
                    <a:lnTo>
                      <a:pt x="f500" y="f150"/>
                    </a:lnTo>
                    <a:lnTo>
                      <a:pt x="f501" y="f502"/>
                    </a:lnTo>
                    <a:lnTo>
                      <a:pt x="f44" y="f503"/>
                    </a:lnTo>
                    <a:lnTo>
                      <a:pt x="f32" y="f117"/>
                    </a:lnTo>
                    <a:lnTo>
                      <a:pt x="f504" y="f110"/>
                    </a:lnTo>
                    <a:lnTo>
                      <a:pt x="f30" y="f106"/>
                    </a:lnTo>
                    <a:lnTo>
                      <a:pt x="f501" y="f283"/>
                    </a:lnTo>
                    <a:lnTo>
                      <a:pt x="f505" y="f506"/>
                    </a:lnTo>
                    <a:lnTo>
                      <a:pt x="f507" y="f264"/>
                    </a:lnTo>
                    <a:lnTo>
                      <a:pt x="f492" y="f273"/>
                    </a:lnTo>
                    <a:lnTo>
                      <a:pt x="f507" y="f508"/>
                    </a:lnTo>
                    <a:lnTo>
                      <a:pt x="f29" y="f81"/>
                    </a:lnTo>
                    <a:lnTo>
                      <a:pt x="f41" y="f509"/>
                    </a:lnTo>
                    <a:lnTo>
                      <a:pt x="f51" y="f62"/>
                    </a:lnTo>
                    <a:lnTo>
                      <a:pt x="f488" y="f510"/>
                    </a:lnTo>
                    <a:lnTo>
                      <a:pt x="f511" y="f316"/>
                    </a:lnTo>
                    <a:lnTo>
                      <a:pt x="f512" y="f513"/>
                    </a:lnTo>
                    <a:lnTo>
                      <a:pt x="f514" y="f43"/>
                    </a:lnTo>
                    <a:lnTo>
                      <a:pt x="f56" y="f276"/>
                    </a:lnTo>
                    <a:lnTo>
                      <a:pt x="f515" y="f516"/>
                    </a:lnTo>
                    <a:lnTo>
                      <a:pt x="f517" y="f28"/>
                    </a:lnTo>
                    <a:lnTo>
                      <a:pt x="f518" y="f519"/>
                    </a:lnTo>
                    <a:lnTo>
                      <a:pt x="f61" y="f520"/>
                    </a:lnTo>
                    <a:lnTo>
                      <a:pt x="f61" y="f521"/>
                    </a:lnTo>
                    <a:lnTo>
                      <a:pt x="f522" y="f523"/>
                    </a:lnTo>
                    <a:lnTo>
                      <a:pt x="f524" y="f8"/>
                    </a:lnTo>
                    <a:lnTo>
                      <a:pt x="f525" y="f526"/>
                    </a:lnTo>
                    <a:lnTo>
                      <a:pt x="f63" y="f527"/>
                    </a:lnTo>
                    <a:lnTo>
                      <a:pt x="f478" y="f528"/>
                    </a:lnTo>
                    <a:lnTo>
                      <a:pt x="f529" y="f338"/>
                    </a:lnTo>
                    <a:lnTo>
                      <a:pt x="f82" y="f340"/>
                    </a:lnTo>
                    <a:lnTo>
                      <a:pt x="f476" y="f251"/>
                    </a:lnTo>
                    <a:lnTo>
                      <a:pt x="f530" y="f248"/>
                    </a:lnTo>
                    <a:lnTo>
                      <a:pt x="f68" y="f531"/>
                    </a:lnTo>
                    <a:lnTo>
                      <a:pt x="f69" y="f346"/>
                    </a:lnTo>
                    <a:lnTo>
                      <a:pt x="f69" y="f532"/>
                    </a:lnTo>
                    <a:lnTo>
                      <a:pt x="f533" y="f353"/>
                    </a:lnTo>
                    <a:lnTo>
                      <a:pt x="f103" y="f225"/>
                    </a:lnTo>
                    <a:lnTo>
                      <a:pt x="f534" y="f231"/>
                    </a:lnTo>
                    <a:lnTo>
                      <a:pt x="f535" y="f536"/>
                    </a:lnTo>
                    <a:lnTo>
                      <a:pt x="f109" y="f217"/>
                    </a:lnTo>
                    <a:lnTo>
                      <a:pt x="f537" y="f358"/>
                    </a:lnTo>
                    <a:lnTo>
                      <a:pt x="f538" y="f539"/>
                    </a:lnTo>
                    <a:lnTo>
                      <a:pt x="f540" y="f541"/>
                    </a:lnTo>
                    <a:lnTo>
                      <a:pt x="f542" y="f543"/>
                    </a:lnTo>
                    <a:lnTo>
                      <a:pt x="f112" y="f544"/>
                    </a:lnTo>
                    <a:lnTo>
                      <a:pt x="f545" y="f377"/>
                    </a:lnTo>
                    <a:lnTo>
                      <a:pt x="f546" y="f547"/>
                    </a:lnTo>
                    <a:lnTo>
                      <a:pt x="f548" y="f378"/>
                    </a:lnTo>
                    <a:lnTo>
                      <a:pt x="f549" y="f381"/>
                    </a:lnTo>
                    <a:lnTo>
                      <a:pt x="f550" y="f551"/>
                    </a:lnTo>
                    <a:lnTo>
                      <a:pt x="f552" y="f553"/>
                    </a:lnTo>
                    <a:lnTo>
                      <a:pt x="f2" y="f393"/>
                    </a:lnTo>
                    <a:lnTo>
                      <a:pt x="f554" y="f555"/>
                    </a:lnTo>
                    <a:lnTo>
                      <a:pt x="f556" y="f557"/>
                    </a:lnTo>
                    <a:lnTo>
                      <a:pt x="f558" y="f559"/>
                    </a:lnTo>
                    <a:lnTo>
                      <a:pt x="f558" y="f190"/>
                    </a:lnTo>
                    <a:lnTo>
                      <a:pt x="f560" y="f411"/>
                    </a:lnTo>
                    <a:lnTo>
                      <a:pt x="f135" y="f414"/>
                    </a:lnTo>
                    <a:lnTo>
                      <a:pt x="f561" y="f415"/>
                    </a:lnTo>
                    <a:lnTo>
                      <a:pt x="f562" y="f417"/>
                    </a:lnTo>
                    <a:lnTo>
                      <a:pt x="f563" y="f564"/>
                    </a:lnTo>
                    <a:lnTo>
                      <a:pt x="f565" y="f182"/>
                    </a:lnTo>
                    <a:lnTo>
                      <a:pt x="f456" y="f172"/>
                    </a:lnTo>
                    <a:lnTo>
                      <a:pt x="f566" y="f425"/>
                    </a:lnTo>
                    <a:lnTo>
                      <a:pt x="f567" y="f568"/>
                    </a:lnTo>
                    <a:lnTo>
                      <a:pt x="f569" y="f161"/>
                    </a:lnTo>
                    <a:lnTo>
                      <a:pt x="f570" y="f571"/>
                    </a:lnTo>
                    <a:lnTo>
                      <a:pt x="f145" y="f437"/>
                    </a:lnTo>
                    <a:lnTo>
                      <a:pt x="f434" y="f570"/>
                    </a:lnTo>
                    <a:lnTo>
                      <a:pt x="f572" y="f573"/>
                    </a:lnTo>
                    <a:lnTo>
                      <a:pt x="f574" y="f562"/>
                    </a:lnTo>
                    <a:lnTo>
                      <a:pt x="f575" y="f458"/>
                    </a:lnTo>
                    <a:lnTo>
                      <a:pt x="f431" y="f460"/>
                    </a:lnTo>
                    <a:lnTo>
                      <a:pt x="f571" y="f576"/>
                    </a:lnTo>
                    <a:lnTo>
                      <a:pt x="f161" y="f577"/>
                    </a:lnTo>
                    <a:lnTo>
                      <a:pt x="f163" y="f578"/>
                    </a:lnTo>
                    <a:lnTo>
                      <a:pt x="f579" y="f131"/>
                    </a:lnTo>
                    <a:lnTo>
                      <a:pt x="f429" y="f580"/>
                    </a:lnTo>
                    <a:lnTo>
                      <a:pt x="f159" y="f2"/>
                    </a:lnTo>
                    <a:lnTo>
                      <a:pt x="f159" y="f581"/>
                    </a:lnTo>
                    <a:lnTo>
                      <a:pt x="f582" y="f583"/>
                    </a:lnTo>
                    <a:lnTo>
                      <a:pt x="f446" y="f118"/>
                    </a:lnTo>
                    <a:lnTo>
                      <a:pt x="f167" y="f584"/>
                    </a:lnTo>
                    <a:lnTo>
                      <a:pt x="f585" y="f586"/>
                    </a:lnTo>
                    <a:lnTo>
                      <a:pt x="f167" y="f587"/>
                    </a:lnTo>
                    <a:lnTo>
                      <a:pt x="f428" y="f588"/>
                    </a:lnTo>
                    <a:lnTo>
                      <a:pt x="f155" y="f540"/>
                    </a:lnTo>
                    <a:lnTo>
                      <a:pt x="f571" y="f538"/>
                    </a:lnTo>
                    <a:lnTo>
                      <a:pt x="f571" y="f589"/>
                    </a:lnTo>
                    <a:lnTo>
                      <a:pt x="f590" y="f90"/>
                    </a:lnTo>
                    <a:lnTo>
                      <a:pt x="f438" y="f88"/>
                    </a:lnTo>
                    <a:lnTo>
                      <a:pt x="f438" y="f591"/>
                    </a:lnTo>
                    <a:lnTo>
                      <a:pt x="f159" y="f534"/>
                    </a:lnTo>
                    <a:lnTo>
                      <a:pt x="f582" y="f592"/>
                    </a:lnTo>
                    <a:lnTo>
                      <a:pt x="f168" y="f86"/>
                    </a:lnTo>
                    <a:lnTo>
                      <a:pt x="f424" y="f593"/>
                    </a:lnTo>
                    <a:lnTo>
                      <a:pt x="f172" y="f474"/>
                    </a:lnTo>
                    <a:lnTo>
                      <a:pt x="f594" y="f595"/>
                    </a:lnTo>
                    <a:lnTo>
                      <a:pt x="f594" y="f533"/>
                    </a:lnTo>
                    <a:lnTo>
                      <a:pt x="f422" y="f84"/>
                    </a:lnTo>
                    <a:lnTo>
                      <a:pt x="f419" y="f68"/>
                    </a:lnTo>
                    <a:lnTo>
                      <a:pt x="f416" y="f530"/>
                    </a:lnTo>
                    <a:lnTo>
                      <a:pt x="f596" y="f476"/>
                    </a:lnTo>
                    <a:lnTo>
                      <a:pt x="f597" y="f78"/>
                    </a:lnTo>
                    <a:lnTo>
                      <a:pt x="f598" y="f599"/>
                    </a:lnTo>
                    <a:lnTo>
                      <a:pt x="f600" y="f601"/>
                    </a:lnTo>
                    <a:lnTo>
                      <a:pt x="f419" y="f60"/>
                    </a:lnTo>
                    <a:lnTo>
                      <a:pt x="f597" y="f602"/>
                    </a:lnTo>
                    <a:lnTo>
                      <a:pt x="f414" y="f58"/>
                    </a:lnTo>
                    <a:lnTo>
                      <a:pt x="f190" y="f58"/>
                    </a:lnTo>
                    <a:lnTo>
                      <a:pt x="f557" y="f517"/>
                    </a:lnTo>
                    <a:lnTo>
                      <a:pt x="f603" y="f60"/>
                    </a:lnTo>
                    <a:lnTo>
                      <a:pt x="f604" y="f479"/>
                    </a:lnTo>
                    <a:lnTo>
                      <a:pt x="f604" y="f605"/>
                    </a:lnTo>
                    <a:lnTo>
                      <a:pt x="f606" y="f67"/>
                    </a:lnTo>
                    <a:lnTo>
                      <a:pt x="f404" y="f84"/>
                    </a:lnTo>
                    <a:lnTo>
                      <a:pt x="f401" y="f607"/>
                    </a:lnTo>
                    <a:lnTo>
                      <a:pt x="f197" y="f103"/>
                    </a:lnTo>
                    <a:lnTo>
                      <a:pt x="f399" y="f593"/>
                    </a:lnTo>
                    <a:lnTo>
                      <a:pt x="f396" y="f105"/>
                    </a:lnTo>
                    <a:lnTo>
                      <a:pt x="f608" y="f534"/>
                    </a:lnTo>
                    <a:lnTo>
                      <a:pt x="f609" y="f591"/>
                    </a:lnTo>
                    <a:lnTo>
                      <a:pt x="f610" y="f107"/>
                    </a:lnTo>
                    <a:lnTo>
                      <a:pt x="f611" y="f535"/>
                    </a:lnTo>
                    <a:lnTo>
                      <a:pt x="f612" y="f90"/>
                    </a:lnTo>
                    <a:lnTo>
                      <a:pt x="f613" y="f109"/>
                    </a:lnTo>
                    <a:lnTo>
                      <a:pt x="f614" y="f109"/>
                    </a:lnTo>
                    <a:lnTo>
                      <a:pt x="f615" y="f616"/>
                    </a:lnTo>
                    <a:lnTo>
                      <a:pt x="f617" y="f94"/>
                    </a:lnTo>
                    <a:lnTo>
                      <a:pt x="f608" y="f538"/>
                    </a:lnTo>
                    <a:lnTo>
                      <a:pt x="f393" y="f588"/>
                    </a:lnTo>
                    <a:lnTo>
                      <a:pt x="f396" y="f618"/>
                    </a:lnTo>
                    <a:lnTo>
                      <a:pt x="f619" y="f546"/>
                    </a:lnTo>
                    <a:lnTo>
                      <a:pt x="f619" y="f620"/>
                    </a:lnTo>
                    <a:lnTo>
                      <a:pt x="f396" y="f548"/>
                    </a:lnTo>
                    <a:lnTo>
                      <a:pt x="f608" y="f621"/>
                    </a:lnTo>
                    <a:lnTo>
                      <a:pt x="f204" y="f621"/>
                    </a:lnTo>
                    <a:lnTo>
                      <a:pt x="f391" y="f622"/>
                    </a:lnTo>
                    <a:lnTo>
                      <a:pt x="f205" y="f623"/>
                    </a:lnTo>
                    <a:lnTo>
                      <a:pt x="f610" y="f623"/>
                    </a:lnTo>
                    <a:lnTo>
                      <a:pt x="f390" y="f621"/>
                    </a:lnTo>
                    <a:lnTo>
                      <a:pt x="f624" y="f546"/>
                    </a:lnTo>
                    <a:lnTo>
                      <a:pt x="f381" y="f545"/>
                    </a:lnTo>
                    <a:lnTo>
                      <a:pt x="f625" y="f112"/>
                    </a:lnTo>
                    <a:lnTo>
                      <a:pt x="f626" y="f542"/>
                    </a:lnTo>
                    <a:lnTo>
                      <a:pt x="f389" y="f540"/>
                    </a:lnTo>
                    <a:lnTo>
                      <a:pt x="f627" y="f628"/>
                    </a:lnTo>
                    <a:lnTo>
                      <a:pt x="f627" y="f111"/>
                    </a:lnTo>
                    <a:lnTo>
                      <a:pt x="f389" y="f589"/>
                    </a:lnTo>
                    <a:lnTo>
                      <a:pt x="f389" y="f92"/>
                    </a:lnTo>
                    <a:lnTo>
                      <a:pt x="f209" y="f90"/>
                    </a:lnTo>
                    <a:lnTo>
                      <a:pt x="f627" y="f98"/>
                    </a:lnTo>
                    <a:lnTo>
                      <a:pt x="f377" y="f629"/>
                    </a:lnTo>
                    <a:lnTo>
                      <a:pt x="f544" y="f100"/>
                    </a:lnTo>
                    <a:lnTo>
                      <a:pt x="f630" y="f100"/>
                    </a:lnTo>
                    <a:lnTo>
                      <a:pt x="f357" y="f107"/>
                    </a:lnTo>
                    <a:lnTo>
                      <a:pt x="f539" y="f472"/>
                    </a:lnTo>
                    <a:lnTo>
                      <a:pt x="f214" y="f472"/>
                    </a:lnTo>
                    <a:lnTo>
                      <a:pt x="f371" y="f100"/>
                    </a:lnTo>
                    <a:lnTo>
                      <a:pt x="f215" y="f631"/>
                    </a:lnTo>
                    <a:lnTo>
                      <a:pt x="f217" y="f534"/>
                    </a:lnTo>
                    <a:lnTo>
                      <a:pt x="f219" y="f534"/>
                    </a:lnTo>
                    <a:lnTo>
                      <a:pt x="f364" y="f631"/>
                    </a:lnTo>
                    <a:lnTo>
                      <a:pt x="f226" y="f631"/>
                    </a:lnTo>
                    <a:lnTo>
                      <a:pt x="f227" y="f534"/>
                    </a:lnTo>
                    <a:lnTo>
                      <a:pt x="f228" y="f105"/>
                    </a:lnTo>
                    <a:lnTo>
                      <a:pt x="f229" y="f632"/>
                    </a:lnTo>
                    <a:lnTo>
                      <a:pt x="f633" y="f68"/>
                    </a:lnTo>
                    <a:lnTo>
                      <a:pt x="f634" y="f74"/>
                    </a:lnTo>
                    <a:lnTo>
                      <a:pt x="f634" y="f78"/>
                    </a:lnTo>
                    <a:lnTo>
                      <a:pt x="f633" y="f65"/>
                    </a:lnTo>
                    <a:lnTo>
                      <a:pt x="f223" y="f65"/>
                    </a:lnTo>
                    <a:lnTo>
                      <a:pt x="f635" y="f636"/>
                    </a:lnTo>
                    <a:lnTo>
                      <a:pt x="f637" y="f636"/>
                    </a:lnTo>
                    <a:lnTo>
                      <a:pt x="f343" y="f529"/>
                    </a:lnTo>
                    <a:lnTo>
                      <a:pt x="f638" y="f63"/>
                    </a:lnTo>
                    <a:lnTo>
                      <a:pt x="f639" y="f524"/>
                    </a:lnTo>
                    <a:lnTo>
                      <a:pt x="f639" y="f640"/>
                    </a:lnTo>
                    <a:lnTo>
                      <a:pt x="f641" y="f642"/>
                    </a:lnTo>
                    <a:lnTo>
                      <a:pt x="f641" y="f517"/>
                    </a:lnTo>
                    <a:lnTo>
                      <a:pt x="f639" y="f643"/>
                    </a:lnTo>
                    <a:lnTo>
                      <a:pt x="f644" y="f645"/>
                    </a:lnTo>
                    <a:lnTo>
                      <a:pt x="f341" y="f515"/>
                    </a:lnTo>
                    <a:lnTo>
                      <a:pt x="f646" y="f515"/>
                    </a:lnTo>
                    <a:lnTo>
                      <a:pt x="f340" y="f645"/>
                    </a:lnTo>
                    <a:lnTo>
                      <a:pt x="f338" y="f515"/>
                    </a:lnTo>
                    <a:lnTo>
                      <a:pt x="f647" y="f515"/>
                    </a:lnTo>
                    <a:lnTo>
                      <a:pt x="f648" y="f56"/>
                    </a:lnTo>
                    <a:lnTo>
                      <a:pt x="f649" y="f54"/>
                    </a:lnTo>
                    <a:lnTo>
                      <a:pt x="f260" y="f51"/>
                    </a:lnTo>
                    <a:lnTo>
                      <a:pt x="f527" y="f37"/>
                    </a:lnTo>
                    <a:lnTo>
                      <a:pt x="f649" y="f39"/>
                    </a:lnTo>
                    <a:lnTo>
                      <a:pt x="f259" y="f501"/>
                    </a:lnTo>
                    <a:lnTo>
                      <a:pt x="f337" y="f501"/>
                    </a:lnTo>
                    <a:lnTo>
                      <a:pt x="f650" y="f39"/>
                    </a:lnTo>
                    <a:lnTo>
                      <a:pt x="f257" y="f41"/>
                    </a:lnTo>
                    <a:lnTo>
                      <a:pt x="f651" y="f30"/>
                    </a:lnTo>
                    <a:lnTo>
                      <a:pt x="f652" y="f44"/>
                    </a:lnTo>
                    <a:lnTo>
                      <a:pt x="f338" y="f504"/>
                    </a:lnTo>
                    <a:lnTo>
                      <a:pt x="f653" y="f504"/>
                    </a:lnTo>
                    <a:lnTo>
                      <a:pt x="f654" y="f44"/>
                    </a:lnTo>
                    <a:lnTo>
                      <a:pt x="f654" y="f41"/>
                    </a:lnTo>
                    <a:lnTo>
                      <a:pt x="f254" y="f29"/>
                    </a:lnTo>
                    <a:lnTo>
                      <a:pt x="f253" y="f655"/>
                    </a:lnTo>
                    <a:lnTo>
                      <a:pt x="f646" y="f507"/>
                    </a:lnTo>
                    <a:lnTo>
                      <a:pt x="f249" y="f656"/>
                    </a:lnTo>
                    <a:lnTo>
                      <a:pt x="f657" y="f493"/>
                    </a:lnTo>
                    <a:lnTo>
                      <a:pt x="f657" y="f494"/>
                    </a:lnTo>
                    <a:lnTo>
                      <a:pt x="f249" y="f25"/>
                    </a:lnTo>
                    <a:lnTo>
                      <a:pt x="f658" y="f15"/>
                    </a:lnTo>
                    <a:lnTo>
                      <a:pt x="f659" y="f13"/>
                    </a:lnTo>
                    <a:lnTo>
                      <a:pt x="f653" y="f20"/>
                    </a:lnTo>
                    <a:lnTo>
                      <a:pt x="f650" y="f23"/>
                    </a:lnTo>
                    <a:lnTo>
                      <a:pt x="f263" y="f66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10575F03-0EF1-4F4F-A37B-AB9AA9366633}"/>
                  </a:ext>
                </a:extLst>
              </p:cNvPr>
              <p:cNvSpPr/>
              <p:nvPr/>
            </p:nvSpPr>
            <p:spPr>
              <a:xfrm rot="21447621">
                <a:off x="4280443" y="1233507"/>
                <a:ext cx="700165" cy="579647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1234"/>
                  <a:gd name="f8" fmla="val 1078"/>
                  <a:gd name="f9" fmla="val 471"/>
                  <a:gd name="f10" fmla="val 276"/>
                  <a:gd name="f11" fmla="val 466"/>
                  <a:gd name="f12" fmla="val 277"/>
                  <a:gd name="f13" fmla="val 464"/>
                  <a:gd name="f14" fmla="val 281"/>
                  <a:gd name="f15" fmla="val 467"/>
                  <a:gd name="f16" fmla="val 285"/>
                  <a:gd name="f17" fmla="val 472"/>
                  <a:gd name="f18" fmla="val 291"/>
                  <a:gd name="f19" fmla="val 480"/>
                  <a:gd name="f20" fmla="val 296"/>
                  <a:gd name="f21" fmla="val 487"/>
                  <a:gd name="f22" fmla="val 302"/>
                  <a:gd name="f23" fmla="val 493"/>
                  <a:gd name="f24" fmla="val 308"/>
                  <a:gd name="f25" fmla="val 500"/>
                  <a:gd name="f26" fmla="val 320"/>
                  <a:gd name="f27" fmla="val 505"/>
                  <a:gd name="f28" fmla="val 332"/>
                  <a:gd name="f29" fmla="val 511"/>
                  <a:gd name="f30" fmla="val 343"/>
                  <a:gd name="f31" fmla="val 516"/>
                  <a:gd name="f32" fmla="val 346"/>
                  <a:gd name="f33" fmla="val 521"/>
                  <a:gd name="f34" fmla="val 347"/>
                  <a:gd name="f35" fmla="val 530"/>
                  <a:gd name="f36" fmla="val 535"/>
                  <a:gd name="f37" fmla="val 349"/>
                  <a:gd name="f38" fmla="val 544"/>
                  <a:gd name="f39" fmla="val 353"/>
                  <a:gd name="f40" fmla="val 554"/>
                  <a:gd name="f41" fmla="val 355"/>
                  <a:gd name="f42" fmla="val 565"/>
                  <a:gd name="f43" fmla="val 356"/>
                  <a:gd name="f44" fmla="val 572"/>
                  <a:gd name="f45" fmla="val 354"/>
                  <a:gd name="f46" fmla="val 577"/>
                  <a:gd name="f47" fmla="val 579"/>
                  <a:gd name="f48" fmla="val 342"/>
                  <a:gd name="f49" fmla="val 580"/>
                  <a:gd name="f50" fmla="val 334"/>
                  <a:gd name="f51" fmla="val 327"/>
                  <a:gd name="f52" fmla="val 321"/>
                  <a:gd name="f53" fmla="val 316"/>
                  <a:gd name="f54" fmla="val 309"/>
                  <a:gd name="f55" fmla="val 578"/>
                  <a:gd name="f56" fmla="val 305"/>
                  <a:gd name="f57" fmla="val 573"/>
                  <a:gd name="f58" fmla="val 567"/>
                  <a:gd name="f59" fmla="val 300"/>
                  <a:gd name="f60" fmla="val 563"/>
                  <a:gd name="f61" fmla="val 301"/>
                  <a:gd name="f62" fmla="val 561"/>
                  <a:gd name="f63" fmla="val 304"/>
                  <a:gd name="f64" fmla="val 558"/>
                  <a:gd name="f65" fmla="val 307"/>
                  <a:gd name="f66" fmla="val 549"/>
                  <a:gd name="f67" fmla="val 542"/>
                  <a:gd name="f68" fmla="val 303"/>
                  <a:gd name="f69" fmla="val 534"/>
                  <a:gd name="f70" fmla="val 297"/>
                  <a:gd name="f71" fmla="val 526"/>
                  <a:gd name="f72" fmla="val 292"/>
                  <a:gd name="f73" fmla="val 518"/>
                  <a:gd name="f74" fmla="val 290"/>
                  <a:gd name="f75" fmla="val 503"/>
                  <a:gd name="f76" fmla="val 287"/>
                  <a:gd name="f77" fmla="val 494"/>
                  <a:gd name="f78" fmla="val 284"/>
                  <a:gd name="f79" fmla="val 486"/>
                  <a:gd name="f80" fmla="val 280"/>
                  <a:gd name="f81" fmla="val 478"/>
                  <a:gd name="f82" fmla="val 1"/>
                  <a:gd name="f83" fmla="val 7"/>
                  <a:gd name="f84" fmla="val 13"/>
                  <a:gd name="f85" fmla="val 17"/>
                  <a:gd name="f86" fmla="val 533"/>
                  <a:gd name="f87" fmla="val 19"/>
                  <a:gd name="f88" fmla="val 543"/>
                  <a:gd name="f89" fmla="val 21"/>
                  <a:gd name="f90" fmla="val 556"/>
                  <a:gd name="f91" fmla="val 23"/>
                  <a:gd name="f92" fmla="val 569"/>
                  <a:gd name="f93" fmla="val 24"/>
                  <a:gd name="f94" fmla="val 581"/>
                  <a:gd name="f95" fmla="val 591"/>
                  <a:gd name="f96" fmla="val 22"/>
                  <a:gd name="f97" fmla="val 598"/>
                  <a:gd name="f98" fmla="val 609"/>
                  <a:gd name="f99" fmla="val 621"/>
                  <a:gd name="f100" fmla="val 9"/>
                  <a:gd name="f101" fmla="val 635"/>
                  <a:gd name="f102" fmla="val 10"/>
                  <a:gd name="f103" fmla="val 647"/>
                  <a:gd name="f104" fmla="val 14"/>
                  <a:gd name="f105" fmla="val 653"/>
                  <a:gd name="f106" fmla="val 660"/>
                  <a:gd name="f107" fmla="val 27"/>
                  <a:gd name="f108" fmla="val 674"/>
                  <a:gd name="f109" fmla="val 45"/>
                  <a:gd name="f110" fmla="val 680"/>
                  <a:gd name="f111" fmla="val 53"/>
                  <a:gd name="f112" fmla="val 685"/>
                  <a:gd name="f113" fmla="val 60"/>
                  <a:gd name="f114" fmla="val 688"/>
                  <a:gd name="f115" fmla="val 64"/>
                  <a:gd name="f116" fmla="val 689"/>
                  <a:gd name="f117" fmla="val 63"/>
                  <a:gd name="f118" fmla="val 61"/>
                  <a:gd name="f119" fmla="val 59"/>
                  <a:gd name="f120" fmla="val 697"/>
                  <a:gd name="f121" fmla="val 71"/>
                  <a:gd name="f122" fmla="val 704"/>
                  <a:gd name="f123" fmla="val 85"/>
                  <a:gd name="f124" fmla="val 711"/>
                  <a:gd name="f125" fmla="val 97"/>
                  <a:gd name="f126" fmla="val 717"/>
                  <a:gd name="f127" fmla="val 106"/>
                  <a:gd name="f128" fmla="val 720"/>
                  <a:gd name="f129" fmla="val 112"/>
                  <a:gd name="f130" fmla="val 725"/>
                  <a:gd name="f131" fmla="val 117"/>
                  <a:gd name="f132" fmla="val 733"/>
                  <a:gd name="f133" fmla="val 123"/>
                  <a:gd name="f134" fmla="val 751"/>
                  <a:gd name="f135" fmla="val 135"/>
                  <a:gd name="f136" fmla="val 758"/>
                  <a:gd name="f137" fmla="val 139"/>
                  <a:gd name="f138" fmla="val 763"/>
                  <a:gd name="f139" fmla="val 142"/>
                  <a:gd name="f140" fmla="val 768"/>
                  <a:gd name="f141" fmla="val 146"/>
                  <a:gd name="f142" fmla="val 773"/>
                  <a:gd name="f143" fmla="val 155"/>
                  <a:gd name="f144" fmla="val 779"/>
                  <a:gd name="f145" fmla="val 165"/>
                  <a:gd name="f146" fmla="val 785"/>
                  <a:gd name="f147" fmla="val 176"/>
                  <a:gd name="f148" fmla="val 789"/>
                  <a:gd name="f149" fmla="val 186"/>
                  <a:gd name="f150" fmla="val 794"/>
                  <a:gd name="f151" fmla="val 193"/>
                  <a:gd name="f152" fmla="val 800"/>
                  <a:gd name="f153" fmla="val 197"/>
                  <a:gd name="f154" fmla="val 808"/>
                  <a:gd name="f155" fmla="val 199"/>
                  <a:gd name="f156" fmla="val 828"/>
                  <a:gd name="f157" fmla="val 836"/>
                  <a:gd name="f158" fmla="val 198"/>
                  <a:gd name="f159" fmla="val 842"/>
                  <a:gd name="f160" fmla="val 195"/>
                  <a:gd name="f161" fmla="val 846"/>
                  <a:gd name="f162" fmla="val 192"/>
                  <a:gd name="f163" fmla="val 854"/>
                  <a:gd name="f164" fmla="val 188"/>
                  <a:gd name="f165" fmla="val 859"/>
                  <a:gd name="f166" fmla="val 190"/>
                  <a:gd name="f167" fmla="val 864"/>
                  <a:gd name="f168" fmla="val 870"/>
                  <a:gd name="f169" fmla="val 203"/>
                  <a:gd name="f170" fmla="val 877"/>
                  <a:gd name="f171" fmla="val 208"/>
                  <a:gd name="f172" fmla="val 883"/>
                  <a:gd name="f173" fmla="val 210"/>
                  <a:gd name="f174" fmla="val 888"/>
                  <a:gd name="f175" fmla="val 209"/>
                  <a:gd name="f176" fmla="val 891"/>
                  <a:gd name="f177" fmla="val 207"/>
                  <a:gd name="f178" fmla="val 893"/>
                  <a:gd name="f179" fmla="val 895"/>
                  <a:gd name="f180" fmla="val 200"/>
                  <a:gd name="f181" fmla="val 899"/>
                  <a:gd name="f182" fmla="val 907"/>
                  <a:gd name="f183" fmla="val 915"/>
                  <a:gd name="f184" fmla="val 922"/>
                  <a:gd name="f185" fmla="val 928"/>
                  <a:gd name="f186" fmla="val 201"/>
                  <a:gd name="f187" fmla="val 936"/>
                  <a:gd name="f188" fmla="val 206"/>
                  <a:gd name="f189" fmla="val 946"/>
                  <a:gd name="f190" fmla="val 956"/>
                  <a:gd name="f191" fmla="val 215"/>
                  <a:gd name="f192" fmla="val 965"/>
                  <a:gd name="f193" fmla="val 219"/>
                  <a:gd name="f194" fmla="val 972"/>
                  <a:gd name="f195" fmla="val 221"/>
                  <a:gd name="f196" fmla="val 979"/>
                  <a:gd name="f197" fmla="val 988"/>
                  <a:gd name="f198" fmla="val 220"/>
                  <a:gd name="f199" fmla="val 996"/>
                  <a:gd name="f200" fmla="val 1003"/>
                  <a:gd name="f201" fmla="val 1008"/>
                  <a:gd name="f202" fmla="val 1011"/>
                  <a:gd name="f203" fmla="val 224"/>
                  <a:gd name="f204" fmla="val 228"/>
                  <a:gd name="f205" fmla="val 1010"/>
                  <a:gd name="f206" fmla="val 234"/>
                  <a:gd name="f207" fmla="val 242"/>
                  <a:gd name="f208" fmla="val 1013"/>
                  <a:gd name="f209" fmla="val 246"/>
                  <a:gd name="f210" fmla="val 1016"/>
                  <a:gd name="f211" fmla="val 247"/>
                  <a:gd name="f212" fmla="val 1020"/>
                  <a:gd name="f213" fmla="val 248"/>
                  <a:gd name="f214" fmla="val 1023"/>
                  <a:gd name="f215" fmla="val 249"/>
                  <a:gd name="f216" fmla="val 1027"/>
                  <a:gd name="f217" fmla="val 253"/>
                  <a:gd name="f218" fmla="val 1031"/>
                  <a:gd name="f219" fmla="val 258"/>
                  <a:gd name="f220" fmla="val 1038"/>
                  <a:gd name="f221" fmla="val 264"/>
                  <a:gd name="f222" fmla="val 1047"/>
                  <a:gd name="f223" fmla="val 271"/>
                  <a:gd name="f224" fmla="val 1057"/>
                  <a:gd name="f225" fmla="val 279"/>
                  <a:gd name="f226" fmla="val 1068"/>
                  <a:gd name="f227" fmla="val 286"/>
                  <a:gd name="f228" fmla="val 294"/>
                  <a:gd name="f229" fmla="val 1092"/>
                  <a:gd name="f230" fmla="val 1096"/>
                  <a:gd name="f231" fmla="val 1101"/>
                  <a:gd name="f232" fmla="val 1105"/>
                  <a:gd name="f233" fmla="val 306"/>
                  <a:gd name="f234" fmla="val 1109"/>
                  <a:gd name="f235" fmla="val 1115"/>
                  <a:gd name="f236" fmla="val 1117"/>
                  <a:gd name="f237" fmla="val 1119"/>
                  <a:gd name="f238" fmla="val 1120"/>
                  <a:gd name="f239" fmla="val 1122"/>
                  <a:gd name="f240" fmla="val 310"/>
                  <a:gd name="f241" fmla="val 1123"/>
                  <a:gd name="f242" fmla="val 313"/>
                  <a:gd name="f243" fmla="val 1127"/>
                  <a:gd name="f244" fmla="val 317"/>
                  <a:gd name="f245" fmla="val 1129"/>
                  <a:gd name="f246" fmla="val 1130"/>
                  <a:gd name="f247" fmla="val 1132"/>
                  <a:gd name="f248" fmla="val 315"/>
                  <a:gd name="f249" fmla="val 1133"/>
                  <a:gd name="f250" fmla="val 314"/>
                  <a:gd name="f251" fmla="val 1134"/>
                  <a:gd name="f252" fmla="val 312"/>
                  <a:gd name="f253" fmla="val 1135"/>
                  <a:gd name="f254" fmla="val 311"/>
                  <a:gd name="f255" fmla="val 1138"/>
                  <a:gd name="f256" fmla="val 1142"/>
                  <a:gd name="f257" fmla="val 1146"/>
                  <a:gd name="f258" fmla="val 323"/>
                  <a:gd name="f259" fmla="val 1151"/>
                  <a:gd name="f260" fmla="val 1154"/>
                  <a:gd name="f261" fmla="val 339"/>
                  <a:gd name="f262" fmla="val 1157"/>
                  <a:gd name="f263" fmla="val 1161"/>
                  <a:gd name="f264" fmla="val 1166"/>
                  <a:gd name="f265" fmla="val 341"/>
                  <a:gd name="f266" fmla="val 1172"/>
                  <a:gd name="f267" fmla="val 340"/>
                  <a:gd name="f268" fmla="val 1177"/>
                  <a:gd name="f269" fmla="val 1185"/>
                  <a:gd name="f270" fmla="val 1194"/>
                  <a:gd name="f271" fmla="val 1202"/>
                  <a:gd name="f272" fmla="val 1206"/>
                  <a:gd name="f273" fmla="val 348"/>
                  <a:gd name="f274" fmla="val 1214"/>
                  <a:gd name="f275" fmla="val 350"/>
                  <a:gd name="f276" fmla="val 1222"/>
                  <a:gd name="f277" fmla="val 351"/>
                  <a:gd name="f278" fmla="val 1229"/>
                  <a:gd name="f279" fmla="val 352"/>
                  <a:gd name="f280" fmla="val 1216"/>
                  <a:gd name="f281" fmla="val 363"/>
                  <a:gd name="f282" fmla="val 1208"/>
                  <a:gd name="f283" fmla="val 367"/>
                  <a:gd name="f284" fmla="val 1205"/>
                  <a:gd name="f285" fmla="val 370"/>
                  <a:gd name="f286" fmla="val 1203"/>
                  <a:gd name="f287" fmla="val 374"/>
                  <a:gd name="f288" fmla="val 384"/>
                  <a:gd name="f289" fmla="val 1204"/>
                  <a:gd name="f290" fmla="val 390"/>
                  <a:gd name="f291" fmla="val 1199"/>
                  <a:gd name="f292" fmla="val 395"/>
                  <a:gd name="f293" fmla="val 1191"/>
                  <a:gd name="f294" fmla="val 401"/>
                  <a:gd name="f295" fmla="val 1180"/>
                  <a:gd name="f296" fmla="val 407"/>
                  <a:gd name="f297" fmla="val 1168"/>
                  <a:gd name="f298" fmla="val 413"/>
                  <a:gd name="f299" fmla="val 418"/>
                  <a:gd name="f300" fmla="val 1149"/>
                  <a:gd name="f301" fmla="val 422"/>
                  <a:gd name="f302" fmla="val 1144"/>
                  <a:gd name="f303" fmla="val 424"/>
                  <a:gd name="f304" fmla="val 1140"/>
                  <a:gd name="f305" fmla="val 423"/>
                  <a:gd name="f306" fmla="val 416"/>
                  <a:gd name="f307" fmla="val 412"/>
                  <a:gd name="f308" fmla="val 411"/>
                  <a:gd name="f309" fmla="val 1113"/>
                  <a:gd name="f310" fmla="val 410"/>
                  <a:gd name="f311" fmla="val 1107"/>
                  <a:gd name="f312" fmla="val 409"/>
                  <a:gd name="f313" fmla="val 1104"/>
                  <a:gd name="f314" fmla="val 408"/>
                  <a:gd name="f315" fmla="val 1100"/>
                  <a:gd name="f316" fmla="val 1084"/>
                  <a:gd name="f317" fmla="val 1080"/>
                  <a:gd name="f318" fmla="val 1077"/>
                  <a:gd name="f319" fmla="val 415"/>
                  <a:gd name="f320" fmla="val 1075"/>
                  <a:gd name="f321" fmla="val 420"/>
                  <a:gd name="f322" fmla="val 1071"/>
                  <a:gd name="f323" fmla="val 425"/>
                  <a:gd name="f324" fmla="val 1066"/>
                  <a:gd name="f325" fmla="val 431"/>
                  <a:gd name="f326" fmla="val 1059"/>
                  <a:gd name="f327" fmla="val 435"/>
                  <a:gd name="f328" fmla="val 1051"/>
                  <a:gd name="f329" fmla="val 437"/>
                  <a:gd name="f330" fmla="val 1035"/>
                  <a:gd name="f331" fmla="val 1029"/>
                  <a:gd name="f332" fmla="val 438"/>
                  <a:gd name="f333" fmla="val 1025"/>
                  <a:gd name="f334" fmla="val 441"/>
                  <a:gd name="f335" fmla="val 1024"/>
                  <a:gd name="f336" fmla="val 447"/>
                  <a:gd name="f337" fmla="val 1026"/>
                  <a:gd name="f338" fmla="val 456"/>
                  <a:gd name="f339" fmla="val 1039"/>
                  <a:gd name="f340" fmla="val 492"/>
                  <a:gd name="f341" fmla="val 1044"/>
                  <a:gd name="f342" fmla="val 1048"/>
                  <a:gd name="f343" fmla="val 512"/>
                  <a:gd name="f344" fmla="val 1055"/>
                  <a:gd name="f345" fmla="val 522"/>
                  <a:gd name="f346" fmla="val 1060"/>
                  <a:gd name="f347" fmla="val 528"/>
                  <a:gd name="f348" fmla="val 1070"/>
                  <a:gd name="f349" fmla="val 531"/>
                  <a:gd name="f350" fmla="val 1073"/>
                  <a:gd name="f351" fmla="val 1072"/>
                  <a:gd name="f352" fmla="val 537"/>
                  <a:gd name="f353" fmla="val 1069"/>
                  <a:gd name="f354" fmla="val 545"/>
                  <a:gd name="f355" fmla="val 555"/>
                  <a:gd name="f356" fmla="val 574"/>
                  <a:gd name="f357" fmla="val 576"/>
                  <a:gd name="f358" fmla="val 586"/>
                  <a:gd name="f359" fmla="val 592"/>
                  <a:gd name="f360" fmla="val 599"/>
                  <a:gd name="f361" fmla="val 1076"/>
                  <a:gd name="f362" fmla="val 606"/>
                  <a:gd name="f363" fmla="val 1081"/>
                  <a:gd name="f364" fmla="val 613"/>
                  <a:gd name="f365" fmla="val 1088"/>
                  <a:gd name="f366" fmla="val 619"/>
                  <a:gd name="f367" fmla="val 1093"/>
                  <a:gd name="f368" fmla="val 624"/>
                  <a:gd name="f369" fmla="val 1095"/>
                  <a:gd name="f370" fmla="val 628"/>
                  <a:gd name="f371" fmla="val 632"/>
                  <a:gd name="f372" fmla="val 1094"/>
                  <a:gd name="f373" fmla="val 633"/>
                  <a:gd name="f374" fmla="val 634"/>
                  <a:gd name="f375" fmla="val 1089"/>
                  <a:gd name="f376" fmla="val 1086"/>
                  <a:gd name="f377" fmla="val 637"/>
                  <a:gd name="f378" fmla="val 1079"/>
                  <a:gd name="f379" fmla="val 639"/>
                  <a:gd name="f380" fmla="val 642"/>
                  <a:gd name="f381" fmla="val 1083"/>
                  <a:gd name="f382" fmla="val 646"/>
                  <a:gd name="f383" fmla="val 650"/>
                  <a:gd name="f384" fmla="val 655"/>
                  <a:gd name="f385" fmla="val 664"/>
                  <a:gd name="f386" fmla="val 1091"/>
                  <a:gd name="f387" fmla="val 670"/>
                  <a:gd name="f388" fmla="val 675"/>
                  <a:gd name="f389" fmla="val 681"/>
                  <a:gd name="f390" fmla="val 686"/>
                  <a:gd name="f391" fmla="val 693"/>
                  <a:gd name="f392" fmla="val 701"/>
                  <a:gd name="f393" fmla="val 1097"/>
                  <a:gd name="f394" fmla="val 719"/>
                  <a:gd name="f395" fmla="val 729"/>
                  <a:gd name="f396" fmla="val 741"/>
                  <a:gd name="f397" fmla="val 745"/>
                  <a:gd name="f398" fmla="val 748"/>
                  <a:gd name="f399" fmla="val 750"/>
                  <a:gd name="f400" fmla="val 754"/>
                  <a:gd name="f401" fmla="val 757"/>
                  <a:gd name="f402" fmla="val 760"/>
                  <a:gd name="f403" fmla="val 1065"/>
                  <a:gd name="f404" fmla="val 761"/>
                  <a:gd name="f405" fmla="val 1054"/>
                  <a:gd name="f406" fmla="val 762"/>
                  <a:gd name="f407" fmla="val 1041"/>
                  <a:gd name="f408" fmla="val 764"/>
                  <a:gd name="f409" fmla="val 1015"/>
                  <a:gd name="f410" fmla="val 765"/>
                  <a:gd name="f411" fmla="val 1005"/>
                  <a:gd name="f412" fmla="val 767"/>
                  <a:gd name="f413" fmla="val 1000"/>
                  <a:gd name="f414" fmla="val 769"/>
                  <a:gd name="f415" fmla="val 772"/>
                  <a:gd name="f416" fmla="val 986"/>
                  <a:gd name="f417" fmla="val 778"/>
                  <a:gd name="f418" fmla="val 981"/>
                  <a:gd name="f419" fmla="val 780"/>
                  <a:gd name="f420" fmla="val 784"/>
                  <a:gd name="f421" fmla="val 980"/>
                  <a:gd name="f422" fmla="val 788"/>
                  <a:gd name="f423" fmla="val 984"/>
                  <a:gd name="f424" fmla="val 798"/>
                  <a:gd name="f425" fmla="val 987"/>
                  <a:gd name="f426" fmla="val 989"/>
                  <a:gd name="f427" fmla="val 818"/>
                  <a:gd name="f428" fmla="val 991"/>
                  <a:gd name="f429" fmla="val 825"/>
                  <a:gd name="f430" fmla="val 992"/>
                  <a:gd name="f431" fmla="val 832"/>
                  <a:gd name="f432" fmla="val 990"/>
                  <a:gd name="f433" fmla="val 838"/>
                  <a:gd name="f434" fmla="val 978"/>
                  <a:gd name="f435" fmla="val 850"/>
                  <a:gd name="f436" fmla="val 976"/>
                  <a:gd name="f437" fmla="val 858"/>
                  <a:gd name="f438" fmla="val 977"/>
                  <a:gd name="f439" fmla="val 866"/>
                  <a:gd name="f440" fmla="val 876"/>
                  <a:gd name="f441" fmla="val 983"/>
                  <a:gd name="f442" fmla="val 886"/>
                  <a:gd name="f443" fmla="val 894"/>
                  <a:gd name="f444" fmla="val 903"/>
                  <a:gd name="f445" fmla="val 999"/>
                  <a:gd name="f446" fmla="val 912"/>
                  <a:gd name="f447" fmla="val 923"/>
                  <a:gd name="f448" fmla="val 937"/>
                  <a:gd name="f449" fmla="val 939"/>
                  <a:gd name="f450" fmla="val 994"/>
                  <a:gd name="f451" fmla="val 943"/>
                  <a:gd name="f452" fmla="val 995"/>
                  <a:gd name="f453" fmla="val 948"/>
                  <a:gd name="f454" fmla="val 997"/>
                  <a:gd name="f455" fmla="val 953"/>
                  <a:gd name="f456" fmla="val 998"/>
                  <a:gd name="f457" fmla="val 958"/>
                  <a:gd name="f458" fmla="val 961"/>
                  <a:gd name="f459" fmla="val 993"/>
                  <a:gd name="f460" fmla="val 963"/>
                  <a:gd name="f461" fmla="val 985"/>
                  <a:gd name="f462" fmla="val 964"/>
                  <a:gd name="f463" fmla="val 970"/>
                  <a:gd name="f464" fmla="val 966"/>
                  <a:gd name="f465" fmla="val 967"/>
                  <a:gd name="f466" fmla="val 957"/>
                  <a:gd name="f467" fmla="val 950"/>
                  <a:gd name="f468" fmla="val 960"/>
                  <a:gd name="f469" fmla="val 955"/>
                  <a:gd name="f470" fmla="val 931"/>
                  <a:gd name="f471" fmla="val 926"/>
                  <a:gd name="f472" fmla="val 917"/>
                  <a:gd name="f473" fmla="val 911"/>
                  <a:gd name="f474" fmla="val 896"/>
                  <a:gd name="f475" fmla="val 881"/>
                  <a:gd name="f476" fmla="val 874"/>
                  <a:gd name="f477" fmla="val 1002"/>
                  <a:gd name="f478" fmla="val 872"/>
                  <a:gd name="f479" fmla="val 1014"/>
                  <a:gd name="f480" fmla="val 871"/>
                  <a:gd name="f481" fmla="val 1019"/>
                  <a:gd name="f482" fmla="val 867"/>
                  <a:gd name="f483" fmla="val 1022"/>
                  <a:gd name="f484" fmla="val 861"/>
                  <a:gd name="f485" fmla="val 845"/>
                  <a:gd name="f486" fmla="val 837"/>
                  <a:gd name="f487" fmla="val 829"/>
                  <a:gd name="f488" fmla="val 822"/>
                  <a:gd name="f489" fmla="val 816"/>
                  <a:gd name="f490" fmla="val 1037"/>
                  <a:gd name="f491" fmla="val 814"/>
                  <a:gd name="f492" fmla="val 1032"/>
                  <a:gd name="f493" fmla="val 812"/>
                  <a:gd name="f494" fmla="val 1030"/>
                  <a:gd name="f495" fmla="val 809"/>
                  <a:gd name="f496" fmla="val 806"/>
                  <a:gd name="f497" fmla="val 803"/>
                  <a:gd name="f498" fmla="val 797"/>
                  <a:gd name="f499" fmla="val 796"/>
                  <a:gd name="f500" fmla="val 1033"/>
                  <a:gd name="f501" fmla="val 795"/>
                  <a:gd name="f502" fmla="val 793"/>
                  <a:gd name="f503" fmla="val 792"/>
                  <a:gd name="f504" fmla="val 787"/>
                  <a:gd name="f505" fmla="val 782"/>
                  <a:gd name="f506" fmla="val 777"/>
                  <a:gd name="f507" fmla="val 771"/>
                  <a:gd name="f508" fmla="val 1040"/>
                  <a:gd name="f509" fmla="val 759"/>
                  <a:gd name="f510" fmla="val 1043"/>
                  <a:gd name="f511" fmla="val 1046"/>
                  <a:gd name="f512" fmla="val 1061"/>
                  <a:gd name="f513" fmla="val 770"/>
                  <a:gd name="f514" fmla="val 1063"/>
                  <a:gd name="f515" fmla="val 1064"/>
                  <a:gd name="f516" fmla="val 1067"/>
                  <a:gd name="f517" fmla="val 1074"/>
                  <a:gd name="f518" fmla="val 766"/>
                  <a:gd name="f519" fmla="val 756"/>
                  <a:gd name="f520" fmla="val 749"/>
                  <a:gd name="f521" fmla="val 740"/>
                  <a:gd name="f522" fmla="val 731"/>
                  <a:gd name="f523" fmla="val 1062"/>
                  <a:gd name="f524" fmla="val 710"/>
                  <a:gd name="f525" fmla="val 707"/>
                  <a:gd name="f526" fmla="val 1049"/>
                  <a:gd name="f527" fmla="val 708"/>
                  <a:gd name="f528" fmla="val 718"/>
                  <a:gd name="f529" fmla="val 721"/>
                  <a:gd name="f530" fmla="val 722"/>
                  <a:gd name="f531" fmla="val 1036"/>
                  <a:gd name="f532" fmla="val 1034"/>
                  <a:gd name="f533" fmla="val 728"/>
                  <a:gd name="f534" fmla="val 732"/>
                  <a:gd name="f535" fmla="val 736"/>
                  <a:gd name="f536" fmla="val 738"/>
                  <a:gd name="f537" fmla="val 735"/>
                  <a:gd name="f538" fmla="val 1001"/>
                  <a:gd name="f539" fmla="val 971"/>
                  <a:gd name="f540" fmla="val 968"/>
                  <a:gd name="f541" fmla="val 739"/>
                  <a:gd name="f542" fmla="val 962"/>
                  <a:gd name="f543" fmla="val 742"/>
                  <a:gd name="f544" fmla="val 744"/>
                  <a:gd name="f545" fmla="val 746"/>
                  <a:gd name="f546" fmla="val 747"/>
                  <a:gd name="f547" fmla="val 951"/>
                  <a:gd name="f548" fmla="val 945"/>
                  <a:gd name="f549" fmla="val 724"/>
                  <a:gd name="f550" fmla="val 938"/>
                  <a:gd name="f551" fmla="val 935"/>
                  <a:gd name="f552" fmla="val 929"/>
                  <a:gd name="f553" fmla="val 927"/>
                  <a:gd name="f554" fmla="val 924"/>
                  <a:gd name="f555" fmla="val 702"/>
                  <a:gd name="f556" fmla="val 684"/>
                  <a:gd name="f557" fmla="val 930"/>
                  <a:gd name="f558" fmla="val 932"/>
                  <a:gd name="f559" fmla="val 905"/>
                  <a:gd name="f560" fmla="val 678"/>
                  <a:gd name="f561" fmla="val 897"/>
                  <a:gd name="f562" fmla="val 682"/>
                  <a:gd name="f563" fmla="val 890"/>
                  <a:gd name="f564" fmla="val 885"/>
                  <a:gd name="f565" fmla="val 691"/>
                  <a:gd name="f566" fmla="val 880"/>
                  <a:gd name="f567" fmla="val 873"/>
                  <a:gd name="f568" fmla="val 694"/>
                  <a:gd name="f569" fmla="val 855"/>
                  <a:gd name="f570" fmla="val 847"/>
                  <a:gd name="f571" fmla="val 695"/>
                  <a:gd name="f572" fmla="val 843"/>
                  <a:gd name="f573" fmla="val 690"/>
                  <a:gd name="f574" fmla="val 841"/>
                  <a:gd name="f575" fmla="val 665"/>
                  <a:gd name="f576" fmla="val 840"/>
                  <a:gd name="f577" fmla="val 826"/>
                  <a:gd name="f578" fmla="val 654"/>
                  <a:gd name="f579" fmla="val 821"/>
                  <a:gd name="f580" fmla="val 644"/>
                  <a:gd name="f581" fmla="val 643"/>
                  <a:gd name="f582" fmla="val 645"/>
                  <a:gd name="f583" fmla="val 807"/>
                  <a:gd name="f584" fmla="val 801"/>
                  <a:gd name="f585" fmla="val 641"/>
                  <a:gd name="f586" fmla="val 636"/>
                  <a:gd name="f587" fmla="val 631"/>
                  <a:gd name="f588" fmla="val 625"/>
                  <a:gd name="f589" fmla="val 622"/>
                  <a:gd name="f590" fmla="val 790"/>
                  <a:gd name="f591" fmla="val 623"/>
                  <a:gd name="f592" fmla="val 626"/>
                  <a:gd name="f593" fmla="val 753"/>
                  <a:gd name="f594" fmla="val 610"/>
                  <a:gd name="f595" fmla="val 607"/>
                  <a:gd name="f596" fmla="val 600"/>
                  <a:gd name="f597" fmla="val 590"/>
                  <a:gd name="f598" fmla="val 727"/>
                  <a:gd name="f599" fmla="val 726"/>
                  <a:gd name="f600" fmla="val 723"/>
                  <a:gd name="f601" fmla="val 713"/>
                  <a:gd name="f602" fmla="val 705"/>
                  <a:gd name="f603" fmla="val 700"/>
                  <a:gd name="f604" fmla="val 696"/>
                  <a:gd name="f605" fmla="val 594"/>
                  <a:gd name="f606" fmla="val 588"/>
                  <a:gd name="f607" fmla="val 583"/>
                  <a:gd name="f608" fmla="val 666"/>
                  <a:gd name="f609" fmla="val 657"/>
                  <a:gd name="f610" fmla="val 584"/>
                  <a:gd name="f611" fmla="val 640"/>
                  <a:gd name="f612" fmla="val 589"/>
                  <a:gd name="f613" fmla="val 595"/>
                  <a:gd name="f614" fmla="val 601"/>
                  <a:gd name="f615" fmla="val 605"/>
                  <a:gd name="f616" fmla="val 627"/>
                  <a:gd name="f617" fmla="val 608"/>
                  <a:gd name="f618" fmla="val 620"/>
                  <a:gd name="f619" fmla="val 611"/>
                  <a:gd name="f620" fmla="val 582"/>
                  <a:gd name="f621" fmla="val 587"/>
                  <a:gd name="f622" fmla="val 603"/>
                  <a:gd name="f623" fmla="val 557"/>
                  <a:gd name="f624" fmla="val 616"/>
                  <a:gd name="f625" fmla="val 618"/>
                  <a:gd name="f626" fmla="val 523"/>
                  <a:gd name="f627" fmla="val 517"/>
                  <a:gd name="f628" fmla="val 513"/>
                  <a:gd name="f629" fmla="val 510"/>
                  <a:gd name="f630" fmla="val 612"/>
                  <a:gd name="f631" fmla="val 508"/>
                  <a:gd name="f632" fmla="val 506"/>
                  <a:gd name="f633" fmla="val 498"/>
                  <a:gd name="f634" fmla="val 571"/>
                  <a:gd name="f635" fmla="val 491"/>
                  <a:gd name="f636" fmla="val 568"/>
                  <a:gd name="f637" fmla="val 483"/>
                  <a:gd name="f638" fmla="val 476"/>
                  <a:gd name="f639" fmla="val 470"/>
                  <a:gd name="f640" fmla="val 463"/>
                  <a:gd name="f641" fmla="val 453"/>
                  <a:gd name="f642" fmla="val 575"/>
                  <a:gd name="f643" fmla="val 444"/>
                  <a:gd name="f644" fmla="val 443"/>
                  <a:gd name="f645" fmla="val 596"/>
                  <a:gd name="f646" fmla="val 440"/>
                  <a:gd name="f647" fmla="val 436"/>
                  <a:gd name="f648" fmla="val 430"/>
                  <a:gd name="f649" fmla="val 421"/>
                  <a:gd name="f650" fmla="val 417"/>
                  <a:gd name="f651" fmla="val 414"/>
                  <a:gd name="f652" fmla="val 597"/>
                  <a:gd name="f653" fmla="val 615"/>
                  <a:gd name="f654" fmla="val 434"/>
                  <a:gd name="f655" fmla="val 445"/>
                  <a:gd name="f656" fmla="val 446"/>
                  <a:gd name="f657" fmla="val 676"/>
                  <a:gd name="f658" fmla="val 442"/>
                  <a:gd name="f659" fmla="val 448"/>
                  <a:gd name="f660" fmla="val 450"/>
                  <a:gd name="f661" fmla="val 706"/>
                  <a:gd name="f662" fmla="val 449"/>
                  <a:gd name="f663" fmla="val 716"/>
                  <a:gd name="f664" fmla="val 429"/>
                  <a:gd name="f665" fmla="val 393"/>
                  <a:gd name="f666" fmla="val 387"/>
                  <a:gd name="f667" fmla="val 385"/>
                  <a:gd name="f668" fmla="val 730"/>
                  <a:gd name="f669" fmla="val 381"/>
                  <a:gd name="f670" fmla="val 378"/>
                  <a:gd name="f671" fmla="val 743"/>
                  <a:gd name="f672" fmla="val 359"/>
                  <a:gd name="f673" fmla="val 329"/>
                  <a:gd name="f674" fmla="val 324"/>
                  <a:gd name="f675" fmla="val 318"/>
                  <a:gd name="f676" fmla="val 715"/>
                  <a:gd name="f677" fmla="val 328"/>
                  <a:gd name="f678" fmla="val 703"/>
                  <a:gd name="f679" fmla="val 698"/>
                  <a:gd name="f680" fmla="val 687"/>
                  <a:gd name="f681" fmla="val 679"/>
                  <a:gd name="f682" fmla="val 673"/>
                  <a:gd name="f683" fmla="val 649"/>
                  <a:gd name="f684" fmla="val 293"/>
                  <a:gd name="f685" fmla="val 275"/>
                  <a:gd name="f686" fmla="val 265"/>
                  <a:gd name="f687" fmla="val 257"/>
                  <a:gd name="f688" fmla="val 254"/>
                  <a:gd name="f689" fmla="val 250"/>
                  <a:gd name="f690" fmla="val 244"/>
                  <a:gd name="f691" fmla="val 227"/>
                  <a:gd name="f692" fmla="val 223"/>
                  <a:gd name="f693" fmla="val 593"/>
                  <a:gd name="f694" fmla="val 229"/>
                  <a:gd name="f695" fmla="val 604"/>
                  <a:gd name="f696" fmla="val 226"/>
                  <a:gd name="f697" fmla="val 212"/>
                  <a:gd name="f698" fmla="val 204"/>
                  <a:gd name="f699" fmla="val 630"/>
                  <a:gd name="f700" fmla="val 181"/>
                  <a:gd name="f701" fmla="val 169"/>
                  <a:gd name="f702" fmla="val 159"/>
                  <a:gd name="f703" fmla="val 152"/>
                  <a:gd name="f704" fmla="val 659"/>
                  <a:gd name="f705" fmla="val 661"/>
                  <a:gd name="f706" fmla="val 121"/>
                  <a:gd name="f707" fmla="val 104"/>
                  <a:gd name="f708" fmla="val 92"/>
                  <a:gd name="f709" fmla="val 668"/>
                  <a:gd name="f710" fmla="val 669"/>
                  <a:gd name="f711" fmla="val 84"/>
                  <a:gd name="f712" fmla="val 82"/>
                  <a:gd name="f713" fmla="val 652"/>
                  <a:gd name="f714" fmla="val 90"/>
                  <a:gd name="f715" fmla="val 93"/>
                  <a:gd name="f716" fmla="val 94"/>
                  <a:gd name="f717" fmla="val 81"/>
                  <a:gd name="f718" fmla="val 78"/>
                  <a:gd name="f719" fmla="val 77"/>
                  <a:gd name="f720" fmla="val 75"/>
                  <a:gd name="f721" fmla="val 73"/>
                  <a:gd name="f722" fmla="val 70"/>
                  <a:gd name="f723" fmla="val 56"/>
                  <a:gd name="f724" fmla="val 585"/>
                  <a:gd name="f725" fmla="val 49"/>
                  <a:gd name="f726" fmla="val 37"/>
                  <a:gd name="f727" fmla="val 570"/>
                  <a:gd name="f728" fmla="val 6"/>
                  <a:gd name="f729" fmla="val 2"/>
                  <a:gd name="f730" fmla="val 564"/>
                  <a:gd name="f731" fmla="val 559"/>
                  <a:gd name="f732" fmla="val 553"/>
                  <a:gd name="f733" fmla="val 4"/>
                  <a:gd name="f734" fmla="val 547"/>
                  <a:gd name="f735" fmla="val 16"/>
                  <a:gd name="f736" fmla="val 532"/>
                  <a:gd name="f737" fmla="val 529"/>
                  <a:gd name="f738" fmla="val 18"/>
                  <a:gd name="f739" fmla="val 515"/>
                  <a:gd name="f740" fmla="val 12"/>
                  <a:gd name="f741" fmla="val 507"/>
                  <a:gd name="f742" fmla="val 26"/>
                  <a:gd name="f743" fmla="val 497"/>
                  <a:gd name="f744" fmla="val 28"/>
                  <a:gd name="f745" fmla="val 495"/>
                  <a:gd name="f746" fmla="val 31"/>
                  <a:gd name="f747" fmla="val 33"/>
                  <a:gd name="f748" fmla="val 34"/>
                  <a:gd name="f749" fmla="val 35"/>
                  <a:gd name="f750" fmla="val 54"/>
                  <a:gd name="f751" fmla="val 499"/>
                  <a:gd name="f752" fmla="val 501"/>
                  <a:gd name="f753" fmla="val 502"/>
                  <a:gd name="f754" fmla="val 79"/>
                  <a:gd name="f755" fmla="val 83"/>
                  <a:gd name="f756" fmla="val 88"/>
                  <a:gd name="f757" fmla="val 91"/>
                  <a:gd name="f758" fmla="val 96"/>
                  <a:gd name="f759" fmla="val 98"/>
                  <a:gd name="f760" fmla="val 99"/>
                  <a:gd name="f761" fmla="val 474"/>
                  <a:gd name="f762" fmla="val 101"/>
                  <a:gd name="f763" fmla="val 461"/>
                  <a:gd name="f764" fmla="val 102"/>
                  <a:gd name="f765" fmla="val 103"/>
                  <a:gd name="f766" fmla="val 105"/>
                  <a:gd name="f767" fmla="val 109"/>
                  <a:gd name="f768" fmla="val 427"/>
                  <a:gd name="f769" fmla="val 113"/>
                  <a:gd name="f770" fmla="val 119"/>
                  <a:gd name="f771" fmla="val 402"/>
                  <a:gd name="f772" fmla="val 124"/>
                  <a:gd name="f773" fmla="val 389"/>
                  <a:gd name="f774" fmla="val 129"/>
                  <a:gd name="f775" fmla="val 133"/>
                  <a:gd name="f776" fmla="val 136"/>
                  <a:gd name="f777" fmla="val 365"/>
                  <a:gd name="f778" fmla="val 138"/>
                  <a:gd name="f779" fmla="val 330"/>
                  <a:gd name="f780" fmla="val 319"/>
                  <a:gd name="f781" fmla="val 137"/>
                  <a:gd name="f782" fmla="val 298"/>
                  <a:gd name="f783" fmla="val 140"/>
                  <a:gd name="f784" fmla="val 144"/>
                  <a:gd name="f785" fmla="val 278"/>
                  <a:gd name="f786" fmla="val 145"/>
                  <a:gd name="f787" fmla="val 272"/>
                  <a:gd name="f788" fmla="val 143"/>
                  <a:gd name="f789" fmla="val 147"/>
                  <a:gd name="f790" fmla="val 149"/>
                  <a:gd name="f791" fmla="val 252"/>
                  <a:gd name="f792" fmla="val 150"/>
                  <a:gd name="f793" fmla="val 251"/>
                  <a:gd name="f794" fmla="val 151"/>
                  <a:gd name="f795" fmla="val 240"/>
                  <a:gd name="f796" fmla="val 153"/>
                  <a:gd name="f797" fmla="val 230"/>
                  <a:gd name="f798" fmla="val 154"/>
                  <a:gd name="f799" fmla="val 216"/>
                  <a:gd name="f800" fmla="val 213"/>
                  <a:gd name="f801" fmla="val 134"/>
                  <a:gd name="f802" fmla="val 214"/>
                  <a:gd name="f803" fmla="val 127"/>
                  <a:gd name="f804" fmla="val 118"/>
                  <a:gd name="f805" fmla="val 111"/>
                  <a:gd name="f806" fmla="val 189"/>
                  <a:gd name="f807" fmla="val 177"/>
                  <a:gd name="f808" fmla="val 100"/>
                  <a:gd name="f809" fmla="val 141"/>
                  <a:gd name="f810" fmla="val 128"/>
                  <a:gd name="f811" fmla="val 131"/>
                  <a:gd name="f812" fmla="val 132"/>
                  <a:gd name="f813" fmla="val 126"/>
                  <a:gd name="f814" fmla="val 125"/>
                  <a:gd name="f815" fmla="val 120"/>
                  <a:gd name="f816" fmla="val 116"/>
                  <a:gd name="f817" fmla="val 108"/>
                  <a:gd name="f818" fmla="val 89"/>
                  <a:gd name="f819" fmla="val 156"/>
                  <a:gd name="f820" fmla="val 164"/>
                  <a:gd name="f821" fmla="val 175"/>
                  <a:gd name="f822" fmla="val 74"/>
                  <a:gd name="f823" fmla="val 76"/>
                  <a:gd name="f824" fmla="val 225"/>
                  <a:gd name="f825" fmla="val 80"/>
                  <a:gd name="f826" fmla="val 256"/>
                  <a:gd name="f827" fmla="val 268"/>
                  <a:gd name="f828" fmla="val 68"/>
                  <a:gd name="f829" fmla="val 322"/>
                  <a:gd name="f830" fmla="val 67"/>
                  <a:gd name="f831" fmla="val 66"/>
                  <a:gd name="f832" fmla="val 338"/>
                  <a:gd name="f833" fmla="val 344"/>
                  <a:gd name="f834" fmla="val 358"/>
                  <a:gd name="f835" fmla="val 122"/>
                  <a:gd name="f836" fmla="val 371"/>
                  <a:gd name="f837" fmla="val 376"/>
                  <a:gd name="f838" fmla="val 380"/>
                  <a:gd name="f839" fmla="val 379"/>
                  <a:gd name="f840" fmla="val 148"/>
                  <a:gd name="f841" fmla="val 369"/>
                  <a:gd name="f842" fmla="val 158"/>
                  <a:gd name="f843" fmla="val 173"/>
                  <a:gd name="f844" fmla="val 362"/>
                  <a:gd name="f845" fmla="val 364"/>
                  <a:gd name="f846" fmla="val 372"/>
                  <a:gd name="f847" fmla="val 178"/>
                  <a:gd name="f848" fmla="val 388"/>
                  <a:gd name="f849" fmla="val 394"/>
                  <a:gd name="f850" fmla="val 187"/>
                  <a:gd name="f851" fmla="val 166"/>
                  <a:gd name="f852" fmla="val 404"/>
                  <a:gd name="f853" fmla="val 400"/>
                  <a:gd name="f854" fmla="val 110"/>
                  <a:gd name="f855" fmla="val 428"/>
                  <a:gd name="f856" fmla="val 439"/>
                  <a:gd name="f857" fmla="val 130"/>
                  <a:gd name="f858" fmla="val 460"/>
                  <a:gd name="f859" fmla="val 161"/>
                  <a:gd name="f860" fmla="val 459"/>
                  <a:gd name="f861" fmla="val 163"/>
                  <a:gd name="f862" fmla="val 475"/>
                  <a:gd name="f863" fmla="val 479"/>
                  <a:gd name="f864" fmla="val 477"/>
                  <a:gd name="f865" fmla="val 469"/>
                  <a:gd name="f866" fmla="val 114"/>
                  <a:gd name="f867" fmla="val 69"/>
                  <a:gd name="f868" fmla="val 468"/>
                  <a:gd name="f869" fmla="val 58"/>
                  <a:gd name="f870" fmla="val 473"/>
                  <a:gd name="f871" fmla="val 46"/>
                  <a:gd name="f872" fmla="val 36"/>
                  <a:gd name="f873" fmla="val 29"/>
                  <a:gd name="f874" fmla="val 484"/>
                  <a:gd name="f875" fmla="val 15"/>
                  <a:gd name="f876" fmla="val 489"/>
                  <a:gd name="f877" fmla="val 8"/>
                  <a:gd name="f878" fmla="val 3"/>
                  <a:gd name="f879" fmla="+- 0 0 -90"/>
                  <a:gd name="f880" fmla="*/ f4 1 1234"/>
                  <a:gd name="f881" fmla="*/ f5 1 1078"/>
                  <a:gd name="f882" fmla="+- f8 0 f6"/>
                  <a:gd name="f883" fmla="+- f7 0 f6"/>
                  <a:gd name="f884" fmla="*/ f879 f0 1"/>
                  <a:gd name="f885" fmla="*/ f883 1 1234"/>
                  <a:gd name="f886" fmla="*/ f882 1 1078"/>
                  <a:gd name="f887" fmla="*/ f884 1 f3"/>
                  <a:gd name="f888" fmla="*/ 530 1 f885"/>
                  <a:gd name="f889" fmla="*/ 347 1 f886"/>
                  <a:gd name="f890" fmla="*/ 573 1 f885"/>
                  <a:gd name="f891" fmla="*/ 302 1 f886"/>
                  <a:gd name="f892" fmla="*/ 486 1 f885"/>
                  <a:gd name="f893" fmla="*/ 280 1 f886"/>
                  <a:gd name="f894" fmla="*/ 598 1 f885"/>
                  <a:gd name="f895" fmla="*/ 19 1 f886"/>
                  <a:gd name="f896" fmla="*/ 688 1 f885"/>
                  <a:gd name="f897" fmla="*/ 59 1 f886"/>
                  <a:gd name="f898" fmla="*/ 785 1 f885"/>
                  <a:gd name="f899" fmla="*/ 176 1 f886"/>
                  <a:gd name="f900" fmla="*/ 883 1 f885"/>
                  <a:gd name="f901" fmla="*/ 210 1 f886"/>
                  <a:gd name="f902" fmla="*/ 972 1 f885"/>
                  <a:gd name="f903" fmla="*/ 221 1 f886"/>
                  <a:gd name="f904" fmla="*/ 1027 1 f885"/>
                  <a:gd name="f905" fmla="*/ 253 1 f886"/>
                  <a:gd name="f906" fmla="*/ 1119 1 f885"/>
                  <a:gd name="f907" fmla="*/ 303 1 f886"/>
                  <a:gd name="f908" fmla="*/ 1146 1 f885"/>
                  <a:gd name="f909" fmla="*/ 323 1 f886"/>
                  <a:gd name="f910" fmla="*/ 1229 1 f885"/>
                  <a:gd name="f911" fmla="*/ 352 1 f886"/>
                  <a:gd name="f912" fmla="*/ 1144 1 f885"/>
                  <a:gd name="f913" fmla="*/ 424 1 f886"/>
                  <a:gd name="f914" fmla="*/ 1075 1 f885"/>
                  <a:gd name="f915" fmla="*/ 420 1 f886"/>
                  <a:gd name="f916" fmla="*/ 1051 1 f885"/>
                  <a:gd name="f917" fmla="*/ 518 1 f886"/>
                  <a:gd name="f918" fmla="*/ 580 1 f886"/>
                  <a:gd name="f919" fmla="*/ 1080 1 f885"/>
                  <a:gd name="f920" fmla="*/ 637 1 f886"/>
                  <a:gd name="f921" fmla="*/ 1097 1 f885"/>
                  <a:gd name="f922" fmla="*/ 725 1 f886"/>
                  <a:gd name="f923" fmla="*/ 1015 1 f885"/>
                  <a:gd name="f924" fmla="*/ 765 1 f886"/>
                  <a:gd name="f925" fmla="*/ 978 1 f885"/>
                  <a:gd name="f926" fmla="*/ 850 1 f886"/>
                  <a:gd name="f927" fmla="*/ 997 1 f885"/>
                  <a:gd name="f928" fmla="*/ 953 1 f886"/>
                  <a:gd name="f929" fmla="*/ 922 1 f885"/>
                  <a:gd name="f930" fmla="*/ 970 1 f886"/>
                  <a:gd name="f931" fmla="*/ 829 1 f885"/>
                  <a:gd name="f932" fmla="*/ 1027 1 f886"/>
                  <a:gd name="f933" fmla="*/ 793 1 f885"/>
                  <a:gd name="f934" fmla="*/ 1039 1 f886"/>
                  <a:gd name="f935" fmla="*/ 764 1 f885"/>
                  <a:gd name="f936" fmla="*/ 1060 1 f886"/>
                  <a:gd name="f937" fmla="*/ 749 1 f885"/>
                  <a:gd name="f938" fmla="*/ 1071 1 f886"/>
                  <a:gd name="f939" fmla="*/ 725 1 f885"/>
                  <a:gd name="f940" fmla="*/ 1034 1 f886"/>
                  <a:gd name="f941" fmla="*/ 739 1 f885"/>
                  <a:gd name="f942" fmla="*/ 963 1 f886"/>
                  <a:gd name="f943" fmla="*/ 717 1 f885"/>
                  <a:gd name="f944" fmla="*/ 938 1 f886"/>
                  <a:gd name="f945" fmla="*/ 682 1 f885"/>
                  <a:gd name="f946" fmla="*/ 890 1 f886"/>
                  <a:gd name="f947" fmla="*/ 660 1 f885"/>
                  <a:gd name="f948" fmla="*/ 826 1 f886"/>
                  <a:gd name="f949" fmla="*/ 623 1 f885"/>
                  <a:gd name="f950" fmla="*/ 785 1 f886"/>
                  <a:gd name="f951" fmla="*/ 581 1 f885"/>
                  <a:gd name="f952" fmla="*/ 727 1 f886"/>
                  <a:gd name="f953" fmla="*/ 580 1 f885"/>
                  <a:gd name="f954" fmla="*/ 666 1 f886"/>
                  <a:gd name="f955" fmla="*/ 606 1 f885"/>
                  <a:gd name="f956" fmla="*/ 578 1 f886"/>
                  <a:gd name="f957" fmla="*/ 508 1 f885"/>
                  <a:gd name="f958" fmla="*/ 603 1 f886"/>
                  <a:gd name="f959" fmla="*/ 443 1 f885"/>
                  <a:gd name="f960" fmla="*/ 582 1 f886"/>
                  <a:gd name="f961" fmla="*/ 409 1 f885"/>
                  <a:gd name="f962" fmla="*/ 597 1 f886"/>
                  <a:gd name="f963" fmla="*/ 450 1 f885"/>
                  <a:gd name="f964" fmla="*/ 706 1 f886"/>
                  <a:gd name="f965" fmla="*/ 378 1 f885"/>
                  <a:gd name="f966" fmla="*/ 739 1 f886"/>
                  <a:gd name="f967" fmla="*/ 303 1 f885"/>
                  <a:gd name="f968" fmla="*/ 731 1 f886"/>
                  <a:gd name="f969" fmla="*/ 301 1 f885"/>
                  <a:gd name="f970" fmla="*/ 696 1 f886"/>
                  <a:gd name="f971" fmla="*/ 293 1 f885"/>
                  <a:gd name="f972" fmla="*/ 622 1 f886"/>
                  <a:gd name="f973" fmla="*/ 227 1 f885"/>
                  <a:gd name="f974" fmla="*/ 598 1 f886"/>
                  <a:gd name="f975" fmla="*/ 112 1 f885"/>
                  <a:gd name="f976" fmla="*/ 659 1 f886"/>
                  <a:gd name="f977" fmla="*/ 81 1 f885"/>
                  <a:gd name="f978" fmla="*/ 589 1 f886"/>
                  <a:gd name="f979" fmla="*/ 13 1 f885"/>
                  <a:gd name="f980" fmla="*/ 570 1 f886"/>
                  <a:gd name="f981" fmla="*/ 12 1 f885"/>
                  <a:gd name="f982" fmla="*/ 507 1 f886"/>
                  <a:gd name="f983" fmla="*/ 79 1 f885"/>
                  <a:gd name="f984" fmla="*/ 502 1 f886"/>
                  <a:gd name="f985" fmla="*/ 105 1 f885"/>
                  <a:gd name="f986" fmla="*/ 437 1 f886"/>
                  <a:gd name="f987" fmla="*/ 140 1 f885"/>
                  <a:gd name="f988" fmla="*/ 287 1 f886"/>
                  <a:gd name="f989" fmla="*/ 153 1 f885"/>
                  <a:gd name="f990" fmla="*/ 220 1 f886"/>
                  <a:gd name="f991" fmla="*/ 109 1 f885"/>
                  <a:gd name="f992" fmla="*/ 142 1 f886"/>
                  <a:gd name="f993" fmla="*/ 164 1 f885"/>
                  <a:gd name="f994" fmla="*/ 78 1 f886"/>
                  <a:gd name="f995" fmla="*/ 330 1 f885"/>
                  <a:gd name="f996" fmla="*/ 66 1 f886"/>
                  <a:gd name="f997" fmla="*/ 379 1 f885"/>
                  <a:gd name="f998" fmla="*/ 148 1 f886"/>
                  <a:gd name="f999" fmla="*/ 365 1 f885"/>
                  <a:gd name="f1000" fmla="*/ 415 1 f885"/>
                  <a:gd name="f1001" fmla="*/ 147 1 f886"/>
                  <a:gd name="f1002" fmla="*/ 429 1 f885"/>
                  <a:gd name="f1003" fmla="*/ 119 1 f886"/>
                  <a:gd name="f1004" fmla="*/ 460 1 f885"/>
                  <a:gd name="f1005" fmla="*/ 166 1 f886"/>
                  <a:gd name="f1006" fmla="*/ 473 1 f885"/>
                  <a:gd name="f1007" fmla="*/ 46 1 f886"/>
                  <a:gd name="f1008" fmla="*/ 0 1 f885"/>
                  <a:gd name="f1009" fmla="*/ f7 1 f885"/>
                  <a:gd name="f1010" fmla="*/ 0 1 f886"/>
                  <a:gd name="f1011" fmla="*/ f8 1 f886"/>
                  <a:gd name="f1012" fmla="+- f887 0 f1"/>
                  <a:gd name="f1013" fmla="*/ f1008 f880 1"/>
                  <a:gd name="f1014" fmla="*/ f1009 f880 1"/>
                  <a:gd name="f1015" fmla="*/ f1011 f881 1"/>
                  <a:gd name="f1016" fmla="*/ f1010 f881 1"/>
                  <a:gd name="f1017" fmla="*/ f888 f880 1"/>
                  <a:gd name="f1018" fmla="*/ f889 f881 1"/>
                  <a:gd name="f1019" fmla="*/ f890 f880 1"/>
                  <a:gd name="f1020" fmla="*/ f891 f881 1"/>
                  <a:gd name="f1021" fmla="*/ f892 f880 1"/>
                  <a:gd name="f1022" fmla="*/ f893 f881 1"/>
                  <a:gd name="f1023" fmla="*/ f894 f880 1"/>
                  <a:gd name="f1024" fmla="*/ f895 f881 1"/>
                  <a:gd name="f1025" fmla="*/ f896 f880 1"/>
                  <a:gd name="f1026" fmla="*/ f897 f881 1"/>
                  <a:gd name="f1027" fmla="*/ f898 f880 1"/>
                  <a:gd name="f1028" fmla="*/ f899 f881 1"/>
                  <a:gd name="f1029" fmla="*/ f900 f880 1"/>
                  <a:gd name="f1030" fmla="*/ f901 f881 1"/>
                  <a:gd name="f1031" fmla="*/ f902 f880 1"/>
                  <a:gd name="f1032" fmla="*/ f903 f881 1"/>
                  <a:gd name="f1033" fmla="*/ f904 f880 1"/>
                  <a:gd name="f1034" fmla="*/ f905 f881 1"/>
                  <a:gd name="f1035" fmla="*/ f906 f880 1"/>
                  <a:gd name="f1036" fmla="*/ f907 f881 1"/>
                  <a:gd name="f1037" fmla="*/ f908 f880 1"/>
                  <a:gd name="f1038" fmla="*/ f909 f881 1"/>
                  <a:gd name="f1039" fmla="*/ f910 f880 1"/>
                  <a:gd name="f1040" fmla="*/ f911 f881 1"/>
                  <a:gd name="f1041" fmla="*/ f912 f880 1"/>
                  <a:gd name="f1042" fmla="*/ f913 f881 1"/>
                  <a:gd name="f1043" fmla="*/ f914 f880 1"/>
                  <a:gd name="f1044" fmla="*/ f915 f881 1"/>
                  <a:gd name="f1045" fmla="*/ f916 f880 1"/>
                  <a:gd name="f1046" fmla="*/ f917 f881 1"/>
                  <a:gd name="f1047" fmla="*/ f918 f881 1"/>
                  <a:gd name="f1048" fmla="*/ f919 f880 1"/>
                  <a:gd name="f1049" fmla="*/ f920 f881 1"/>
                  <a:gd name="f1050" fmla="*/ f921 f880 1"/>
                  <a:gd name="f1051" fmla="*/ f922 f881 1"/>
                  <a:gd name="f1052" fmla="*/ f923 f880 1"/>
                  <a:gd name="f1053" fmla="*/ f924 f881 1"/>
                  <a:gd name="f1054" fmla="*/ f925 f880 1"/>
                  <a:gd name="f1055" fmla="*/ f926 f881 1"/>
                  <a:gd name="f1056" fmla="*/ f927 f880 1"/>
                  <a:gd name="f1057" fmla="*/ f928 f881 1"/>
                  <a:gd name="f1058" fmla="*/ f929 f880 1"/>
                  <a:gd name="f1059" fmla="*/ f930 f881 1"/>
                  <a:gd name="f1060" fmla="*/ f931 f880 1"/>
                  <a:gd name="f1061" fmla="*/ f932 f881 1"/>
                  <a:gd name="f1062" fmla="*/ f933 f880 1"/>
                  <a:gd name="f1063" fmla="*/ f934 f881 1"/>
                  <a:gd name="f1064" fmla="*/ f935 f880 1"/>
                  <a:gd name="f1065" fmla="*/ f936 f881 1"/>
                  <a:gd name="f1066" fmla="*/ f937 f880 1"/>
                  <a:gd name="f1067" fmla="*/ f938 f881 1"/>
                  <a:gd name="f1068" fmla="*/ f939 f880 1"/>
                  <a:gd name="f1069" fmla="*/ f940 f881 1"/>
                  <a:gd name="f1070" fmla="*/ f941 f880 1"/>
                  <a:gd name="f1071" fmla="*/ f942 f881 1"/>
                  <a:gd name="f1072" fmla="*/ f943 f880 1"/>
                  <a:gd name="f1073" fmla="*/ f944 f881 1"/>
                  <a:gd name="f1074" fmla="*/ f945 f880 1"/>
                  <a:gd name="f1075" fmla="*/ f946 f881 1"/>
                  <a:gd name="f1076" fmla="*/ f947 f880 1"/>
                  <a:gd name="f1077" fmla="*/ f948 f881 1"/>
                  <a:gd name="f1078" fmla="*/ f949 f880 1"/>
                  <a:gd name="f1079" fmla="*/ f950 f881 1"/>
                  <a:gd name="f1080" fmla="*/ f951 f880 1"/>
                  <a:gd name="f1081" fmla="*/ f952 f881 1"/>
                  <a:gd name="f1082" fmla="*/ f953 f880 1"/>
                  <a:gd name="f1083" fmla="*/ f954 f881 1"/>
                  <a:gd name="f1084" fmla="*/ f955 f880 1"/>
                  <a:gd name="f1085" fmla="*/ f956 f881 1"/>
                  <a:gd name="f1086" fmla="*/ f957 f880 1"/>
                  <a:gd name="f1087" fmla="*/ f958 f881 1"/>
                  <a:gd name="f1088" fmla="*/ f959 f880 1"/>
                  <a:gd name="f1089" fmla="*/ f960 f881 1"/>
                  <a:gd name="f1090" fmla="*/ f961 f880 1"/>
                  <a:gd name="f1091" fmla="*/ f962 f881 1"/>
                  <a:gd name="f1092" fmla="*/ f963 f880 1"/>
                  <a:gd name="f1093" fmla="*/ f964 f881 1"/>
                  <a:gd name="f1094" fmla="*/ f965 f880 1"/>
                  <a:gd name="f1095" fmla="*/ f966 f881 1"/>
                  <a:gd name="f1096" fmla="*/ f967 f880 1"/>
                  <a:gd name="f1097" fmla="*/ f968 f881 1"/>
                  <a:gd name="f1098" fmla="*/ f969 f880 1"/>
                  <a:gd name="f1099" fmla="*/ f970 f881 1"/>
                  <a:gd name="f1100" fmla="*/ f971 f880 1"/>
                  <a:gd name="f1101" fmla="*/ f972 f881 1"/>
                  <a:gd name="f1102" fmla="*/ f973 f880 1"/>
                  <a:gd name="f1103" fmla="*/ f974 f881 1"/>
                  <a:gd name="f1104" fmla="*/ f975 f880 1"/>
                  <a:gd name="f1105" fmla="*/ f976 f881 1"/>
                  <a:gd name="f1106" fmla="*/ f977 f880 1"/>
                  <a:gd name="f1107" fmla="*/ f978 f881 1"/>
                  <a:gd name="f1108" fmla="*/ f979 f880 1"/>
                  <a:gd name="f1109" fmla="*/ f980 f881 1"/>
                  <a:gd name="f1110" fmla="*/ f981 f880 1"/>
                  <a:gd name="f1111" fmla="*/ f982 f881 1"/>
                  <a:gd name="f1112" fmla="*/ f983 f880 1"/>
                  <a:gd name="f1113" fmla="*/ f984 f881 1"/>
                  <a:gd name="f1114" fmla="*/ f985 f880 1"/>
                  <a:gd name="f1115" fmla="*/ f986 f881 1"/>
                  <a:gd name="f1116" fmla="*/ f987 f880 1"/>
                  <a:gd name="f1117" fmla="*/ f988 f881 1"/>
                  <a:gd name="f1118" fmla="*/ f989 f880 1"/>
                  <a:gd name="f1119" fmla="*/ f990 f881 1"/>
                  <a:gd name="f1120" fmla="*/ f991 f880 1"/>
                  <a:gd name="f1121" fmla="*/ f992 f881 1"/>
                  <a:gd name="f1122" fmla="*/ f993 f880 1"/>
                  <a:gd name="f1123" fmla="*/ f994 f881 1"/>
                  <a:gd name="f1124" fmla="*/ f995 f880 1"/>
                  <a:gd name="f1125" fmla="*/ f996 f881 1"/>
                  <a:gd name="f1126" fmla="*/ f997 f880 1"/>
                  <a:gd name="f1127" fmla="*/ f998 f881 1"/>
                  <a:gd name="f1128" fmla="*/ f999 f880 1"/>
                  <a:gd name="f1129" fmla="*/ f1000 f880 1"/>
                  <a:gd name="f1130" fmla="*/ f1001 f881 1"/>
                  <a:gd name="f1131" fmla="*/ f1002 f880 1"/>
                  <a:gd name="f1132" fmla="*/ f1003 f881 1"/>
                  <a:gd name="f1133" fmla="*/ f1004 f880 1"/>
                  <a:gd name="f1134" fmla="*/ f1005 f881 1"/>
                  <a:gd name="f1135" fmla="*/ f1006 f880 1"/>
                  <a:gd name="f1136" fmla="*/ f1007 f88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012">
                    <a:pos x="f1017" y="f1018"/>
                  </a:cxn>
                  <a:cxn ang="f1012">
                    <a:pos x="f1019" y="f1020"/>
                  </a:cxn>
                  <a:cxn ang="f1012">
                    <a:pos x="f1021" y="f1022"/>
                  </a:cxn>
                  <a:cxn ang="f1012">
                    <a:pos x="f1023" y="f1024"/>
                  </a:cxn>
                  <a:cxn ang="f1012">
                    <a:pos x="f1025" y="f1026"/>
                  </a:cxn>
                  <a:cxn ang="f1012">
                    <a:pos x="f1027" y="f1028"/>
                  </a:cxn>
                  <a:cxn ang="f1012">
                    <a:pos x="f1029" y="f1030"/>
                  </a:cxn>
                  <a:cxn ang="f1012">
                    <a:pos x="f1031" y="f1032"/>
                  </a:cxn>
                  <a:cxn ang="f1012">
                    <a:pos x="f1033" y="f1034"/>
                  </a:cxn>
                  <a:cxn ang="f1012">
                    <a:pos x="f1035" y="f1036"/>
                  </a:cxn>
                  <a:cxn ang="f1012">
                    <a:pos x="f1037" y="f1038"/>
                  </a:cxn>
                  <a:cxn ang="f1012">
                    <a:pos x="f1039" y="f1040"/>
                  </a:cxn>
                  <a:cxn ang="f1012">
                    <a:pos x="f1041" y="f1042"/>
                  </a:cxn>
                  <a:cxn ang="f1012">
                    <a:pos x="f1043" y="f1044"/>
                  </a:cxn>
                  <a:cxn ang="f1012">
                    <a:pos x="f1045" y="f1046"/>
                  </a:cxn>
                  <a:cxn ang="f1012">
                    <a:pos x="f1043" y="f1047"/>
                  </a:cxn>
                  <a:cxn ang="f1012">
                    <a:pos x="f1048" y="f1049"/>
                  </a:cxn>
                  <a:cxn ang="f1012">
                    <a:pos x="f1050" y="f1051"/>
                  </a:cxn>
                  <a:cxn ang="f1012">
                    <a:pos x="f1052" y="f1053"/>
                  </a:cxn>
                  <a:cxn ang="f1012">
                    <a:pos x="f1054" y="f1055"/>
                  </a:cxn>
                  <a:cxn ang="f1012">
                    <a:pos x="f1056" y="f1057"/>
                  </a:cxn>
                  <a:cxn ang="f1012">
                    <a:pos x="f1058" y="f1059"/>
                  </a:cxn>
                  <a:cxn ang="f1012">
                    <a:pos x="f1060" y="f1061"/>
                  </a:cxn>
                  <a:cxn ang="f1012">
                    <a:pos x="f1062" y="f1063"/>
                  </a:cxn>
                  <a:cxn ang="f1012">
                    <a:pos x="f1064" y="f1065"/>
                  </a:cxn>
                  <a:cxn ang="f1012">
                    <a:pos x="f1066" y="f1067"/>
                  </a:cxn>
                  <a:cxn ang="f1012">
                    <a:pos x="f1068" y="f1069"/>
                  </a:cxn>
                  <a:cxn ang="f1012">
                    <a:pos x="f1070" y="f1071"/>
                  </a:cxn>
                  <a:cxn ang="f1012">
                    <a:pos x="f1072" y="f1073"/>
                  </a:cxn>
                  <a:cxn ang="f1012">
                    <a:pos x="f1074" y="f1075"/>
                  </a:cxn>
                  <a:cxn ang="f1012">
                    <a:pos x="f1076" y="f1077"/>
                  </a:cxn>
                  <a:cxn ang="f1012">
                    <a:pos x="f1078" y="f1079"/>
                  </a:cxn>
                  <a:cxn ang="f1012">
                    <a:pos x="f1080" y="f1081"/>
                  </a:cxn>
                  <a:cxn ang="f1012">
                    <a:pos x="f1082" y="f1083"/>
                  </a:cxn>
                  <a:cxn ang="f1012">
                    <a:pos x="f1084" y="f1085"/>
                  </a:cxn>
                  <a:cxn ang="f1012">
                    <a:pos x="f1086" y="f1087"/>
                  </a:cxn>
                  <a:cxn ang="f1012">
                    <a:pos x="f1088" y="f1089"/>
                  </a:cxn>
                  <a:cxn ang="f1012">
                    <a:pos x="f1090" y="f1091"/>
                  </a:cxn>
                  <a:cxn ang="f1012">
                    <a:pos x="f1092" y="f1093"/>
                  </a:cxn>
                  <a:cxn ang="f1012">
                    <a:pos x="f1094" y="f1095"/>
                  </a:cxn>
                  <a:cxn ang="f1012">
                    <a:pos x="f1096" y="f1097"/>
                  </a:cxn>
                  <a:cxn ang="f1012">
                    <a:pos x="f1098" y="f1099"/>
                  </a:cxn>
                  <a:cxn ang="f1012">
                    <a:pos x="f1100" y="f1101"/>
                  </a:cxn>
                  <a:cxn ang="f1012">
                    <a:pos x="f1102" y="f1103"/>
                  </a:cxn>
                  <a:cxn ang="f1012">
                    <a:pos x="f1104" y="f1105"/>
                  </a:cxn>
                  <a:cxn ang="f1012">
                    <a:pos x="f1106" y="f1107"/>
                  </a:cxn>
                  <a:cxn ang="f1012">
                    <a:pos x="f1108" y="f1109"/>
                  </a:cxn>
                  <a:cxn ang="f1012">
                    <a:pos x="f1110" y="f1111"/>
                  </a:cxn>
                  <a:cxn ang="f1012">
                    <a:pos x="f1112" y="f1113"/>
                  </a:cxn>
                  <a:cxn ang="f1012">
                    <a:pos x="f1114" y="f1115"/>
                  </a:cxn>
                  <a:cxn ang="f1012">
                    <a:pos x="f1116" y="f1117"/>
                  </a:cxn>
                  <a:cxn ang="f1012">
                    <a:pos x="f1118" y="f1119"/>
                  </a:cxn>
                  <a:cxn ang="f1012">
                    <a:pos x="f1120" y="f1121"/>
                  </a:cxn>
                  <a:cxn ang="f1012">
                    <a:pos x="f1122" y="f1123"/>
                  </a:cxn>
                  <a:cxn ang="f1012">
                    <a:pos x="f1124" y="f1125"/>
                  </a:cxn>
                  <a:cxn ang="f1012">
                    <a:pos x="f1126" y="f1127"/>
                  </a:cxn>
                  <a:cxn ang="f1012">
                    <a:pos x="f1128" y="f1028"/>
                  </a:cxn>
                  <a:cxn ang="f1012">
                    <a:pos x="f1129" y="f1130"/>
                  </a:cxn>
                  <a:cxn ang="f1012">
                    <a:pos x="f1131" y="f1132"/>
                  </a:cxn>
                  <a:cxn ang="f1012">
                    <a:pos x="f1133" y="f1134"/>
                  </a:cxn>
                  <a:cxn ang="f1012">
                    <a:pos x="f1135" y="f1136"/>
                  </a:cxn>
                </a:cxnLst>
                <a:rect l="f1013" t="f1016" r="f1014" b="f1015"/>
                <a:pathLst>
                  <a:path w="1234" h="1078">
                    <a:moveTo>
                      <a:pt x="f9" y="f10"/>
                    </a:move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4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37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49" y="f51"/>
                    </a:lnTo>
                    <a:lnTo>
                      <a:pt x="f47" y="f52"/>
                    </a:lnTo>
                    <a:lnTo>
                      <a:pt x="f47" y="f53"/>
                    </a:lnTo>
                    <a:lnTo>
                      <a:pt x="f47" y="f54"/>
                    </a:lnTo>
                    <a:lnTo>
                      <a:pt x="f55" y="f56"/>
                    </a:lnTo>
                    <a:lnTo>
                      <a:pt x="f57" y="f22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40" y="f54"/>
                    </a:lnTo>
                    <a:lnTo>
                      <a:pt x="f66" y="f24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18"/>
                    </a:lnTo>
                    <a:lnTo>
                      <a:pt x="f29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12"/>
                    </a:lnTo>
                    <a:lnTo>
                      <a:pt x="f9" y="f10"/>
                    </a:lnTo>
                    <a:close/>
                    <a:moveTo>
                      <a:pt x="f25" y="f6"/>
                    </a:moveTo>
                    <a:lnTo>
                      <a:pt x="f27" y="f82"/>
                    </a:lnTo>
                    <a:lnTo>
                      <a:pt x="f29" y="f83"/>
                    </a:lnTo>
                    <a:lnTo>
                      <a:pt x="f73" y="f84"/>
                    </a:lnTo>
                    <a:lnTo>
                      <a:pt x="f71" y="f8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92" y="f93"/>
                    </a:lnTo>
                    <a:lnTo>
                      <a:pt x="f94" y="f93"/>
                    </a:lnTo>
                    <a:lnTo>
                      <a:pt x="f95" y="f96"/>
                    </a:lnTo>
                    <a:lnTo>
                      <a:pt x="f97" y="f87"/>
                    </a:lnTo>
                    <a:lnTo>
                      <a:pt x="f98" y="f84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87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6" y="f115"/>
                    </a:lnTo>
                    <a:lnTo>
                      <a:pt x="f116" y="f117"/>
                    </a:lnTo>
                    <a:lnTo>
                      <a:pt x="f114" y="f118"/>
                    </a:lnTo>
                    <a:lnTo>
                      <a:pt x="f114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128" y="f129"/>
                    </a:ln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55"/>
                    </a:lnTo>
                    <a:lnTo>
                      <a:pt x="f157" y="f158"/>
                    </a:lnTo>
                    <a:lnTo>
                      <a:pt x="f159" y="f160"/>
                    </a:lnTo>
                    <a:lnTo>
                      <a:pt x="f161" y="f162"/>
                    </a:lnTo>
                    <a:lnTo>
                      <a:pt x="f163" y="f164"/>
                    </a:lnTo>
                    <a:lnTo>
                      <a:pt x="f165" y="f166"/>
                    </a:lnTo>
                    <a:lnTo>
                      <a:pt x="f167" y="f160"/>
                    </a:lnTo>
                    <a:lnTo>
                      <a:pt x="f168" y="f169"/>
                    </a:lnTo>
                    <a:lnTo>
                      <a:pt x="f170" y="f171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69"/>
                    </a:lnTo>
                    <a:lnTo>
                      <a:pt x="f179" y="f180"/>
                    </a:lnTo>
                    <a:lnTo>
                      <a:pt x="f181" y="f153"/>
                    </a:lnTo>
                    <a:lnTo>
                      <a:pt x="f182" y="f160"/>
                    </a:lnTo>
                    <a:lnTo>
                      <a:pt x="f183" y="f160"/>
                    </a:lnTo>
                    <a:lnTo>
                      <a:pt x="f184" y="f158"/>
                    </a:lnTo>
                    <a:lnTo>
                      <a:pt x="f185" y="f186"/>
                    </a:lnTo>
                    <a:lnTo>
                      <a:pt x="f187" y="f188"/>
                    </a:lnTo>
                    <a:lnTo>
                      <a:pt x="f189" y="f173"/>
                    </a:lnTo>
                    <a:lnTo>
                      <a:pt x="f190" y="f191"/>
                    </a:lnTo>
                    <a:lnTo>
                      <a:pt x="f192" y="f193"/>
                    </a:lnTo>
                    <a:lnTo>
                      <a:pt x="f194" y="f195"/>
                    </a:lnTo>
                    <a:lnTo>
                      <a:pt x="f196" y="f195"/>
                    </a:lnTo>
                    <a:lnTo>
                      <a:pt x="f197" y="f198"/>
                    </a:lnTo>
                    <a:lnTo>
                      <a:pt x="f199" y="f193"/>
                    </a:lnTo>
                    <a:lnTo>
                      <a:pt x="f200" y="f193"/>
                    </a:lnTo>
                    <a:lnTo>
                      <a:pt x="f201" y="f195"/>
                    </a:lnTo>
                    <a:lnTo>
                      <a:pt x="f202" y="f203"/>
                    </a:lnTo>
                    <a:lnTo>
                      <a:pt x="f202" y="f204"/>
                    </a:lnTo>
                    <a:lnTo>
                      <a:pt x="f205" y="f206"/>
                    </a:lnTo>
                    <a:lnTo>
                      <a:pt x="f202" y="f207"/>
                    </a:lnTo>
                    <a:lnTo>
                      <a:pt x="f208" y="f209"/>
                    </a:lnTo>
                    <a:lnTo>
                      <a:pt x="f210" y="f211"/>
                    </a:lnTo>
                    <a:lnTo>
                      <a:pt x="f212" y="f213"/>
                    </a:lnTo>
                    <a:lnTo>
                      <a:pt x="f214" y="f215"/>
                    </a:lnTo>
                    <a:lnTo>
                      <a:pt x="f216" y="f217"/>
                    </a:lnTo>
                    <a:lnTo>
                      <a:pt x="f218" y="f219"/>
                    </a:lnTo>
                    <a:lnTo>
                      <a:pt x="f220" y="f221"/>
                    </a:lnTo>
                    <a:lnTo>
                      <a:pt x="f222" y="f223"/>
                    </a:lnTo>
                    <a:lnTo>
                      <a:pt x="f224" y="f225"/>
                    </a:lnTo>
                    <a:lnTo>
                      <a:pt x="f226" y="f227"/>
                    </a:lnTo>
                    <a:lnTo>
                      <a:pt x="f8" y="f228"/>
                    </a:lnTo>
                    <a:lnTo>
                      <a:pt x="f229" y="f63"/>
                    </a:lnTo>
                    <a:lnTo>
                      <a:pt x="f230" y="f65"/>
                    </a:lnTo>
                    <a:lnTo>
                      <a:pt x="f231" y="f24"/>
                    </a:lnTo>
                    <a:lnTo>
                      <a:pt x="f232" y="f233"/>
                    </a:lnTo>
                    <a:lnTo>
                      <a:pt x="f234" y="f68"/>
                    </a:lnTo>
                    <a:lnTo>
                      <a:pt x="f235" y="f22"/>
                    </a:lnTo>
                    <a:lnTo>
                      <a:pt x="f236" y="f22"/>
                    </a:lnTo>
                    <a:lnTo>
                      <a:pt x="f237" y="f68"/>
                    </a:lnTo>
                    <a:lnTo>
                      <a:pt x="f238" y="f56"/>
                    </a:lnTo>
                    <a:lnTo>
                      <a:pt x="f238" y="f233"/>
                    </a:lnTo>
                    <a:lnTo>
                      <a:pt x="f239" y="f240"/>
                    </a:lnTo>
                    <a:lnTo>
                      <a:pt x="f241" y="f242"/>
                    </a:lnTo>
                    <a:lnTo>
                      <a:pt x="f243" y="f244"/>
                    </a:lnTo>
                    <a:lnTo>
                      <a:pt x="f245" y="f244"/>
                    </a:lnTo>
                    <a:lnTo>
                      <a:pt x="f246" y="f53"/>
                    </a:lnTo>
                    <a:lnTo>
                      <a:pt x="f247" y="f248"/>
                    </a:lnTo>
                    <a:lnTo>
                      <a:pt x="f249" y="f250"/>
                    </a:lnTo>
                    <a:lnTo>
                      <a:pt x="f251" y="f252"/>
                    </a:lnTo>
                    <a:lnTo>
                      <a:pt x="f253" y="f254"/>
                    </a:lnTo>
                    <a:lnTo>
                      <a:pt x="f255" y="f254"/>
                    </a:lnTo>
                    <a:lnTo>
                      <a:pt x="f256" y="f248"/>
                    </a:lnTo>
                    <a:lnTo>
                      <a:pt x="f257" y="f258"/>
                    </a:lnTo>
                    <a:lnTo>
                      <a:pt x="f259" y="f28"/>
                    </a:lnTo>
                    <a:lnTo>
                      <a:pt x="f260" y="f261"/>
                    </a:lnTo>
                    <a:lnTo>
                      <a:pt x="f262" y="f48"/>
                    </a:lnTo>
                    <a:lnTo>
                      <a:pt x="f263" y="f48"/>
                    </a:lnTo>
                    <a:lnTo>
                      <a:pt x="f264" y="f265"/>
                    </a:lnTo>
                    <a:lnTo>
                      <a:pt x="f266" y="f267"/>
                    </a:lnTo>
                    <a:lnTo>
                      <a:pt x="f268" y="f261"/>
                    </a:lnTo>
                    <a:lnTo>
                      <a:pt x="f269" y="f261"/>
                    </a:lnTo>
                    <a:lnTo>
                      <a:pt x="f270" y="f48"/>
                    </a:lnTo>
                    <a:lnTo>
                      <a:pt x="f271" y="f32"/>
                    </a:lnTo>
                    <a:lnTo>
                      <a:pt x="f272" y="f273"/>
                    </a:lnTo>
                    <a:lnTo>
                      <a:pt x="f274" y="f275"/>
                    </a:lnTo>
                    <a:lnTo>
                      <a:pt x="f276" y="f277"/>
                    </a:lnTo>
                    <a:lnTo>
                      <a:pt x="f278" y="f279"/>
                    </a:lnTo>
                    <a:lnTo>
                      <a:pt x="f7" y="f39"/>
                    </a:lnTo>
                    <a:lnTo>
                      <a:pt x="f280" y="f281"/>
                    </a:lnTo>
                    <a:lnTo>
                      <a:pt x="f282" y="f283"/>
                    </a:lnTo>
                    <a:lnTo>
                      <a:pt x="f284" y="f285"/>
                    </a:lnTo>
                    <a:lnTo>
                      <a:pt x="f286" y="f287"/>
                    </a:lnTo>
                    <a:lnTo>
                      <a:pt x="f284" y="f288"/>
                    </a:lnTo>
                    <a:lnTo>
                      <a:pt x="f289" y="f290"/>
                    </a:lnTo>
                    <a:lnTo>
                      <a:pt x="f291" y="f292"/>
                    </a:lnTo>
                    <a:lnTo>
                      <a:pt x="f293" y="f294"/>
                    </a:lnTo>
                    <a:lnTo>
                      <a:pt x="f295" y="f296"/>
                    </a:lnTo>
                    <a:lnTo>
                      <a:pt x="f297" y="f298"/>
                    </a:lnTo>
                    <a:lnTo>
                      <a:pt x="f262" y="f299"/>
                    </a:lnTo>
                    <a:lnTo>
                      <a:pt x="f300" y="f301"/>
                    </a:lnTo>
                    <a:lnTo>
                      <a:pt x="f302" y="f303"/>
                    </a:lnTo>
                    <a:lnTo>
                      <a:pt x="f304" y="f305"/>
                    </a:lnTo>
                    <a:lnTo>
                      <a:pt x="f249" y="f306"/>
                    </a:lnTo>
                    <a:lnTo>
                      <a:pt x="f243" y="f307"/>
                    </a:lnTo>
                    <a:lnTo>
                      <a:pt x="f238" y="f308"/>
                    </a:lnTo>
                    <a:lnTo>
                      <a:pt x="f309" y="f308"/>
                    </a:lnTo>
                    <a:lnTo>
                      <a:pt x="f234" y="f310"/>
                    </a:lnTo>
                    <a:lnTo>
                      <a:pt x="f311" y="f312"/>
                    </a:lnTo>
                    <a:lnTo>
                      <a:pt x="f313" y="f314"/>
                    </a:lnTo>
                    <a:lnTo>
                      <a:pt x="f315" y="f296"/>
                    </a:lnTo>
                    <a:lnTo>
                      <a:pt x="f229" y="f296"/>
                    </a:lnTo>
                    <a:lnTo>
                      <a:pt x="f316" y="f314"/>
                    </a:lnTo>
                    <a:lnTo>
                      <a:pt x="f317" y="f308"/>
                    </a:lnTo>
                    <a:lnTo>
                      <a:pt x="f318" y="f319"/>
                    </a:lnTo>
                    <a:lnTo>
                      <a:pt x="f320" y="f321"/>
                    </a:lnTo>
                    <a:lnTo>
                      <a:pt x="f322" y="f323"/>
                    </a:lnTo>
                    <a:lnTo>
                      <a:pt x="f324" y="f325"/>
                    </a:lnTo>
                    <a:lnTo>
                      <a:pt x="f326" y="f327"/>
                    </a:lnTo>
                    <a:lnTo>
                      <a:pt x="f328" y="f329"/>
                    </a:lnTo>
                    <a:lnTo>
                      <a:pt x="f330" y="f329"/>
                    </a:lnTo>
                    <a:lnTo>
                      <a:pt x="f331" y="f332"/>
                    </a:lnTo>
                    <a:lnTo>
                      <a:pt x="f333" y="f334"/>
                    </a:lnTo>
                    <a:lnTo>
                      <a:pt x="f335" y="f336"/>
                    </a:lnTo>
                    <a:lnTo>
                      <a:pt x="f337" y="f338"/>
                    </a:lnTo>
                    <a:lnTo>
                      <a:pt x="f331" y="f15"/>
                    </a:lnTo>
                    <a:lnTo>
                      <a:pt x="f339" y="f340"/>
                    </a:lnTo>
                    <a:lnTo>
                      <a:pt x="f341" y="f75"/>
                    </a:lnTo>
                    <a:lnTo>
                      <a:pt x="f342" y="f343"/>
                    </a:lnTo>
                    <a:lnTo>
                      <a:pt x="f328" y="f73"/>
                    </a:lnTo>
                    <a:lnTo>
                      <a:pt x="f344" y="f345"/>
                    </a:lnTo>
                    <a:lnTo>
                      <a:pt x="f346" y="f71"/>
                    </a:lnTo>
                    <a:lnTo>
                      <a:pt x="f324" y="f347"/>
                    </a:lnTo>
                    <a:lnTo>
                      <a:pt x="f348" y="f349"/>
                    </a:lnTo>
                    <a:lnTo>
                      <a:pt x="f350" y="f69"/>
                    </a:lnTo>
                    <a:lnTo>
                      <a:pt x="f351" y="f352"/>
                    </a:lnTo>
                    <a:lnTo>
                      <a:pt x="f353" y="f354"/>
                    </a:lnTo>
                    <a:lnTo>
                      <a:pt x="f322" y="f355"/>
                    </a:lnTo>
                    <a:lnTo>
                      <a:pt x="f318" y="f58"/>
                    </a:lnTo>
                    <a:lnTo>
                      <a:pt x="f317" y="f44"/>
                    </a:lnTo>
                    <a:lnTo>
                      <a:pt x="f317" y="f356"/>
                    </a:lnTo>
                    <a:lnTo>
                      <a:pt x="f317" y="f357"/>
                    </a:lnTo>
                    <a:lnTo>
                      <a:pt x="f8" y="f46"/>
                    </a:lnTo>
                    <a:lnTo>
                      <a:pt x="f320" y="f49"/>
                    </a:lnTo>
                    <a:lnTo>
                      <a:pt x="f348" y="f358"/>
                    </a:lnTo>
                    <a:lnTo>
                      <a:pt x="f226" y="f359"/>
                    </a:lnTo>
                    <a:lnTo>
                      <a:pt x="f322" y="f360"/>
                    </a:lnTo>
                    <a:lnTo>
                      <a:pt x="f361" y="f362"/>
                    </a:lnTo>
                    <a:lnTo>
                      <a:pt x="f363" y="f364"/>
                    </a:lnTo>
                    <a:lnTo>
                      <a:pt x="f365" y="f366"/>
                    </a:lnTo>
                    <a:lnTo>
                      <a:pt x="f367" y="f368"/>
                    </a:lnTo>
                    <a:lnTo>
                      <a:pt x="f369" y="f370"/>
                    </a:lnTo>
                    <a:lnTo>
                      <a:pt x="f369" y="f371"/>
                    </a:lnTo>
                    <a:lnTo>
                      <a:pt x="f372" y="f373"/>
                    </a:lnTo>
                    <a:lnTo>
                      <a:pt x="f229" y="f374"/>
                    </a:lnTo>
                    <a:lnTo>
                      <a:pt x="f375" y="f101"/>
                    </a:lnTo>
                    <a:lnTo>
                      <a:pt x="f376" y="f101"/>
                    </a:lnTo>
                    <a:lnTo>
                      <a:pt x="f317" y="f377"/>
                    </a:lnTo>
                    <a:lnTo>
                      <a:pt x="f378" y="f379"/>
                    </a:lnTo>
                    <a:lnTo>
                      <a:pt x="f317" y="f380"/>
                    </a:lnTo>
                    <a:lnTo>
                      <a:pt x="f381" y="f382"/>
                    </a:lnTo>
                    <a:lnTo>
                      <a:pt x="f376" y="f383"/>
                    </a:lnTo>
                    <a:lnTo>
                      <a:pt x="f375" y="f384"/>
                    </a:lnTo>
                    <a:lnTo>
                      <a:pt x="f375" y="f385"/>
                    </a:lnTo>
                    <a:lnTo>
                      <a:pt x="f386" y="f387"/>
                    </a:lnTo>
                    <a:lnTo>
                      <a:pt x="f372" y="f388"/>
                    </a:lnTo>
                    <a:lnTo>
                      <a:pt x="f230" y="f389"/>
                    </a:lnTo>
                    <a:lnTo>
                      <a:pt x="f369" y="f390"/>
                    </a:lnTo>
                    <a:lnTo>
                      <a:pt x="f229" y="f391"/>
                    </a:lnTo>
                    <a:lnTo>
                      <a:pt x="f367" y="f392"/>
                    </a:lnTo>
                    <a:lnTo>
                      <a:pt x="f393" y="f394"/>
                    </a:lnTo>
                    <a:lnTo>
                      <a:pt x="f393" y="f130"/>
                    </a:lnTo>
                    <a:lnTo>
                      <a:pt x="f367" y="f395"/>
                    </a:lnTo>
                    <a:lnTo>
                      <a:pt x="f365" y="f132"/>
                    </a:lnTo>
                    <a:lnTo>
                      <a:pt x="f320" y="f396"/>
                    </a:lnTo>
                    <a:lnTo>
                      <a:pt x="f348" y="f397"/>
                    </a:lnTo>
                    <a:lnTo>
                      <a:pt x="f348" y="f398"/>
                    </a:lnTo>
                    <a:lnTo>
                      <a:pt x="f351" y="f399"/>
                    </a:lnTo>
                    <a:lnTo>
                      <a:pt x="f320" y="f400"/>
                    </a:lnTo>
                    <a:lnTo>
                      <a:pt x="f361" y="f401"/>
                    </a:lnTo>
                    <a:lnTo>
                      <a:pt x="f350" y="f402"/>
                    </a:lnTo>
                    <a:lnTo>
                      <a:pt x="f403" y="f404"/>
                    </a:lnTo>
                    <a:lnTo>
                      <a:pt x="f405" y="f406"/>
                    </a:lnTo>
                    <a:lnTo>
                      <a:pt x="f407" y="f138"/>
                    </a:lnTo>
                    <a:lnTo>
                      <a:pt x="f216" y="f408"/>
                    </a:lnTo>
                    <a:lnTo>
                      <a:pt x="f409" y="f410"/>
                    </a:lnTo>
                    <a:lnTo>
                      <a:pt x="f411" y="f412"/>
                    </a:lnTo>
                    <a:lnTo>
                      <a:pt x="f413" y="f414"/>
                    </a:lnTo>
                    <a:lnTo>
                      <a:pt x="f199" y="f415"/>
                    </a:lnTo>
                    <a:lnTo>
                      <a:pt x="f416" y="f417"/>
                    </a:lnTo>
                    <a:lnTo>
                      <a:pt x="f418" y="f419"/>
                    </a:lnTo>
                    <a:lnTo>
                      <a:pt x="f196" y="f420"/>
                    </a:lnTo>
                    <a:lnTo>
                      <a:pt x="f421" y="f422"/>
                    </a:lnTo>
                    <a:lnTo>
                      <a:pt x="f423" y="f424"/>
                    </a:lnTo>
                    <a:lnTo>
                      <a:pt x="f425" y="f154"/>
                    </a:lnTo>
                    <a:lnTo>
                      <a:pt x="f426" y="f427"/>
                    </a:lnTo>
                    <a:lnTo>
                      <a:pt x="f428" y="f429"/>
                    </a:lnTo>
                    <a:lnTo>
                      <a:pt x="f430" y="f431"/>
                    </a:lnTo>
                    <a:lnTo>
                      <a:pt x="f432" y="f433"/>
                    </a:lnTo>
                    <a:lnTo>
                      <a:pt x="f434" y="f435"/>
                    </a:lnTo>
                    <a:lnTo>
                      <a:pt x="f436" y="f437"/>
                    </a:lnTo>
                    <a:lnTo>
                      <a:pt x="f438" y="f439"/>
                    </a:lnTo>
                    <a:lnTo>
                      <a:pt x="f196" y="f440"/>
                    </a:lnTo>
                    <a:lnTo>
                      <a:pt x="f441" y="f442"/>
                    </a:lnTo>
                    <a:lnTo>
                      <a:pt x="f432" y="f443"/>
                    </a:lnTo>
                    <a:lnTo>
                      <a:pt x="f199" y="f444"/>
                    </a:lnTo>
                    <a:lnTo>
                      <a:pt x="f445" y="f446"/>
                    </a:lnTo>
                    <a:lnTo>
                      <a:pt x="f413" y="f447"/>
                    </a:lnTo>
                    <a:lnTo>
                      <a:pt x="f200" y="f448"/>
                    </a:lnTo>
                    <a:lnTo>
                      <a:pt x="f413" y="f448"/>
                    </a:lnTo>
                    <a:lnTo>
                      <a:pt x="f199" y="f449"/>
                    </a:lnTo>
                    <a:lnTo>
                      <a:pt x="f450" y="f451"/>
                    </a:lnTo>
                    <a:lnTo>
                      <a:pt x="f452" y="f453"/>
                    </a:lnTo>
                    <a:lnTo>
                      <a:pt x="f454" y="f455"/>
                    </a:lnTo>
                    <a:lnTo>
                      <a:pt x="f456" y="f457"/>
                    </a:lnTo>
                    <a:lnTo>
                      <a:pt x="f454" y="f458"/>
                    </a:lnTo>
                    <a:lnTo>
                      <a:pt x="f459" y="f460"/>
                    </a:lnTo>
                    <a:lnTo>
                      <a:pt x="f461" y="f460"/>
                    </a:lnTo>
                    <a:lnTo>
                      <a:pt x="f438" y="f462"/>
                    </a:lnTo>
                    <a:lnTo>
                      <a:pt x="f463" y="f464"/>
                    </a:lnTo>
                    <a:lnTo>
                      <a:pt x="f462" y="f465"/>
                    </a:lnTo>
                    <a:lnTo>
                      <a:pt x="f466" y="f462"/>
                    </a:lnTo>
                    <a:lnTo>
                      <a:pt x="f467" y="f468"/>
                    </a:lnTo>
                    <a:lnTo>
                      <a:pt x="f451" y="f466"/>
                    </a:lnTo>
                    <a:lnTo>
                      <a:pt x="f187" y="f469"/>
                    </a:lnTo>
                    <a:lnTo>
                      <a:pt x="f470" y="f466"/>
                    </a:lnTo>
                    <a:lnTo>
                      <a:pt x="f471" y="f460"/>
                    </a:lnTo>
                    <a:lnTo>
                      <a:pt x="f184" y="f463"/>
                    </a:lnTo>
                    <a:lnTo>
                      <a:pt x="f472" y="f196"/>
                    </a:lnTo>
                    <a:lnTo>
                      <a:pt x="f473" y="f425"/>
                    </a:lnTo>
                    <a:lnTo>
                      <a:pt x="f444" y="f450"/>
                    </a:lnTo>
                    <a:lnTo>
                      <a:pt x="f474" y="f454"/>
                    </a:lnTo>
                    <a:lnTo>
                      <a:pt x="f475" y="f454"/>
                    </a:lnTo>
                    <a:lnTo>
                      <a:pt x="f440" y="f445"/>
                    </a:lnTo>
                    <a:lnTo>
                      <a:pt x="f476" y="f477"/>
                    </a:lnTo>
                    <a:lnTo>
                      <a:pt x="f478" y="f479"/>
                    </a:lnTo>
                    <a:lnTo>
                      <a:pt x="f480" y="f481"/>
                    </a:lnTo>
                    <a:lnTo>
                      <a:pt x="f482" y="f483"/>
                    </a:lnTo>
                    <a:lnTo>
                      <a:pt x="f484" y="f335"/>
                    </a:lnTo>
                    <a:lnTo>
                      <a:pt x="f485" y="f335"/>
                    </a:lnTo>
                    <a:lnTo>
                      <a:pt x="f486" y="f333"/>
                    </a:lnTo>
                    <a:lnTo>
                      <a:pt x="f487" y="f216"/>
                    </a:lnTo>
                    <a:lnTo>
                      <a:pt x="f488" y="f218"/>
                    </a:lnTo>
                    <a:lnTo>
                      <a:pt x="f489" y="f490"/>
                    </a:lnTo>
                    <a:lnTo>
                      <a:pt x="f491" y="f492"/>
                    </a:lnTo>
                    <a:lnTo>
                      <a:pt x="f493" y="f494"/>
                    </a:lnTo>
                    <a:lnTo>
                      <a:pt x="f495" y="f216"/>
                    </a:lnTo>
                    <a:lnTo>
                      <a:pt x="f496" y="f333"/>
                    </a:lnTo>
                    <a:lnTo>
                      <a:pt x="f497" y="f333"/>
                    </a:lnTo>
                    <a:lnTo>
                      <a:pt x="f152" y="f337"/>
                    </a:lnTo>
                    <a:lnTo>
                      <a:pt x="f498" y="f331"/>
                    </a:lnTo>
                    <a:lnTo>
                      <a:pt x="f498" y="f218"/>
                    </a:lnTo>
                    <a:lnTo>
                      <a:pt x="f499" y="f500"/>
                    </a:lnTo>
                    <a:lnTo>
                      <a:pt x="f499" y="f330"/>
                    </a:lnTo>
                    <a:lnTo>
                      <a:pt x="f501" y="f490"/>
                    </a:lnTo>
                    <a:lnTo>
                      <a:pt x="f502" y="f339"/>
                    </a:lnTo>
                    <a:lnTo>
                      <a:pt x="f503" y="f339"/>
                    </a:lnTo>
                    <a:lnTo>
                      <a:pt x="f148" y="f220"/>
                    </a:lnTo>
                    <a:lnTo>
                      <a:pt x="f504" y="f490"/>
                    </a:lnTo>
                    <a:lnTo>
                      <a:pt x="f420" y="f330"/>
                    </a:lnTo>
                    <a:lnTo>
                      <a:pt x="f505" y="f500"/>
                    </a:lnTo>
                    <a:lnTo>
                      <a:pt x="f144" y="f492"/>
                    </a:lnTo>
                    <a:lnTo>
                      <a:pt x="f506" y="f492"/>
                    </a:lnTo>
                    <a:lnTo>
                      <a:pt x="f507" y="f330"/>
                    </a:lnTo>
                    <a:lnTo>
                      <a:pt x="f410" y="f508"/>
                    </a:lnTo>
                    <a:lnTo>
                      <a:pt x="f509" y="f510"/>
                    </a:lnTo>
                    <a:lnTo>
                      <a:pt x="f401" y="f511"/>
                    </a:lnTo>
                    <a:lnTo>
                      <a:pt x="f401" y="f328"/>
                    </a:lnTo>
                    <a:lnTo>
                      <a:pt x="f402" y="f224"/>
                    </a:lnTo>
                    <a:lnTo>
                      <a:pt x="f408" y="f346"/>
                    </a:lnTo>
                    <a:lnTo>
                      <a:pt x="f412" y="f512"/>
                    </a:lnTo>
                    <a:lnTo>
                      <a:pt x="f513" y="f514"/>
                    </a:lnTo>
                    <a:lnTo>
                      <a:pt x="f415" y="f515"/>
                    </a:lnTo>
                    <a:lnTo>
                      <a:pt x="f142" y="f324"/>
                    </a:lnTo>
                    <a:lnTo>
                      <a:pt x="f415" y="f516"/>
                    </a:lnTo>
                    <a:lnTo>
                      <a:pt x="f507" y="f353"/>
                    </a:lnTo>
                    <a:lnTo>
                      <a:pt x="f513" y="f348"/>
                    </a:lnTo>
                    <a:lnTo>
                      <a:pt x="f140" y="f517"/>
                    </a:lnTo>
                    <a:lnTo>
                      <a:pt x="f518" y="f320"/>
                    </a:lnTo>
                    <a:lnTo>
                      <a:pt x="f410" y="f318"/>
                    </a:lnTo>
                    <a:lnTo>
                      <a:pt x="f138" y="f8"/>
                    </a:lnTo>
                    <a:lnTo>
                      <a:pt x="f509" y="f8"/>
                    </a:lnTo>
                    <a:lnTo>
                      <a:pt x="f519" y="f361"/>
                    </a:lnTo>
                    <a:lnTo>
                      <a:pt x="f520" y="f322"/>
                    </a:lnTo>
                    <a:lnTo>
                      <a:pt x="f521" y="f324"/>
                    </a:lnTo>
                    <a:lnTo>
                      <a:pt x="f522" y="f523"/>
                    </a:lnTo>
                    <a:lnTo>
                      <a:pt x="f130" y="f326"/>
                    </a:lnTo>
                    <a:lnTo>
                      <a:pt x="f128" y="f224"/>
                    </a:lnTo>
                    <a:lnTo>
                      <a:pt x="f524" y="f328"/>
                    </a:lnTo>
                    <a:lnTo>
                      <a:pt x="f525" y="f526"/>
                    </a:lnTo>
                    <a:lnTo>
                      <a:pt x="f527" y="f342"/>
                    </a:lnTo>
                    <a:lnTo>
                      <a:pt x="f126" y="f342"/>
                    </a:lnTo>
                    <a:lnTo>
                      <a:pt x="f528" y="f222"/>
                    </a:lnTo>
                    <a:lnTo>
                      <a:pt x="f128" y="f511"/>
                    </a:lnTo>
                    <a:lnTo>
                      <a:pt x="f529" y="f341"/>
                    </a:lnTo>
                    <a:lnTo>
                      <a:pt x="f529" y="f508"/>
                    </a:lnTo>
                    <a:lnTo>
                      <a:pt x="f530" y="f531"/>
                    </a:lnTo>
                    <a:lnTo>
                      <a:pt x="f130" y="f532"/>
                    </a:lnTo>
                    <a:lnTo>
                      <a:pt x="f533" y="f500"/>
                    </a:lnTo>
                    <a:lnTo>
                      <a:pt x="f534" y="f500"/>
                    </a:lnTo>
                    <a:lnTo>
                      <a:pt x="f535" y="f218"/>
                    </a:lnTo>
                    <a:lnTo>
                      <a:pt x="f536" y="f216"/>
                    </a:lnTo>
                    <a:lnTo>
                      <a:pt x="f536" y="f481"/>
                    </a:lnTo>
                    <a:lnTo>
                      <a:pt x="f537" y="f202"/>
                    </a:lnTo>
                    <a:lnTo>
                      <a:pt x="f522" y="f538"/>
                    </a:lnTo>
                    <a:lnTo>
                      <a:pt x="f533" y="f430"/>
                    </a:lnTo>
                    <a:lnTo>
                      <a:pt x="f533" y="f423"/>
                    </a:lnTo>
                    <a:lnTo>
                      <a:pt x="f522" y="f438"/>
                    </a:lnTo>
                    <a:lnTo>
                      <a:pt x="f132" y="f539"/>
                    </a:lnTo>
                    <a:lnTo>
                      <a:pt x="f537" y="f540"/>
                    </a:lnTo>
                    <a:lnTo>
                      <a:pt x="f536" y="f462"/>
                    </a:lnTo>
                    <a:lnTo>
                      <a:pt x="f541" y="f460"/>
                    </a:lnTo>
                    <a:lnTo>
                      <a:pt x="f396" y="f542"/>
                    </a:lnTo>
                    <a:lnTo>
                      <a:pt x="f543" y="f460"/>
                    </a:lnTo>
                    <a:lnTo>
                      <a:pt x="f544" y="f462"/>
                    </a:lnTo>
                    <a:lnTo>
                      <a:pt x="f397" y="f192"/>
                    </a:lnTo>
                    <a:lnTo>
                      <a:pt x="f545" y="f192"/>
                    </a:lnTo>
                    <a:lnTo>
                      <a:pt x="f546" y="f464"/>
                    </a:lnTo>
                    <a:lnTo>
                      <a:pt x="f398" y="f192"/>
                    </a:lnTo>
                    <a:lnTo>
                      <a:pt x="f520" y="f460"/>
                    </a:lnTo>
                    <a:lnTo>
                      <a:pt x="f520" y="f466"/>
                    </a:lnTo>
                    <a:lnTo>
                      <a:pt x="f545" y="f547"/>
                    </a:lnTo>
                    <a:lnTo>
                      <a:pt x="f521" y="f548"/>
                    </a:lnTo>
                    <a:lnTo>
                      <a:pt x="f522" y="f449"/>
                    </a:lnTo>
                    <a:lnTo>
                      <a:pt x="f549" y="f448"/>
                    </a:lnTo>
                    <a:lnTo>
                      <a:pt x="f126" y="f550"/>
                    </a:lnTo>
                    <a:lnTo>
                      <a:pt x="f124" y="f449"/>
                    </a:lnTo>
                    <a:lnTo>
                      <a:pt x="f525" y="f449"/>
                    </a:lnTo>
                    <a:lnTo>
                      <a:pt x="f122" y="f448"/>
                    </a:lnTo>
                    <a:lnTo>
                      <a:pt x="f122" y="f551"/>
                    </a:lnTo>
                    <a:lnTo>
                      <a:pt x="f122" y="f552"/>
                    </a:lnTo>
                    <a:lnTo>
                      <a:pt x="f122" y="f553"/>
                    </a:lnTo>
                    <a:lnTo>
                      <a:pt x="f122" y="f554"/>
                    </a:lnTo>
                    <a:lnTo>
                      <a:pt x="f555" y="f554"/>
                    </a:lnTo>
                    <a:lnTo>
                      <a:pt x="f556" y="f557"/>
                    </a:lnTo>
                    <a:lnTo>
                      <a:pt x="f108" y="f558"/>
                    </a:lnTo>
                    <a:lnTo>
                      <a:pt x="f108" y="f473"/>
                    </a:lnTo>
                    <a:lnTo>
                      <a:pt x="f388" y="f559"/>
                    </a:lnTo>
                    <a:lnTo>
                      <a:pt x="f560" y="f561"/>
                    </a:lnTo>
                    <a:lnTo>
                      <a:pt x="f562" y="f563"/>
                    </a:lnTo>
                    <a:lnTo>
                      <a:pt x="f114" y="f564"/>
                    </a:lnTo>
                    <a:lnTo>
                      <a:pt x="f565" y="f566"/>
                    </a:lnTo>
                    <a:lnTo>
                      <a:pt x="f391" y="f567"/>
                    </a:lnTo>
                    <a:lnTo>
                      <a:pt x="f391" y="f167"/>
                    </a:lnTo>
                    <a:lnTo>
                      <a:pt x="f568" y="f569"/>
                    </a:lnTo>
                    <a:lnTo>
                      <a:pt x="f568" y="f570"/>
                    </a:lnTo>
                    <a:lnTo>
                      <a:pt x="f571" y="f572"/>
                    </a:lnTo>
                    <a:lnTo>
                      <a:pt x="f568" y="f159"/>
                    </a:lnTo>
                    <a:lnTo>
                      <a:pt x="f573" y="f574"/>
                    </a:lnTo>
                    <a:lnTo>
                      <a:pt x="f387" y="f574"/>
                    </a:lnTo>
                    <a:lnTo>
                      <a:pt x="f575" y="f576"/>
                    </a:lnTo>
                    <a:lnTo>
                      <a:pt x="f385" y="f433"/>
                    </a:lnTo>
                    <a:lnTo>
                      <a:pt x="f385" y="f431"/>
                    </a:lnTo>
                    <a:lnTo>
                      <a:pt x="f106" y="f577"/>
                    </a:lnTo>
                    <a:lnTo>
                      <a:pt x="f578" y="f579"/>
                    </a:lnTo>
                    <a:lnTo>
                      <a:pt x="f103" y="f427"/>
                    </a:lnTo>
                    <a:lnTo>
                      <a:pt x="f580" y="f489"/>
                    </a:lnTo>
                    <a:lnTo>
                      <a:pt x="f581" y="f493"/>
                    </a:lnTo>
                    <a:lnTo>
                      <a:pt x="f582" y="f583"/>
                    </a:lnTo>
                    <a:lnTo>
                      <a:pt x="f382" y="f584"/>
                    </a:lnTo>
                    <a:lnTo>
                      <a:pt x="f103" y="f499"/>
                    </a:lnTo>
                    <a:lnTo>
                      <a:pt x="f382" y="f502"/>
                    </a:lnTo>
                    <a:lnTo>
                      <a:pt x="f585" y="f503"/>
                    </a:lnTo>
                    <a:lnTo>
                      <a:pt x="f586" y="f150"/>
                    </a:lnTo>
                    <a:lnTo>
                      <a:pt x="f587" y="f501"/>
                    </a:lnTo>
                    <a:lnTo>
                      <a:pt x="f588" y="f150"/>
                    </a:lnTo>
                    <a:lnTo>
                      <a:pt x="f589" y="f590"/>
                    </a:lnTo>
                    <a:lnTo>
                      <a:pt x="f591" y="f146"/>
                    </a:lnTo>
                    <a:lnTo>
                      <a:pt x="f588" y="f144"/>
                    </a:lnTo>
                    <a:lnTo>
                      <a:pt x="f592" y="f142"/>
                    </a:lnTo>
                    <a:lnTo>
                      <a:pt x="f592" y="f140"/>
                    </a:lnTo>
                    <a:lnTo>
                      <a:pt x="f368" y="f138"/>
                    </a:lnTo>
                    <a:lnTo>
                      <a:pt x="f588" y="f136"/>
                    </a:lnTo>
                    <a:lnTo>
                      <a:pt x="f592" y="f593"/>
                    </a:lnTo>
                    <a:lnTo>
                      <a:pt x="f368" y="f546"/>
                    </a:lnTo>
                    <a:lnTo>
                      <a:pt x="f366" y="f396"/>
                    </a:lnTo>
                    <a:lnTo>
                      <a:pt x="f364" y="f537"/>
                    </a:lnTo>
                    <a:lnTo>
                      <a:pt x="f594" y="f522"/>
                    </a:lnTo>
                    <a:lnTo>
                      <a:pt x="f595" y="f395"/>
                    </a:lnTo>
                    <a:lnTo>
                      <a:pt x="f596" y="f533"/>
                    </a:lnTo>
                    <a:lnTo>
                      <a:pt x="f597" y="f598"/>
                    </a:lnTo>
                    <a:lnTo>
                      <a:pt x="f94" y="f598"/>
                    </a:lnTo>
                    <a:lnTo>
                      <a:pt x="f55" y="f599"/>
                    </a:lnTo>
                    <a:lnTo>
                      <a:pt x="f357" y="f600"/>
                    </a:lnTo>
                    <a:lnTo>
                      <a:pt x="f357" y="f528"/>
                    </a:lnTo>
                    <a:lnTo>
                      <a:pt x="f46" y="f601"/>
                    </a:lnTo>
                    <a:lnTo>
                      <a:pt x="f46" y="f602"/>
                    </a:lnTo>
                    <a:lnTo>
                      <a:pt x="f55" y="f555"/>
                    </a:lnTo>
                    <a:lnTo>
                      <a:pt x="f94" y="f603"/>
                    </a:lnTo>
                    <a:lnTo>
                      <a:pt x="f95" y="f604"/>
                    </a:lnTo>
                    <a:lnTo>
                      <a:pt x="f605" y="f568"/>
                    </a:lnTo>
                    <a:lnTo>
                      <a:pt x="f605" y="f573"/>
                    </a:lnTo>
                    <a:lnTo>
                      <a:pt x="f359" y="f112"/>
                    </a:lnTo>
                    <a:lnTo>
                      <a:pt x="f606" y="f110"/>
                    </a:lnTo>
                    <a:lnTo>
                      <a:pt x="f607" y="f108"/>
                    </a:lnTo>
                    <a:lnTo>
                      <a:pt x="f49" y="f608"/>
                    </a:lnTo>
                    <a:lnTo>
                      <a:pt x="f47" y="f609"/>
                    </a:lnTo>
                    <a:lnTo>
                      <a:pt x="f47" y="f581"/>
                    </a:lnTo>
                    <a:lnTo>
                      <a:pt x="f49" y="f585"/>
                    </a:lnTo>
                    <a:lnTo>
                      <a:pt x="f610" y="f611"/>
                    </a:lnTo>
                    <a:lnTo>
                      <a:pt x="f612" y="f379"/>
                    </a:lnTo>
                    <a:lnTo>
                      <a:pt x="f613" y="f377"/>
                    </a:lnTo>
                    <a:lnTo>
                      <a:pt x="f614" y="f373"/>
                    </a:lnTo>
                    <a:lnTo>
                      <a:pt x="f615" y="f616"/>
                    </a:lnTo>
                    <a:lnTo>
                      <a:pt x="f617" y="f618"/>
                    </a:lnTo>
                    <a:lnTo>
                      <a:pt x="f594" y="f594"/>
                    </a:lnTo>
                    <a:lnTo>
                      <a:pt x="f619" y="f360"/>
                    </a:lnTo>
                    <a:lnTo>
                      <a:pt x="f619" y="f597"/>
                    </a:lnTo>
                    <a:lnTo>
                      <a:pt x="f594" y="f620"/>
                    </a:lnTo>
                    <a:lnTo>
                      <a:pt x="f362" y="f55"/>
                    </a:lnTo>
                    <a:lnTo>
                      <a:pt x="f596" y="f46"/>
                    </a:lnTo>
                    <a:lnTo>
                      <a:pt x="f605" y="f94"/>
                    </a:lnTo>
                    <a:lnTo>
                      <a:pt x="f621" y="f621"/>
                    </a:lnTo>
                    <a:lnTo>
                      <a:pt x="f94" y="f613"/>
                    </a:lnTo>
                    <a:lnTo>
                      <a:pt x="f46" y="f622"/>
                    </a:lnTo>
                    <a:lnTo>
                      <a:pt x="f57" y="f98"/>
                    </a:lnTo>
                    <a:lnTo>
                      <a:pt x="f58" y="f364"/>
                    </a:lnTo>
                    <a:lnTo>
                      <a:pt x="f623" y="f624"/>
                    </a:lnTo>
                    <a:lnTo>
                      <a:pt x="f354" y="f625"/>
                    </a:lnTo>
                    <a:lnTo>
                      <a:pt x="f626" y="f618"/>
                    </a:lnTo>
                    <a:lnTo>
                      <a:pt x="f627" y="f618"/>
                    </a:lnTo>
                    <a:lnTo>
                      <a:pt x="f628" y="f625"/>
                    </a:lnTo>
                    <a:lnTo>
                      <a:pt x="f629" y="f630"/>
                    </a:lnTo>
                    <a:lnTo>
                      <a:pt x="f631" y="f622"/>
                    </a:lnTo>
                    <a:lnTo>
                      <a:pt x="f632" y="f613"/>
                    </a:lnTo>
                    <a:lnTo>
                      <a:pt x="f27" y="f621"/>
                    </a:lnTo>
                    <a:lnTo>
                      <a:pt x="f27" y="f94"/>
                    </a:lnTo>
                    <a:lnTo>
                      <a:pt x="f75" y="f357"/>
                    </a:lnTo>
                    <a:lnTo>
                      <a:pt x="f633" y="f634"/>
                    </a:lnTo>
                    <a:lnTo>
                      <a:pt x="f635" y="f636"/>
                    </a:lnTo>
                    <a:lnTo>
                      <a:pt x="f637" y="f92"/>
                    </a:lnTo>
                    <a:lnTo>
                      <a:pt x="f638" y="f634"/>
                    </a:lnTo>
                    <a:lnTo>
                      <a:pt x="f639" y="f44"/>
                    </a:lnTo>
                    <a:lnTo>
                      <a:pt x="f640" y="f57"/>
                    </a:lnTo>
                    <a:lnTo>
                      <a:pt x="f641" y="f356"/>
                    </a:lnTo>
                    <a:lnTo>
                      <a:pt x="f336" y="f642"/>
                    </a:lnTo>
                    <a:lnTo>
                      <a:pt x="f643" y="f55"/>
                    </a:lnTo>
                    <a:lnTo>
                      <a:pt x="f644" y="f620"/>
                    </a:lnTo>
                    <a:lnTo>
                      <a:pt x="f643" y="f621"/>
                    </a:lnTo>
                    <a:lnTo>
                      <a:pt x="f643" y="f95"/>
                    </a:lnTo>
                    <a:lnTo>
                      <a:pt x="f644" y="f645"/>
                    </a:lnTo>
                    <a:lnTo>
                      <a:pt x="f646" y="f596"/>
                    </a:lnTo>
                    <a:lnTo>
                      <a:pt x="f647" y="f360"/>
                    </a:lnTo>
                    <a:lnTo>
                      <a:pt x="f648" y="f645"/>
                    </a:lnTo>
                    <a:lnTo>
                      <a:pt x="f649" y="f359"/>
                    </a:lnTo>
                    <a:lnTo>
                      <a:pt x="f650" y="f95"/>
                    </a:lnTo>
                    <a:lnTo>
                      <a:pt x="f651" y="f95"/>
                    </a:lnTo>
                    <a:lnTo>
                      <a:pt x="f307" y="f359"/>
                    </a:lnTo>
                    <a:lnTo>
                      <a:pt x="f308" y="f359"/>
                    </a:lnTo>
                    <a:lnTo>
                      <a:pt x="f310" y="f605"/>
                    </a:lnTo>
                    <a:lnTo>
                      <a:pt x="f310" y="f613"/>
                    </a:lnTo>
                    <a:lnTo>
                      <a:pt x="f312" y="f652"/>
                    </a:lnTo>
                    <a:lnTo>
                      <a:pt x="f312" y="f362"/>
                    </a:lnTo>
                    <a:lnTo>
                      <a:pt x="f308" y="f619"/>
                    </a:lnTo>
                    <a:lnTo>
                      <a:pt x="f650" y="f653"/>
                    </a:lnTo>
                    <a:lnTo>
                      <a:pt x="f323" y="f618"/>
                    </a:lnTo>
                    <a:lnTo>
                      <a:pt x="f654" y="f592"/>
                    </a:lnTo>
                    <a:lnTo>
                      <a:pt x="f334" y="f374"/>
                    </a:lnTo>
                    <a:lnTo>
                      <a:pt x="f655" y="f581"/>
                    </a:lnTo>
                    <a:lnTo>
                      <a:pt x="f656" y="f578"/>
                    </a:lnTo>
                    <a:lnTo>
                      <a:pt x="f643" y="f657"/>
                    </a:lnTo>
                    <a:lnTo>
                      <a:pt x="f334" y="f114"/>
                    </a:lnTo>
                    <a:lnTo>
                      <a:pt x="f658" y="f565"/>
                    </a:lnTo>
                    <a:lnTo>
                      <a:pt x="f655" y="f571"/>
                    </a:lnTo>
                    <a:lnTo>
                      <a:pt x="f659" y="f392"/>
                    </a:lnTo>
                    <a:lnTo>
                      <a:pt x="f660" y="f661"/>
                    </a:lnTo>
                    <a:lnTo>
                      <a:pt x="f662" y="f124"/>
                    </a:lnTo>
                    <a:lnTo>
                      <a:pt x="f643" y="f663"/>
                    </a:lnTo>
                    <a:lnTo>
                      <a:pt x="f329" y="f530"/>
                    </a:lnTo>
                    <a:lnTo>
                      <a:pt x="f664" y="f395"/>
                    </a:lnTo>
                    <a:lnTo>
                      <a:pt x="f303" y="f132"/>
                    </a:lnTo>
                    <a:lnTo>
                      <a:pt x="f649" y="f132"/>
                    </a:lnTo>
                    <a:lnTo>
                      <a:pt x="f650" y="f522"/>
                    </a:lnTo>
                    <a:lnTo>
                      <a:pt x="f308" y="f395"/>
                    </a:lnTo>
                    <a:lnTo>
                      <a:pt x="f294" y="f598"/>
                    </a:lnTo>
                    <a:lnTo>
                      <a:pt x="f665" y="f598"/>
                    </a:lnTo>
                    <a:lnTo>
                      <a:pt x="f666" y="f533"/>
                    </a:lnTo>
                    <a:lnTo>
                      <a:pt x="f667" y="f668"/>
                    </a:lnTo>
                    <a:lnTo>
                      <a:pt x="f669" y="f535"/>
                    </a:lnTo>
                    <a:lnTo>
                      <a:pt x="f670" y="f541"/>
                    </a:lnTo>
                    <a:lnTo>
                      <a:pt x="f285" y="f671"/>
                    </a:lnTo>
                    <a:lnTo>
                      <a:pt x="f672" y="f397"/>
                    </a:lnTo>
                    <a:lnTo>
                      <a:pt x="f37" y="f545"/>
                    </a:lnTo>
                    <a:lnTo>
                      <a:pt x="f267" y="f545"/>
                    </a:lnTo>
                    <a:lnTo>
                      <a:pt x="f50" y="f398"/>
                    </a:lnTo>
                    <a:lnTo>
                      <a:pt x="f673" y="f593"/>
                    </a:lnTo>
                    <a:lnTo>
                      <a:pt x="f674" y="f136"/>
                    </a:lnTo>
                    <a:lnTo>
                      <a:pt x="f675" y="f138"/>
                    </a:lnTo>
                    <a:lnTo>
                      <a:pt x="f252" y="f138"/>
                    </a:lnTo>
                    <a:lnTo>
                      <a:pt x="f65" y="f136"/>
                    </a:lnTo>
                    <a:lnTo>
                      <a:pt x="f68" y="f399"/>
                    </a:lnTo>
                    <a:lnTo>
                      <a:pt x="f59" y="f396"/>
                    </a:lnTo>
                    <a:lnTo>
                      <a:pt x="f59" y="f537"/>
                    </a:lnTo>
                    <a:lnTo>
                      <a:pt x="f68" y="f522"/>
                    </a:lnTo>
                    <a:lnTo>
                      <a:pt x="f24" y="f395"/>
                    </a:lnTo>
                    <a:lnTo>
                      <a:pt x="f248" y="f533"/>
                    </a:lnTo>
                    <a:lnTo>
                      <a:pt x="f51" y="f533"/>
                    </a:lnTo>
                    <a:lnTo>
                      <a:pt x="f673" y="f598"/>
                    </a:lnTo>
                    <a:lnTo>
                      <a:pt x="f673" y="f600"/>
                    </a:lnTo>
                    <a:lnTo>
                      <a:pt x="f51" y="f394"/>
                    </a:lnTo>
                    <a:lnTo>
                      <a:pt x="f51" y="f676"/>
                    </a:lnTo>
                    <a:lnTo>
                      <a:pt x="f677" y="f601"/>
                    </a:lnTo>
                    <a:lnTo>
                      <a:pt x="f673" y="f527"/>
                    </a:lnTo>
                    <a:lnTo>
                      <a:pt x="f673" y="f602"/>
                    </a:lnTo>
                    <a:lnTo>
                      <a:pt x="f258" y="f678"/>
                    </a:lnTo>
                    <a:lnTo>
                      <a:pt x="f252" y="f603"/>
                    </a:lnTo>
                    <a:lnTo>
                      <a:pt x="f56" y="f679"/>
                    </a:lnTo>
                    <a:lnTo>
                      <a:pt x="f61" y="f604"/>
                    </a:lnTo>
                    <a:lnTo>
                      <a:pt x="f61" y="f391"/>
                    </a:lnTo>
                    <a:lnTo>
                      <a:pt x="f22" y="f573"/>
                    </a:lnTo>
                    <a:lnTo>
                      <a:pt x="f63" y="f680"/>
                    </a:lnTo>
                    <a:lnTo>
                      <a:pt x="f56" y="f556"/>
                    </a:lnTo>
                    <a:lnTo>
                      <a:pt x="f65" y="f681"/>
                    </a:lnTo>
                    <a:lnTo>
                      <a:pt x="f240" y="f682"/>
                    </a:lnTo>
                    <a:lnTo>
                      <a:pt x="f252" y="f608"/>
                    </a:lnTo>
                    <a:lnTo>
                      <a:pt x="f252" y="f578"/>
                    </a:lnTo>
                    <a:lnTo>
                      <a:pt x="f250" y="f683"/>
                    </a:lnTo>
                    <a:lnTo>
                      <a:pt x="f53" y="f581"/>
                    </a:lnTo>
                    <a:lnTo>
                      <a:pt x="f250" y="f379"/>
                    </a:lnTo>
                    <a:lnTo>
                      <a:pt x="f54" y="f373"/>
                    </a:lnTo>
                    <a:lnTo>
                      <a:pt x="f22" y="f616"/>
                    </a:lnTo>
                    <a:lnTo>
                      <a:pt x="f684" y="f589"/>
                    </a:lnTo>
                    <a:lnTo>
                      <a:pt x="f16" y="f99"/>
                    </a:lnTo>
                    <a:lnTo>
                      <a:pt x="f685" y="f618"/>
                    </a:lnTo>
                    <a:lnTo>
                      <a:pt x="f686" y="f624"/>
                    </a:lnTo>
                    <a:lnTo>
                      <a:pt x="f687" y="f98"/>
                    </a:lnTo>
                    <a:lnTo>
                      <a:pt x="f688" y="f596"/>
                    </a:lnTo>
                    <a:lnTo>
                      <a:pt x="f217" y="f95"/>
                    </a:lnTo>
                    <a:lnTo>
                      <a:pt x="f689" y="f610"/>
                    </a:lnTo>
                    <a:lnTo>
                      <a:pt x="f690" y="f49"/>
                    </a:lnTo>
                    <a:lnTo>
                      <a:pt x="f206" y="f55"/>
                    </a:lnTo>
                    <a:lnTo>
                      <a:pt x="f691" y="f47"/>
                    </a:lnTo>
                    <a:lnTo>
                      <a:pt x="f203" y="f620"/>
                    </a:lnTo>
                    <a:lnTo>
                      <a:pt x="f692" y="f621"/>
                    </a:lnTo>
                    <a:lnTo>
                      <a:pt x="f203" y="f693"/>
                    </a:lnTo>
                    <a:lnTo>
                      <a:pt x="f691" y="f97"/>
                    </a:lnTo>
                    <a:lnTo>
                      <a:pt x="f694" y="f695"/>
                    </a:lnTo>
                    <a:lnTo>
                      <a:pt x="f696" y="f98"/>
                    </a:lnTo>
                    <a:lnTo>
                      <a:pt x="f195" y="f653"/>
                    </a:lnTo>
                    <a:lnTo>
                      <a:pt x="f697" y="f618"/>
                    </a:lnTo>
                    <a:lnTo>
                      <a:pt x="f698" y="f591"/>
                    </a:lnTo>
                    <a:lnTo>
                      <a:pt x="f151" y="f699"/>
                    </a:lnTo>
                    <a:lnTo>
                      <a:pt x="f700" y="f377"/>
                    </a:lnTo>
                    <a:lnTo>
                      <a:pt x="f701" y="f382"/>
                    </a:lnTo>
                    <a:lnTo>
                      <a:pt x="f702" y="f105"/>
                    </a:lnTo>
                    <a:lnTo>
                      <a:pt x="f703" y="f704"/>
                    </a:lnTo>
                    <a:lnTo>
                      <a:pt x="f141" y="f705"/>
                    </a:lnTo>
                    <a:lnTo>
                      <a:pt x="f137" y="f705"/>
                    </a:lnTo>
                    <a:lnTo>
                      <a:pt x="f706" y="f704"/>
                    </a:lnTo>
                    <a:lnTo>
                      <a:pt x="f129" y="f704"/>
                    </a:lnTo>
                    <a:lnTo>
                      <a:pt x="f707" y="f705"/>
                    </a:lnTo>
                    <a:lnTo>
                      <a:pt x="f125" y="f575"/>
                    </a:lnTo>
                    <a:lnTo>
                      <a:pt x="f708" y="f709"/>
                    </a:lnTo>
                    <a:lnTo>
                      <a:pt x="f123" y="f710"/>
                    </a:lnTo>
                    <a:lnTo>
                      <a:pt x="f711" y="f705"/>
                    </a:lnTo>
                    <a:lnTo>
                      <a:pt x="f712" y="f713"/>
                    </a:lnTo>
                    <a:lnTo>
                      <a:pt x="f712" y="f581"/>
                    </a:lnTo>
                    <a:lnTo>
                      <a:pt x="f711" y="f377"/>
                    </a:lnTo>
                    <a:lnTo>
                      <a:pt x="f714" y="f99"/>
                    </a:lnTo>
                    <a:lnTo>
                      <a:pt x="f715" y="f653"/>
                    </a:lnTo>
                    <a:lnTo>
                      <a:pt x="f716" y="f98"/>
                    </a:lnTo>
                    <a:lnTo>
                      <a:pt x="f708" y="f615"/>
                    </a:lnTo>
                    <a:lnTo>
                      <a:pt x="f123" y="f97"/>
                    </a:lnTo>
                    <a:lnTo>
                      <a:pt x="f717" y="f612"/>
                    </a:lnTo>
                    <a:lnTo>
                      <a:pt x="f718" y="f49"/>
                    </a:lnTo>
                    <a:lnTo>
                      <a:pt x="f718" y="f55"/>
                    </a:lnTo>
                    <a:lnTo>
                      <a:pt x="f719" y="f46"/>
                    </a:lnTo>
                    <a:lnTo>
                      <a:pt x="f720" y="f357"/>
                    </a:lnTo>
                    <a:lnTo>
                      <a:pt x="f721" y="f46"/>
                    </a:lnTo>
                    <a:lnTo>
                      <a:pt x="f722" y="f55"/>
                    </a:lnTo>
                    <a:lnTo>
                      <a:pt x="f115" y="f610"/>
                    </a:lnTo>
                    <a:lnTo>
                      <a:pt x="f118" y="f358"/>
                    </a:lnTo>
                    <a:lnTo>
                      <a:pt x="f723" y="f724"/>
                    </a:lnTo>
                    <a:lnTo>
                      <a:pt x="f725" y="f607"/>
                    </a:lnTo>
                    <a:lnTo>
                      <a:pt x="f726" y="f47"/>
                    </a:lnTo>
                    <a:lnTo>
                      <a:pt x="f107" y="f94"/>
                    </a:lnTo>
                    <a:lnTo>
                      <a:pt x="f91" y="f55"/>
                    </a:lnTo>
                    <a:lnTo>
                      <a:pt x="f84" y="f727"/>
                    </a:lnTo>
                    <a:lnTo>
                      <a:pt x="f728" y="f58"/>
                    </a:lnTo>
                    <a:lnTo>
                      <a:pt x="f729" y="f730"/>
                    </a:lnTo>
                    <a:lnTo>
                      <a:pt x="f6" y="f731"/>
                    </a:lnTo>
                    <a:lnTo>
                      <a:pt x="f82" y="f732"/>
                    </a:lnTo>
                    <a:lnTo>
                      <a:pt x="f733" y="f734"/>
                    </a:lnTo>
                    <a:lnTo>
                      <a:pt x="f102" y="f352"/>
                    </a:lnTo>
                    <a:lnTo>
                      <a:pt x="f84" y="f69"/>
                    </a:lnTo>
                    <a:lnTo>
                      <a:pt x="f735" y="f736"/>
                    </a:lnTo>
                    <a:lnTo>
                      <a:pt x="f87" y="f737"/>
                    </a:lnTo>
                    <a:lnTo>
                      <a:pt x="f738" y="f71"/>
                    </a:lnTo>
                    <a:lnTo>
                      <a:pt x="f104" y="f33"/>
                    </a:lnTo>
                    <a:lnTo>
                      <a:pt x="f102" y="f739"/>
                    </a:lnTo>
                    <a:lnTo>
                      <a:pt x="f102" y="f29"/>
                    </a:lnTo>
                    <a:lnTo>
                      <a:pt x="f740" y="f741"/>
                    </a:lnTo>
                    <a:lnTo>
                      <a:pt x="f85" y="f75"/>
                    </a:lnTo>
                    <a:lnTo>
                      <a:pt x="f742" y="f743"/>
                    </a:lnTo>
                    <a:lnTo>
                      <a:pt x="f744" y="f745"/>
                    </a:lnTo>
                    <a:lnTo>
                      <a:pt x="f746" y="f745"/>
                    </a:lnTo>
                    <a:lnTo>
                      <a:pt x="f747" y="f743"/>
                    </a:lnTo>
                    <a:lnTo>
                      <a:pt x="f748" y="f743"/>
                    </a:lnTo>
                    <a:lnTo>
                      <a:pt x="f749" y="f633"/>
                    </a:lnTo>
                    <a:lnTo>
                      <a:pt x="f750" y="f633"/>
                    </a:lnTo>
                    <a:lnTo>
                      <a:pt x="f117" y="f751"/>
                    </a:lnTo>
                    <a:lnTo>
                      <a:pt x="f722" y="f752"/>
                    </a:lnTo>
                    <a:lnTo>
                      <a:pt x="f721" y="f753"/>
                    </a:lnTo>
                    <a:lnTo>
                      <a:pt x="f720" y="f75"/>
                    </a:lnTo>
                    <a:lnTo>
                      <a:pt x="f718" y="f75"/>
                    </a:lnTo>
                    <a:lnTo>
                      <a:pt x="f754" y="f753"/>
                    </a:lnTo>
                    <a:lnTo>
                      <a:pt x="f717" y="f753"/>
                    </a:lnTo>
                    <a:lnTo>
                      <a:pt x="f755" y="f752"/>
                    </a:lnTo>
                    <a:lnTo>
                      <a:pt x="f756" y="f752"/>
                    </a:lnTo>
                    <a:lnTo>
                      <a:pt x="f714" y="f75"/>
                    </a:lnTo>
                    <a:lnTo>
                      <a:pt x="f757" y="f27"/>
                    </a:lnTo>
                    <a:lnTo>
                      <a:pt x="f715" y="f741"/>
                    </a:lnTo>
                    <a:lnTo>
                      <a:pt x="f716" y="f27"/>
                    </a:lnTo>
                    <a:lnTo>
                      <a:pt x="f758" y="f743"/>
                    </a:lnTo>
                    <a:lnTo>
                      <a:pt x="f759" y="f79"/>
                    </a:lnTo>
                    <a:lnTo>
                      <a:pt x="f760" y="f761"/>
                    </a:lnTo>
                    <a:lnTo>
                      <a:pt x="f762" y="f763"/>
                    </a:lnTo>
                    <a:lnTo>
                      <a:pt x="f764" y="f660"/>
                    </a:lnTo>
                    <a:lnTo>
                      <a:pt x="f765" y="f644"/>
                    </a:lnTo>
                    <a:lnTo>
                      <a:pt x="f766" y="f329"/>
                    </a:lnTo>
                    <a:lnTo>
                      <a:pt x="f767" y="f768"/>
                    </a:lnTo>
                    <a:lnTo>
                      <a:pt x="f769" y="f319"/>
                    </a:lnTo>
                    <a:lnTo>
                      <a:pt x="f770" y="f771"/>
                    </a:lnTo>
                    <a:lnTo>
                      <a:pt x="f772" y="f773"/>
                    </a:lnTo>
                    <a:lnTo>
                      <a:pt x="f774" y="f670"/>
                    </a:lnTo>
                    <a:lnTo>
                      <a:pt x="f775" y="f285"/>
                    </a:lnTo>
                    <a:lnTo>
                      <a:pt x="f776" y="f777"/>
                    </a:lnTo>
                    <a:lnTo>
                      <a:pt x="f778" y="f2"/>
                    </a:lnTo>
                    <a:lnTo>
                      <a:pt x="f137" y="f277"/>
                    </a:lnTo>
                    <a:lnTo>
                      <a:pt x="f137" y="f779"/>
                    </a:lnTo>
                    <a:lnTo>
                      <a:pt x="f778" y="f780"/>
                    </a:lnTo>
                    <a:lnTo>
                      <a:pt x="f781" y="f254"/>
                    </a:lnTo>
                    <a:lnTo>
                      <a:pt x="f781" y="f782"/>
                    </a:lnTo>
                    <a:lnTo>
                      <a:pt x="f783" y="f76"/>
                    </a:lnTo>
                    <a:lnTo>
                      <a:pt x="f784" y="f785"/>
                    </a:lnTo>
                    <a:lnTo>
                      <a:pt x="f786" y="f787"/>
                    </a:lnTo>
                    <a:lnTo>
                      <a:pt x="f788" y="f221"/>
                    </a:lnTo>
                    <a:lnTo>
                      <a:pt x="f783" y="f688"/>
                    </a:lnTo>
                    <a:lnTo>
                      <a:pt x="f784" y="f688"/>
                    </a:lnTo>
                    <a:lnTo>
                      <a:pt x="f789" y="f217"/>
                    </a:lnTo>
                    <a:lnTo>
                      <a:pt x="f790" y="f791"/>
                    </a:lnTo>
                    <a:lnTo>
                      <a:pt x="f792" y="f793"/>
                    </a:lnTo>
                    <a:lnTo>
                      <a:pt x="f792" y="f209"/>
                    </a:lnTo>
                    <a:lnTo>
                      <a:pt x="f794" y="f795"/>
                    </a:lnTo>
                    <a:lnTo>
                      <a:pt x="f794" y="f206"/>
                    </a:lnTo>
                    <a:lnTo>
                      <a:pt x="f796" y="f797"/>
                    </a:lnTo>
                    <a:lnTo>
                      <a:pt x="f798" y="f696"/>
                    </a:lnTo>
                    <a:lnTo>
                      <a:pt x="f796" y="f198"/>
                    </a:lnTo>
                    <a:lnTo>
                      <a:pt x="f790" y="f799"/>
                    </a:lnTo>
                    <a:lnTo>
                      <a:pt x="f139" y="f800"/>
                    </a:lnTo>
                    <a:lnTo>
                      <a:pt x="f801" y="f802"/>
                    </a:lnTo>
                    <a:lnTo>
                      <a:pt x="f803" y="f191"/>
                    </a:lnTo>
                    <a:lnTo>
                      <a:pt x="f804" y="f799"/>
                    </a:lnTo>
                    <a:lnTo>
                      <a:pt x="f805" y="f802"/>
                    </a:lnTo>
                    <a:lnTo>
                      <a:pt x="f765" y="f171"/>
                    </a:lnTo>
                    <a:lnTo>
                      <a:pt x="f760" y="f180"/>
                    </a:lnTo>
                    <a:lnTo>
                      <a:pt x="f759" y="f806"/>
                    </a:lnTo>
                    <a:lnTo>
                      <a:pt x="f759" y="f807"/>
                    </a:lnTo>
                    <a:lnTo>
                      <a:pt x="f808" y="f145"/>
                    </a:lnTo>
                    <a:lnTo>
                      <a:pt x="f764" y="f798"/>
                    </a:lnTo>
                    <a:lnTo>
                      <a:pt x="f127" y="f141"/>
                    </a:lnTo>
                    <a:lnTo>
                      <a:pt x="f767" y="f139"/>
                    </a:lnTo>
                    <a:lnTo>
                      <a:pt x="f769" y="f809"/>
                    </a:lnTo>
                    <a:lnTo>
                      <a:pt x="f810" y="f809"/>
                    </a:lnTo>
                    <a:lnTo>
                      <a:pt x="f811" y="f778"/>
                    </a:lnTo>
                    <a:lnTo>
                      <a:pt x="f812" y="f775"/>
                    </a:lnTo>
                    <a:lnTo>
                      <a:pt x="f774" y="f813"/>
                    </a:lnTo>
                    <a:lnTo>
                      <a:pt x="f814" y="f815"/>
                    </a:lnTo>
                    <a:lnTo>
                      <a:pt x="f706" y="f816"/>
                    </a:lnTo>
                    <a:lnTo>
                      <a:pt x="f770" y="f129"/>
                    </a:lnTo>
                    <a:lnTo>
                      <a:pt x="f706" y="f817"/>
                    </a:lnTo>
                    <a:lnTo>
                      <a:pt x="f810" y="f765"/>
                    </a:lnTo>
                    <a:lnTo>
                      <a:pt x="f781" y="f758"/>
                    </a:lnTo>
                    <a:lnTo>
                      <a:pt x="f789" y="f818"/>
                    </a:lnTo>
                    <a:lnTo>
                      <a:pt x="f819" y="f712"/>
                    </a:lnTo>
                    <a:lnTo>
                      <a:pt x="f820" y="f718"/>
                    </a:lnTo>
                    <a:lnTo>
                      <a:pt x="f821" y="f720"/>
                    </a:lnTo>
                    <a:lnTo>
                      <a:pt x="f164" y="f822"/>
                    </a:lnTo>
                    <a:lnTo>
                      <a:pt x="f180" y="f822"/>
                    </a:lnTo>
                    <a:lnTo>
                      <a:pt x="f175" y="f823"/>
                    </a:lnTo>
                    <a:lnTo>
                      <a:pt x="f824" y="f825"/>
                    </a:lnTo>
                    <a:lnTo>
                      <a:pt x="f795" y="f754"/>
                    </a:lnTo>
                    <a:lnTo>
                      <a:pt x="f826" y="f721"/>
                    </a:lnTo>
                    <a:lnTo>
                      <a:pt x="f827" y="f121"/>
                    </a:lnTo>
                    <a:lnTo>
                      <a:pt x="f80" y="f722"/>
                    </a:lnTo>
                    <a:lnTo>
                      <a:pt x="f72" y="f121"/>
                    </a:lnTo>
                    <a:lnTo>
                      <a:pt x="f68" y="f722"/>
                    </a:lnTo>
                    <a:lnTo>
                      <a:pt x="f252" y="f828"/>
                    </a:lnTo>
                    <a:lnTo>
                      <a:pt x="f829" y="f830"/>
                    </a:lnTo>
                    <a:lnTo>
                      <a:pt x="f779" y="f831"/>
                    </a:lnTo>
                    <a:lnTo>
                      <a:pt x="f832" y="f830"/>
                    </a:lnTo>
                    <a:lnTo>
                      <a:pt x="f833" y="f828"/>
                    </a:lnTo>
                    <a:lnTo>
                      <a:pt x="f34" y="f121"/>
                    </a:lnTo>
                    <a:lnTo>
                      <a:pt x="f273" y="f825"/>
                    </a:lnTo>
                    <a:lnTo>
                      <a:pt x="f275" y="f757"/>
                    </a:lnTo>
                    <a:lnTo>
                      <a:pt x="f39" y="f764"/>
                    </a:lnTo>
                    <a:lnTo>
                      <a:pt x="f834" y="f129"/>
                    </a:lnTo>
                    <a:lnTo>
                      <a:pt x="f777" y="f835"/>
                    </a:lnTo>
                    <a:lnTo>
                      <a:pt x="f836" y="f774"/>
                    </a:lnTo>
                    <a:lnTo>
                      <a:pt x="f837" y="f811"/>
                    </a:lnTo>
                    <a:lnTo>
                      <a:pt x="f670" y="f775"/>
                    </a:lnTo>
                    <a:lnTo>
                      <a:pt x="f838" y="f781"/>
                    </a:lnTo>
                    <a:lnTo>
                      <a:pt x="f669" y="f788"/>
                    </a:lnTo>
                    <a:lnTo>
                      <a:pt x="f839" y="f840"/>
                    </a:lnTo>
                    <a:lnTo>
                      <a:pt x="f837" y="f796"/>
                    </a:lnTo>
                    <a:lnTo>
                      <a:pt x="f841" y="f798"/>
                    </a:lnTo>
                    <a:lnTo>
                      <a:pt x="f672" y="f798"/>
                    </a:lnTo>
                    <a:lnTo>
                      <a:pt x="f43" y="f143"/>
                    </a:lnTo>
                    <a:lnTo>
                      <a:pt x="f41" y="f819"/>
                    </a:lnTo>
                    <a:lnTo>
                      <a:pt x="f45" y="f842"/>
                    </a:lnTo>
                    <a:lnTo>
                      <a:pt x="f43" y="f820"/>
                    </a:lnTo>
                    <a:lnTo>
                      <a:pt x="f834" y="f701"/>
                    </a:lnTo>
                    <a:lnTo>
                      <a:pt x="f672" y="f843"/>
                    </a:lnTo>
                    <a:lnTo>
                      <a:pt x="f2" y="f821"/>
                    </a:lnTo>
                    <a:lnTo>
                      <a:pt x="f844" y="f807"/>
                    </a:lnTo>
                    <a:lnTo>
                      <a:pt x="f281" y="f807"/>
                    </a:lnTo>
                    <a:lnTo>
                      <a:pt x="f845" y="f147"/>
                    </a:lnTo>
                    <a:lnTo>
                      <a:pt x="f777" y="f147"/>
                    </a:lnTo>
                    <a:lnTo>
                      <a:pt x="f283" y="f821"/>
                    </a:lnTo>
                    <a:lnTo>
                      <a:pt x="f841" y="f821"/>
                    </a:lnTo>
                    <a:lnTo>
                      <a:pt x="f846" y="f147"/>
                    </a:lnTo>
                    <a:lnTo>
                      <a:pt x="f837" y="f847"/>
                    </a:lnTo>
                    <a:lnTo>
                      <a:pt x="f667" y="f151"/>
                    </a:lnTo>
                    <a:lnTo>
                      <a:pt x="f848" y="f153"/>
                    </a:lnTo>
                    <a:lnTo>
                      <a:pt x="f849" y="f158"/>
                    </a:lnTo>
                    <a:lnTo>
                      <a:pt x="f294" y="f160"/>
                    </a:lnTo>
                    <a:lnTo>
                      <a:pt x="f314" y="f850"/>
                    </a:lnTo>
                    <a:lnTo>
                      <a:pt x="f298" y="f807"/>
                    </a:lnTo>
                    <a:lnTo>
                      <a:pt x="f306" y="f851"/>
                    </a:lnTo>
                    <a:lnTo>
                      <a:pt x="f299" y="f143"/>
                    </a:lnTo>
                    <a:lnTo>
                      <a:pt x="f299" y="f790"/>
                    </a:lnTo>
                    <a:lnTo>
                      <a:pt x="f319" y="f789"/>
                    </a:lnTo>
                    <a:lnTo>
                      <a:pt x="f307" y="f141"/>
                    </a:lnTo>
                    <a:lnTo>
                      <a:pt x="f314" y="f141"/>
                    </a:lnTo>
                    <a:lnTo>
                      <a:pt x="f852" y="f789"/>
                    </a:lnTo>
                    <a:lnTo>
                      <a:pt x="f294" y="f141"/>
                    </a:lnTo>
                    <a:lnTo>
                      <a:pt x="f853" y="f784"/>
                    </a:lnTo>
                    <a:lnTo>
                      <a:pt x="f853" y="f137"/>
                    </a:lnTo>
                    <a:lnTo>
                      <a:pt x="f294" y="f811"/>
                    </a:lnTo>
                    <a:lnTo>
                      <a:pt x="f852" y="f133"/>
                    </a:lnTo>
                    <a:lnTo>
                      <a:pt x="f314" y="f816"/>
                    </a:lnTo>
                    <a:lnTo>
                      <a:pt x="f651" y="f854"/>
                    </a:lnTo>
                    <a:lnTo>
                      <a:pt x="f321" y="f817"/>
                    </a:lnTo>
                    <a:lnTo>
                      <a:pt x="f323" y="f854"/>
                    </a:lnTo>
                    <a:lnTo>
                      <a:pt x="f855" y="f769"/>
                    </a:lnTo>
                    <a:lnTo>
                      <a:pt x="f664" y="f770"/>
                    </a:lnTo>
                    <a:lnTo>
                      <a:pt x="f325" y="f772"/>
                    </a:lnTo>
                    <a:lnTo>
                      <a:pt x="f654" y="f810"/>
                    </a:lnTo>
                    <a:lnTo>
                      <a:pt x="f856" y="f857"/>
                    </a:lnTo>
                    <a:lnTo>
                      <a:pt x="f656" y="f811"/>
                    </a:lnTo>
                    <a:lnTo>
                      <a:pt x="f763" y="f781"/>
                    </a:lnTo>
                    <a:lnTo>
                      <a:pt x="f15" y="f809"/>
                    </a:lnTo>
                    <a:lnTo>
                      <a:pt x="f9" y="f784"/>
                    </a:lnTo>
                    <a:lnTo>
                      <a:pt x="f17" y="f786"/>
                    </a:lnTo>
                    <a:lnTo>
                      <a:pt x="f639" y="f789"/>
                    </a:lnTo>
                    <a:lnTo>
                      <a:pt x="f15" y="f794"/>
                    </a:lnTo>
                    <a:lnTo>
                      <a:pt x="f640" y="f819"/>
                    </a:lnTo>
                    <a:lnTo>
                      <a:pt x="f858" y="f859"/>
                    </a:lnTo>
                    <a:lnTo>
                      <a:pt x="f860" y="f145"/>
                    </a:lnTo>
                    <a:lnTo>
                      <a:pt x="f858" y="f851"/>
                    </a:lnTo>
                    <a:lnTo>
                      <a:pt x="f13" y="f145"/>
                    </a:lnTo>
                    <a:lnTo>
                      <a:pt x="f639" y="f861"/>
                    </a:lnTo>
                    <a:lnTo>
                      <a:pt x="f862" y="f702"/>
                    </a:lnTo>
                    <a:lnTo>
                      <a:pt x="f81" y="f143"/>
                    </a:lnTo>
                    <a:lnTo>
                      <a:pt x="f863" y="f141"/>
                    </a:lnTo>
                    <a:lnTo>
                      <a:pt x="f864" y="f135"/>
                    </a:lnTo>
                    <a:lnTo>
                      <a:pt x="f761" y="f133"/>
                    </a:lnTo>
                    <a:lnTo>
                      <a:pt x="f865" y="f866"/>
                    </a:lnTo>
                    <a:lnTo>
                      <a:pt x="f640" y="f765"/>
                    </a:lnTo>
                    <a:lnTo>
                      <a:pt x="f860" y="f757"/>
                    </a:lnTo>
                    <a:lnTo>
                      <a:pt x="f860" y="f754"/>
                    </a:lnTo>
                    <a:lnTo>
                      <a:pt x="f640" y="f867"/>
                    </a:lnTo>
                    <a:lnTo>
                      <a:pt x="f868" y="f869"/>
                    </a:lnTo>
                    <a:lnTo>
                      <a:pt x="f870" y="f871"/>
                    </a:lnTo>
                    <a:lnTo>
                      <a:pt x="f864" y="f872"/>
                    </a:lnTo>
                    <a:lnTo>
                      <a:pt x="f863" y="f873"/>
                    </a:lnTo>
                    <a:lnTo>
                      <a:pt x="f19" y="f96"/>
                    </a:lnTo>
                    <a:lnTo>
                      <a:pt x="f874" y="f875"/>
                    </a:lnTo>
                    <a:lnTo>
                      <a:pt x="f876" y="f877"/>
                    </a:lnTo>
                    <a:lnTo>
                      <a:pt x="f745" y="f878"/>
                    </a:lnTo>
                    <a:lnTo>
                      <a:pt x="f25" y="f6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3BF222D8-5638-4443-BE18-1000B0FBF969}"/>
                  </a:ext>
                </a:extLst>
              </p:cNvPr>
              <p:cNvSpPr/>
              <p:nvPr/>
            </p:nvSpPr>
            <p:spPr>
              <a:xfrm rot="21447621">
                <a:off x="4538460" y="1384420"/>
                <a:ext cx="65818" cy="43013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16"/>
                  <a:gd name="f7" fmla="val 80"/>
                  <a:gd name="f8" fmla="val 7"/>
                  <a:gd name="f9" fmla="val 14"/>
                  <a:gd name="f10" fmla="val 1"/>
                  <a:gd name="f11" fmla="val 22"/>
                  <a:gd name="f12" fmla="val 4"/>
                  <a:gd name="f13" fmla="val 30"/>
                  <a:gd name="f14" fmla="val 8"/>
                  <a:gd name="f15" fmla="val 39"/>
                  <a:gd name="f16" fmla="val 11"/>
                  <a:gd name="f17" fmla="val 47"/>
                  <a:gd name="f18" fmla="val 54"/>
                  <a:gd name="f19" fmla="val 15"/>
                  <a:gd name="f20" fmla="val 62"/>
                  <a:gd name="f21" fmla="val 16"/>
                  <a:gd name="f22" fmla="val 70"/>
                  <a:gd name="f23" fmla="val 21"/>
                  <a:gd name="f24" fmla="val 78"/>
                  <a:gd name="f25" fmla="val 27"/>
                  <a:gd name="f26" fmla="val 85"/>
                  <a:gd name="f27" fmla="val 32"/>
                  <a:gd name="f28" fmla="val 90"/>
                  <a:gd name="f29" fmla="val 33"/>
                  <a:gd name="f30" fmla="val 94"/>
                  <a:gd name="f31" fmla="val 31"/>
                  <a:gd name="f32" fmla="val 97"/>
                  <a:gd name="f33" fmla="val 28"/>
                  <a:gd name="f34" fmla="val 99"/>
                  <a:gd name="f35" fmla="val 25"/>
                  <a:gd name="f36" fmla="val 103"/>
                  <a:gd name="f37" fmla="val 24"/>
                  <a:gd name="f38" fmla="val 109"/>
                  <a:gd name="f39" fmla="val 26"/>
                  <a:gd name="f40" fmla="val 114"/>
                  <a:gd name="f41" fmla="val 29"/>
                  <a:gd name="f42" fmla="val 115"/>
                  <a:gd name="f43" fmla="val 40"/>
                  <a:gd name="f44" fmla="val 45"/>
                  <a:gd name="f45" fmla="val 51"/>
                  <a:gd name="f46" fmla="val 58"/>
                  <a:gd name="f47" fmla="val 66"/>
                  <a:gd name="f48" fmla="val 113"/>
                  <a:gd name="f49" fmla="val 73"/>
                  <a:gd name="f50" fmla="val 108"/>
                  <a:gd name="f51" fmla="val 101"/>
                  <a:gd name="f52" fmla="val 79"/>
                  <a:gd name="f53" fmla="val 77"/>
                  <a:gd name="f54" fmla="val 71"/>
                  <a:gd name="f55" fmla="val 57"/>
                  <a:gd name="f56" fmla="val 52"/>
                  <a:gd name="f57" fmla="val 67"/>
                  <a:gd name="f58" fmla="val 41"/>
                  <a:gd name="f59" fmla="val 56"/>
                  <a:gd name="f60" fmla="val 36"/>
                  <a:gd name="f61" fmla="val 44"/>
                  <a:gd name="f62" fmla="val 23"/>
                  <a:gd name="f63" fmla="val 20"/>
                  <a:gd name="f64" fmla="val 3"/>
                  <a:gd name="f65" fmla="val 9"/>
                  <a:gd name="f66" fmla="val 5"/>
                  <a:gd name="f67" fmla="val 2"/>
                  <a:gd name="f68" fmla="+- 0 0 -90"/>
                  <a:gd name="f69" fmla="*/ f3 1 116"/>
                  <a:gd name="f70" fmla="*/ f4 1 80"/>
                  <a:gd name="f71" fmla="+- f7 0 f5"/>
                  <a:gd name="f72" fmla="+- f6 0 f5"/>
                  <a:gd name="f73" fmla="*/ f68 f0 1"/>
                  <a:gd name="f74" fmla="*/ f72 1 116"/>
                  <a:gd name="f75" fmla="*/ f71 1 80"/>
                  <a:gd name="f76" fmla="*/ f73 1 f2"/>
                  <a:gd name="f77" fmla="*/ 7 1 f74"/>
                  <a:gd name="f78" fmla="*/ 0 1 f75"/>
                  <a:gd name="f79" fmla="*/ 14 1 f74"/>
                  <a:gd name="f80" fmla="*/ 1 1 f75"/>
                  <a:gd name="f81" fmla="*/ 22 1 f74"/>
                  <a:gd name="f82" fmla="*/ 4 1 f75"/>
                  <a:gd name="f83" fmla="*/ 30 1 f74"/>
                  <a:gd name="f84" fmla="*/ 8 1 f75"/>
                  <a:gd name="f85" fmla="*/ 39 1 f74"/>
                  <a:gd name="f86" fmla="*/ 11 1 f75"/>
                  <a:gd name="f87" fmla="*/ 47 1 f74"/>
                  <a:gd name="f88" fmla="*/ 14 1 f75"/>
                  <a:gd name="f89" fmla="*/ 54 1 f74"/>
                  <a:gd name="f90" fmla="*/ 15 1 f75"/>
                  <a:gd name="f91" fmla="*/ 62 1 f74"/>
                  <a:gd name="f92" fmla="*/ 16 1 f75"/>
                  <a:gd name="f93" fmla="*/ 70 1 f74"/>
                  <a:gd name="f94" fmla="*/ 21 1 f75"/>
                  <a:gd name="f95" fmla="*/ 78 1 f74"/>
                  <a:gd name="f96" fmla="*/ 27 1 f75"/>
                  <a:gd name="f97" fmla="*/ 85 1 f74"/>
                  <a:gd name="f98" fmla="*/ 32 1 f75"/>
                  <a:gd name="f99" fmla="*/ 90 1 f74"/>
                  <a:gd name="f100" fmla="*/ 33 1 f75"/>
                  <a:gd name="f101" fmla="*/ 94 1 f74"/>
                  <a:gd name="f102" fmla="*/ 31 1 f75"/>
                  <a:gd name="f103" fmla="*/ 97 1 f74"/>
                  <a:gd name="f104" fmla="*/ 28 1 f75"/>
                  <a:gd name="f105" fmla="*/ 99 1 f74"/>
                  <a:gd name="f106" fmla="*/ 25 1 f75"/>
                  <a:gd name="f107" fmla="*/ 103 1 f74"/>
                  <a:gd name="f108" fmla="*/ 24 1 f75"/>
                  <a:gd name="f109" fmla="*/ 109 1 f74"/>
                  <a:gd name="f110" fmla="*/ 26 1 f75"/>
                  <a:gd name="f111" fmla="*/ 114 1 f74"/>
                  <a:gd name="f112" fmla="*/ 29 1 f75"/>
                  <a:gd name="f113" fmla="*/ 115 1 f74"/>
                  <a:gd name="f114" fmla="*/ 40 1 f75"/>
                  <a:gd name="f115" fmla="*/ 45 1 f75"/>
                  <a:gd name="f116" fmla="*/ 116 1 f74"/>
                  <a:gd name="f117" fmla="*/ 51 1 f75"/>
                  <a:gd name="f118" fmla="*/ 58 1 f75"/>
                  <a:gd name="f119" fmla="*/ 66 1 f75"/>
                  <a:gd name="f120" fmla="*/ 113 1 f74"/>
                  <a:gd name="f121" fmla="*/ 73 1 f75"/>
                  <a:gd name="f122" fmla="*/ 108 1 f74"/>
                  <a:gd name="f123" fmla="*/ 78 1 f75"/>
                  <a:gd name="f124" fmla="*/ 101 1 f74"/>
                  <a:gd name="f125" fmla="*/ 80 1 f75"/>
                  <a:gd name="f126" fmla="*/ 79 1 f75"/>
                  <a:gd name="f127" fmla="*/ 80 1 f74"/>
                  <a:gd name="f128" fmla="*/ 77 1 f75"/>
                  <a:gd name="f129" fmla="*/ 71 1 f74"/>
                  <a:gd name="f130" fmla="*/ 66 1 f74"/>
                  <a:gd name="f131" fmla="*/ 71 1 f75"/>
                  <a:gd name="f132" fmla="*/ 57 1 f74"/>
                  <a:gd name="f133" fmla="*/ 52 1 f74"/>
                  <a:gd name="f134" fmla="*/ 70 1 f75"/>
                  <a:gd name="f135" fmla="*/ 67 1 f75"/>
                  <a:gd name="f136" fmla="*/ 41 1 f74"/>
                  <a:gd name="f137" fmla="*/ 56 1 f75"/>
                  <a:gd name="f138" fmla="*/ 36 1 f74"/>
                  <a:gd name="f139" fmla="*/ 44 1 f75"/>
                  <a:gd name="f140" fmla="*/ 29 1 f74"/>
                  <a:gd name="f141" fmla="*/ 23 1 f74"/>
                  <a:gd name="f142" fmla="*/ 16 1 f74"/>
                  <a:gd name="f143" fmla="*/ 20 1 f75"/>
                  <a:gd name="f144" fmla="*/ 8 1 f74"/>
                  <a:gd name="f145" fmla="*/ 3 1 f74"/>
                  <a:gd name="f146" fmla="*/ 9 1 f75"/>
                  <a:gd name="f147" fmla="*/ 0 1 f74"/>
                  <a:gd name="f148" fmla="*/ 5 1 f75"/>
                  <a:gd name="f149" fmla="*/ 2 1 f74"/>
                  <a:gd name="f150" fmla="*/ f6 1 f74"/>
                  <a:gd name="f151" fmla="*/ f7 1 f75"/>
                  <a:gd name="f152" fmla="+- f76 0 f1"/>
                  <a:gd name="f153" fmla="*/ f147 f69 1"/>
                  <a:gd name="f154" fmla="*/ f150 f69 1"/>
                  <a:gd name="f155" fmla="*/ f151 f70 1"/>
                  <a:gd name="f156" fmla="*/ f78 f70 1"/>
                  <a:gd name="f157" fmla="*/ f77 f69 1"/>
                  <a:gd name="f158" fmla="*/ f79 f69 1"/>
                  <a:gd name="f159" fmla="*/ f80 f70 1"/>
                  <a:gd name="f160" fmla="*/ f81 f69 1"/>
                  <a:gd name="f161" fmla="*/ f82 f70 1"/>
                  <a:gd name="f162" fmla="*/ f83 f69 1"/>
                  <a:gd name="f163" fmla="*/ f84 f70 1"/>
                  <a:gd name="f164" fmla="*/ f85 f69 1"/>
                  <a:gd name="f165" fmla="*/ f86 f70 1"/>
                  <a:gd name="f166" fmla="*/ f87 f69 1"/>
                  <a:gd name="f167" fmla="*/ f88 f70 1"/>
                  <a:gd name="f168" fmla="*/ f89 f69 1"/>
                  <a:gd name="f169" fmla="*/ f90 f70 1"/>
                  <a:gd name="f170" fmla="*/ f91 f69 1"/>
                  <a:gd name="f171" fmla="*/ f92 f70 1"/>
                  <a:gd name="f172" fmla="*/ f93 f69 1"/>
                  <a:gd name="f173" fmla="*/ f94 f70 1"/>
                  <a:gd name="f174" fmla="*/ f95 f69 1"/>
                  <a:gd name="f175" fmla="*/ f96 f70 1"/>
                  <a:gd name="f176" fmla="*/ f97 f69 1"/>
                  <a:gd name="f177" fmla="*/ f98 f70 1"/>
                  <a:gd name="f178" fmla="*/ f99 f69 1"/>
                  <a:gd name="f179" fmla="*/ f100 f70 1"/>
                  <a:gd name="f180" fmla="*/ f101 f69 1"/>
                  <a:gd name="f181" fmla="*/ f102 f70 1"/>
                  <a:gd name="f182" fmla="*/ f103 f69 1"/>
                  <a:gd name="f183" fmla="*/ f104 f70 1"/>
                  <a:gd name="f184" fmla="*/ f105 f69 1"/>
                  <a:gd name="f185" fmla="*/ f106 f70 1"/>
                  <a:gd name="f186" fmla="*/ f107 f69 1"/>
                  <a:gd name="f187" fmla="*/ f108 f70 1"/>
                  <a:gd name="f188" fmla="*/ f109 f69 1"/>
                  <a:gd name="f189" fmla="*/ f110 f70 1"/>
                  <a:gd name="f190" fmla="*/ f111 f69 1"/>
                  <a:gd name="f191" fmla="*/ f112 f70 1"/>
                  <a:gd name="f192" fmla="*/ f113 f69 1"/>
                  <a:gd name="f193" fmla="*/ f114 f70 1"/>
                  <a:gd name="f194" fmla="*/ f115 f70 1"/>
                  <a:gd name="f195" fmla="*/ f116 f69 1"/>
                  <a:gd name="f196" fmla="*/ f117 f70 1"/>
                  <a:gd name="f197" fmla="*/ f118 f70 1"/>
                  <a:gd name="f198" fmla="*/ f119 f70 1"/>
                  <a:gd name="f199" fmla="*/ f120 f69 1"/>
                  <a:gd name="f200" fmla="*/ f121 f70 1"/>
                  <a:gd name="f201" fmla="*/ f122 f69 1"/>
                  <a:gd name="f202" fmla="*/ f123 f70 1"/>
                  <a:gd name="f203" fmla="*/ f124 f69 1"/>
                  <a:gd name="f204" fmla="*/ f125 f70 1"/>
                  <a:gd name="f205" fmla="*/ f126 f70 1"/>
                  <a:gd name="f206" fmla="*/ f127 f69 1"/>
                  <a:gd name="f207" fmla="*/ f128 f70 1"/>
                  <a:gd name="f208" fmla="*/ f129 f69 1"/>
                  <a:gd name="f209" fmla="*/ f130 f69 1"/>
                  <a:gd name="f210" fmla="*/ f131 f70 1"/>
                  <a:gd name="f211" fmla="*/ f132 f69 1"/>
                  <a:gd name="f212" fmla="*/ f133 f69 1"/>
                  <a:gd name="f213" fmla="*/ f134 f70 1"/>
                  <a:gd name="f214" fmla="*/ f135 f70 1"/>
                  <a:gd name="f215" fmla="*/ f136 f69 1"/>
                  <a:gd name="f216" fmla="*/ f137 f70 1"/>
                  <a:gd name="f217" fmla="*/ f138 f69 1"/>
                  <a:gd name="f218" fmla="*/ f139 f70 1"/>
                  <a:gd name="f219" fmla="*/ f140 f69 1"/>
                  <a:gd name="f220" fmla="*/ f141 f69 1"/>
                  <a:gd name="f221" fmla="*/ f142 f69 1"/>
                  <a:gd name="f222" fmla="*/ f143 f70 1"/>
                  <a:gd name="f223" fmla="*/ f144 f69 1"/>
                  <a:gd name="f224" fmla="*/ f145 f69 1"/>
                  <a:gd name="f225" fmla="*/ f146 f70 1"/>
                  <a:gd name="f226" fmla="*/ f148 f70 1"/>
                  <a:gd name="f227" fmla="*/ f149 f6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52">
                    <a:pos x="f157" y="f156"/>
                  </a:cxn>
                  <a:cxn ang="f152">
                    <a:pos x="f158" y="f159"/>
                  </a:cxn>
                  <a:cxn ang="f152">
                    <a:pos x="f160" y="f161"/>
                  </a:cxn>
                  <a:cxn ang="f152">
                    <a:pos x="f162" y="f163"/>
                  </a:cxn>
                  <a:cxn ang="f152">
                    <a:pos x="f164" y="f165"/>
                  </a:cxn>
                  <a:cxn ang="f152">
                    <a:pos x="f166" y="f167"/>
                  </a:cxn>
                  <a:cxn ang="f152">
                    <a:pos x="f168" y="f169"/>
                  </a:cxn>
                  <a:cxn ang="f152">
                    <a:pos x="f170" y="f171"/>
                  </a:cxn>
                  <a:cxn ang="f152">
                    <a:pos x="f172" y="f173"/>
                  </a:cxn>
                  <a:cxn ang="f152">
                    <a:pos x="f174" y="f175"/>
                  </a:cxn>
                  <a:cxn ang="f152">
                    <a:pos x="f176" y="f177"/>
                  </a:cxn>
                  <a:cxn ang="f152">
                    <a:pos x="f178" y="f179"/>
                  </a:cxn>
                  <a:cxn ang="f152">
                    <a:pos x="f180" y="f181"/>
                  </a:cxn>
                  <a:cxn ang="f152">
                    <a:pos x="f182" y="f183"/>
                  </a:cxn>
                  <a:cxn ang="f152">
                    <a:pos x="f184" y="f185"/>
                  </a:cxn>
                  <a:cxn ang="f152">
                    <a:pos x="f186" y="f187"/>
                  </a:cxn>
                  <a:cxn ang="f152">
                    <a:pos x="f188" y="f189"/>
                  </a:cxn>
                  <a:cxn ang="f152">
                    <a:pos x="f190" y="f191"/>
                  </a:cxn>
                  <a:cxn ang="f152">
                    <a:pos x="f192" y="f179"/>
                  </a:cxn>
                  <a:cxn ang="f152">
                    <a:pos x="f192" y="f193"/>
                  </a:cxn>
                  <a:cxn ang="f152">
                    <a:pos x="f192" y="f194"/>
                  </a:cxn>
                  <a:cxn ang="f152">
                    <a:pos x="f195" y="f196"/>
                  </a:cxn>
                  <a:cxn ang="f152">
                    <a:pos x="f195" y="f197"/>
                  </a:cxn>
                  <a:cxn ang="f152">
                    <a:pos x="f192" y="f198"/>
                  </a:cxn>
                  <a:cxn ang="f152">
                    <a:pos x="f199" y="f200"/>
                  </a:cxn>
                  <a:cxn ang="f152">
                    <a:pos x="f201" y="f202"/>
                  </a:cxn>
                  <a:cxn ang="f152">
                    <a:pos x="f203" y="f204"/>
                  </a:cxn>
                  <a:cxn ang="f152">
                    <a:pos x="f178" y="f205"/>
                  </a:cxn>
                  <a:cxn ang="f152">
                    <a:pos x="f206" y="f207"/>
                  </a:cxn>
                  <a:cxn ang="f152">
                    <a:pos x="f208" y="f200"/>
                  </a:cxn>
                  <a:cxn ang="f152">
                    <a:pos x="f209" y="f210"/>
                  </a:cxn>
                  <a:cxn ang="f152">
                    <a:pos x="f211" y="f210"/>
                  </a:cxn>
                  <a:cxn ang="f152">
                    <a:pos x="f212" y="f213"/>
                  </a:cxn>
                  <a:cxn ang="f152">
                    <a:pos x="f166" y="f214"/>
                  </a:cxn>
                  <a:cxn ang="f152">
                    <a:pos x="f215" y="f216"/>
                  </a:cxn>
                  <a:cxn ang="f152">
                    <a:pos x="f217" y="f218"/>
                  </a:cxn>
                  <a:cxn ang="f152">
                    <a:pos x="f219" y="f177"/>
                  </a:cxn>
                  <a:cxn ang="f152">
                    <a:pos x="f220" y="f189"/>
                  </a:cxn>
                  <a:cxn ang="f152">
                    <a:pos x="f221" y="f222"/>
                  </a:cxn>
                  <a:cxn ang="f152">
                    <a:pos x="f223" y="f169"/>
                  </a:cxn>
                  <a:cxn ang="f152">
                    <a:pos x="f224" y="f225"/>
                  </a:cxn>
                  <a:cxn ang="f152">
                    <a:pos x="f153" y="f226"/>
                  </a:cxn>
                  <a:cxn ang="f152">
                    <a:pos x="f227" y="f159"/>
                  </a:cxn>
                  <a:cxn ang="f152">
                    <a:pos x="f157" y="f156"/>
                  </a:cxn>
                </a:cxnLst>
                <a:rect l="f153" t="f156" r="f154" b="f155"/>
                <a:pathLst>
                  <a:path w="116" h="80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9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29"/>
                    </a:lnTo>
                    <a:lnTo>
                      <a:pt x="f42" y="f43"/>
                    </a:lnTo>
                    <a:lnTo>
                      <a:pt x="f42" y="f44"/>
                    </a:lnTo>
                    <a:lnTo>
                      <a:pt x="f6" y="f45"/>
                    </a:lnTo>
                    <a:lnTo>
                      <a:pt x="f6" y="f46"/>
                    </a:lnTo>
                    <a:lnTo>
                      <a:pt x="f42" y="f47"/>
                    </a:lnTo>
                    <a:lnTo>
                      <a:pt x="f48" y="f49"/>
                    </a:lnTo>
                    <a:lnTo>
                      <a:pt x="f50" y="f24"/>
                    </a:lnTo>
                    <a:lnTo>
                      <a:pt x="f51" y="f7"/>
                    </a:lnTo>
                    <a:lnTo>
                      <a:pt x="f28" y="f52"/>
                    </a:lnTo>
                    <a:lnTo>
                      <a:pt x="f7" y="f53"/>
                    </a:lnTo>
                    <a:lnTo>
                      <a:pt x="f54" y="f49"/>
                    </a:lnTo>
                    <a:lnTo>
                      <a:pt x="f47" y="f54"/>
                    </a:lnTo>
                    <a:lnTo>
                      <a:pt x="f55" y="f54"/>
                    </a:lnTo>
                    <a:lnTo>
                      <a:pt x="f56" y="f22"/>
                    </a:lnTo>
                    <a:lnTo>
                      <a:pt x="f17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41" y="f27"/>
                    </a:lnTo>
                    <a:lnTo>
                      <a:pt x="f62" y="f39"/>
                    </a:lnTo>
                    <a:lnTo>
                      <a:pt x="f21" y="f63"/>
                    </a:lnTo>
                    <a:lnTo>
                      <a:pt x="f14" y="f19"/>
                    </a:lnTo>
                    <a:lnTo>
                      <a:pt x="f64" y="f65"/>
                    </a:lnTo>
                    <a:lnTo>
                      <a:pt x="f5" y="f66"/>
                    </a:lnTo>
                    <a:lnTo>
                      <a:pt x="f67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A9FBF87D-9D6C-453A-812F-80CC05A6890B}"/>
                  </a:ext>
                </a:extLst>
              </p:cNvPr>
              <p:cNvSpPr/>
              <p:nvPr/>
            </p:nvSpPr>
            <p:spPr>
              <a:xfrm rot="21447621">
                <a:off x="4748315" y="1723333"/>
                <a:ext cx="412494" cy="316711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727"/>
                  <a:gd name="f7" fmla="val 589"/>
                  <a:gd name="f8" fmla="val 205"/>
                  <a:gd name="f9" fmla="val 214"/>
                  <a:gd name="f10" fmla="val 223"/>
                  <a:gd name="f11" fmla="val 1"/>
                  <a:gd name="f12" fmla="val 232"/>
                  <a:gd name="f13" fmla="val 238"/>
                  <a:gd name="f14" fmla="val 242"/>
                  <a:gd name="f15" fmla="val 248"/>
                  <a:gd name="f16" fmla="val 2"/>
                  <a:gd name="f17" fmla="val 256"/>
                  <a:gd name="f18" fmla="val 5"/>
                  <a:gd name="f19" fmla="val 264"/>
                  <a:gd name="f20" fmla="val 9"/>
                  <a:gd name="f21" fmla="val 271"/>
                  <a:gd name="f22" fmla="val 13"/>
                  <a:gd name="f23" fmla="val 276"/>
                  <a:gd name="f24" fmla="val 17"/>
                  <a:gd name="f25" fmla="val 277"/>
                  <a:gd name="f26" fmla="val 19"/>
                  <a:gd name="f27" fmla="val 20"/>
                  <a:gd name="f28" fmla="val 275"/>
                  <a:gd name="f29" fmla="val 274"/>
                  <a:gd name="f30" fmla="val 21"/>
                  <a:gd name="f31" fmla="val 273"/>
                  <a:gd name="f32" fmla="val 22"/>
                  <a:gd name="f33" fmla="val 270"/>
                  <a:gd name="f34" fmla="val 23"/>
                  <a:gd name="f35" fmla="val 269"/>
                  <a:gd name="f36" fmla="val 25"/>
                  <a:gd name="f37" fmla="val 30"/>
                  <a:gd name="f38" fmla="val 33"/>
                  <a:gd name="f39" fmla="val 42"/>
                  <a:gd name="f40" fmla="val 278"/>
                  <a:gd name="f41" fmla="val 52"/>
                  <a:gd name="f42" fmla="val 282"/>
                  <a:gd name="f43" fmla="val 61"/>
                  <a:gd name="f44" fmla="val 284"/>
                  <a:gd name="f45" fmla="val 69"/>
                  <a:gd name="f46" fmla="val 81"/>
                  <a:gd name="f47" fmla="val 285"/>
                  <a:gd name="f48" fmla="val 86"/>
                  <a:gd name="f49" fmla="val 289"/>
                  <a:gd name="f50" fmla="val 90"/>
                  <a:gd name="f51" fmla="val 295"/>
                  <a:gd name="f52" fmla="val 91"/>
                  <a:gd name="f53" fmla="val 303"/>
                  <a:gd name="f54" fmla="val 92"/>
                  <a:gd name="f55" fmla="val 319"/>
                  <a:gd name="f56" fmla="val 97"/>
                  <a:gd name="f57" fmla="val 327"/>
                  <a:gd name="f58" fmla="val 98"/>
                  <a:gd name="f59" fmla="val 334"/>
                  <a:gd name="f60" fmla="val 344"/>
                  <a:gd name="f61" fmla="val 100"/>
                  <a:gd name="f62" fmla="val 355"/>
                  <a:gd name="f63" fmla="val 103"/>
                  <a:gd name="f64" fmla="val 367"/>
                  <a:gd name="f65" fmla="val 106"/>
                  <a:gd name="f66" fmla="val 378"/>
                  <a:gd name="f67" fmla="val 110"/>
                  <a:gd name="f68" fmla="val 386"/>
                  <a:gd name="f69" fmla="val 114"/>
                  <a:gd name="f70" fmla="val 389"/>
                  <a:gd name="f71" fmla="val 117"/>
                  <a:gd name="f72" fmla="val 390"/>
                  <a:gd name="f73" fmla="val 122"/>
                  <a:gd name="f74" fmla="val 391"/>
                  <a:gd name="f75" fmla="val 129"/>
                  <a:gd name="f76" fmla="val 393"/>
                  <a:gd name="f77" fmla="val 136"/>
                  <a:gd name="f78" fmla="val 396"/>
                  <a:gd name="f79" fmla="val 142"/>
                  <a:gd name="f80" fmla="val 397"/>
                  <a:gd name="f81" fmla="val 146"/>
                  <a:gd name="f82" fmla="val 394"/>
                  <a:gd name="f83" fmla="val 152"/>
                  <a:gd name="f84" fmla="val 158"/>
                  <a:gd name="f85" fmla="val 384"/>
                  <a:gd name="f86" fmla="val 163"/>
                  <a:gd name="f87" fmla="val 380"/>
                  <a:gd name="f88" fmla="val 169"/>
                  <a:gd name="f89" fmla="val 173"/>
                  <a:gd name="f90" fmla="val 383"/>
                  <a:gd name="f91" fmla="val 177"/>
                  <a:gd name="f92" fmla="val 183"/>
                  <a:gd name="f93" fmla="val 187"/>
                  <a:gd name="f94" fmla="val 398"/>
                  <a:gd name="f95" fmla="val 192"/>
                  <a:gd name="f96" fmla="val 199"/>
                  <a:gd name="f97" fmla="val 400"/>
                  <a:gd name="f98" fmla="val 213"/>
                  <a:gd name="f99" fmla="val 403"/>
                  <a:gd name="f100" fmla="val 217"/>
                  <a:gd name="f101" fmla="val 409"/>
                  <a:gd name="f102" fmla="val 219"/>
                  <a:gd name="f103" fmla="val 419"/>
                  <a:gd name="f104" fmla="val 220"/>
                  <a:gd name="f105" fmla="val 429"/>
                  <a:gd name="f106" fmla="val 438"/>
                  <a:gd name="f107" fmla="val 444"/>
                  <a:gd name="f108" fmla="val 451"/>
                  <a:gd name="f109" fmla="val 457"/>
                  <a:gd name="f110" fmla="val 215"/>
                  <a:gd name="f111" fmla="val 463"/>
                  <a:gd name="f112" fmla="val 469"/>
                  <a:gd name="f113" fmla="val 473"/>
                  <a:gd name="f114" fmla="val 226"/>
                  <a:gd name="f115" fmla="val 477"/>
                  <a:gd name="f116" fmla="val 239"/>
                  <a:gd name="f117" fmla="val 480"/>
                  <a:gd name="f118" fmla="val 245"/>
                  <a:gd name="f119" fmla="val 483"/>
                  <a:gd name="f120" fmla="val 249"/>
                  <a:gd name="f121" fmla="val 488"/>
                  <a:gd name="f122" fmla="val 251"/>
                  <a:gd name="f123" fmla="val 495"/>
                  <a:gd name="f124" fmla="val 250"/>
                  <a:gd name="f125" fmla="val 500"/>
                  <a:gd name="f126" fmla="val 506"/>
                  <a:gd name="f127" fmla="val 246"/>
                  <a:gd name="f128" fmla="val 512"/>
                  <a:gd name="f129" fmla="val 519"/>
                  <a:gd name="f130" fmla="val 527"/>
                  <a:gd name="f131" fmla="val 254"/>
                  <a:gd name="f132" fmla="val 534"/>
                  <a:gd name="f133" fmla="val 261"/>
                  <a:gd name="f134" fmla="val 541"/>
                  <a:gd name="f135" fmla="val 548"/>
                  <a:gd name="f136" fmla="val 554"/>
                  <a:gd name="f137" fmla="val 563"/>
                  <a:gd name="f138" fmla="val 570"/>
                  <a:gd name="f139" fmla="val 576"/>
                  <a:gd name="f140" fmla="val 582"/>
                  <a:gd name="f141" fmla="val 588"/>
                  <a:gd name="f142" fmla="val 595"/>
                  <a:gd name="f143" fmla="val 598"/>
                  <a:gd name="f144" fmla="val 604"/>
                  <a:gd name="f145" fmla="val 606"/>
                  <a:gd name="f146" fmla="val 607"/>
                  <a:gd name="f147" fmla="val 608"/>
                  <a:gd name="f148" fmla="val 283"/>
                  <a:gd name="f149" fmla="val 610"/>
                  <a:gd name="f150" fmla="val 618"/>
                  <a:gd name="f151" fmla="val 621"/>
                  <a:gd name="f152" fmla="val 260"/>
                  <a:gd name="f153" fmla="val 258"/>
                  <a:gd name="f154" fmla="val 620"/>
                  <a:gd name="f155" fmla="val 617"/>
                  <a:gd name="f156" fmla="val 615"/>
                  <a:gd name="f157" fmla="val 243"/>
                  <a:gd name="f158" fmla="val 614"/>
                  <a:gd name="f159" fmla="val 237"/>
                  <a:gd name="f160" fmla="val 616"/>
                  <a:gd name="f161" fmla="val 228"/>
                  <a:gd name="f162" fmla="val 622"/>
                  <a:gd name="f163" fmla="val 624"/>
                  <a:gd name="f164" fmla="val 628"/>
                  <a:gd name="f165" fmla="val 634"/>
                  <a:gd name="f166" fmla="val 640"/>
                  <a:gd name="f167" fmla="val 218"/>
                  <a:gd name="f168" fmla="val 643"/>
                  <a:gd name="f169" fmla="val 645"/>
                  <a:gd name="f170" fmla="val 222"/>
                  <a:gd name="f171" fmla="val 648"/>
                  <a:gd name="f172" fmla="val 224"/>
                  <a:gd name="f173" fmla="val 652"/>
                  <a:gd name="f174" fmla="val 658"/>
                  <a:gd name="f175" fmla="val 666"/>
                  <a:gd name="f176" fmla="val 675"/>
                  <a:gd name="f177" fmla="val 683"/>
                  <a:gd name="f178" fmla="val 689"/>
                  <a:gd name="f179" fmla="val 252"/>
                  <a:gd name="f180" fmla="val 692"/>
                  <a:gd name="f181" fmla="val 693"/>
                  <a:gd name="f182" fmla="val 259"/>
                  <a:gd name="f183" fmla="val 696"/>
                  <a:gd name="f184" fmla="val 701"/>
                  <a:gd name="f185" fmla="val 262"/>
                  <a:gd name="f186" fmla="val 708"/>
                  <a:gd name="f187" fmla="val 265"/>
                  <a:gd name="f188" fmla="val 713"/>
                  <a:gd name="f189" fmla="val 718"/>
                  <a:gd name="f190" fmla="val 723"/>
                  <a:gd name="f191" fmla="val 280"/>
                  <a:gd name="f192" fmla="val 726"/>
                  <a:gd name="f193" fmla="val 725"/>
                  <a:gd name="f194" fmla="val 292"/>
                  <a:gd name="f195" fmla="val 719"/>
                  <a:gd name="f196" fmla="val 294"/>
                  <a:gd name="f197" fmla="val 703"/>
                  <a:gd name="f198" fmla="val 300"/>
                  <a:gd name="f199" fmla="val 698"/>
                  <a:gd name="f200" fmla="val 301"/>
                  <a:gd name="f201" fmla="val 681"/>
                  <a:gd name="f202" fmla="val 305"/>
                  <a:gd name="f203" fmla="val 677"/>
                  <a:gd name="f204" fmla="val 309"/>
                  <a:gd name="f205" fmla="val 674"/>
                  <a:gd name="f206" fmla="val 313"/>
                  <a:gd name="f207" fmla="val 670"/>
                  <a:gd name="f208" fmla="val 317"/>
                  <a:gd name="f209" fmla="val 665"/>
                  <a:gd name="f210" fmla="val 321"/>
                  <a:gd name="f211" fmla="val 659"/>
                  <a:gd name="f212" fmla="val 322"/>
                  <a:gd name="f213" fmla="val 655"/>
                  <a:gd name="f214" fmla="val 323"/>
                  <a:gd name="f215" fmla="val 651"/>
                  <a:gd name="f216" fmla="val 647"/>
                  <a:gd name="f217" fmla="val 330"/>
                  <a:gd name="f218" fmla="val 332"/>
                  <a:gd name="f219" fmla="val 635"/>
                  <a:gd name="f220" fmla="val 333"/>
                  <a:gd name="f221" fmla="val 631"/>
                  <a:gd name="f222" fmla="val 336"/>
                  <a:gd name="f223" fmla="val 626"/>
                  <a:gd name="f224" fmla="val 337"/>
                  <a:gd name="f225" fmla="val 625"/>
                  <a:gd name="f226" fmla="val 340"/>
                  <a:gd name="f227" fmla="val 342"/>
                  <a:gd name="f228" fmla="val 348"/>
                  <a:gd name="f229" fmla="val 362"/>
                  <a:gd name="f230" fmla="val 623"/>
                  <a:gd name="f231" fmla="val 366"/>
                  <a:gd name="f232" fmla="val 368"/>
                  <a:gd name="f233" fmla="val 373"/>
                  <a:gd name="f234" fmla="val 379"/>
                  <a:gd name="f235" fmla="val 633"/>
                  <a:gd name="f236" fmla="val 636"/>
                  <a:gd name="f237" fmla="val 388"/>
                  <a:gd name="f238" fmla="val 637"/>
                  <a:gd name="f239" fmla="val 404"/>
                  <a:gd name="f240" fmla="val 632"/>
                  <a:gd name="f241" fmla="val 406"/>
                  <a:gd name="f242" fmla="val 405"/>
                  <a:gd name="f243" fmla="val 609"/>
                  <a:gd name="f244" fmla="val 407"/>
                  <a:gd name="f245" fmla="val 602"/>
                  <a:gd name="f246" fmla="val 410"/>
                  <a:gd name="f247" fmla="val 601"/>
                  <a:gd name="f248" fmla="val 416"/>
                  <a:gd name="f249" fmla="val 599"/>
                  <a:gd name="f250" fmla="val 434"/>
                  <a:gd name="f251" fmla="val 596"/>
                  <a:gd name="f252" fmla="val 437"/>
                  <a:gd name="f253" fmla="val 592"/>
                  <a:gd name="f254" fmla="val 584"/>
                  <a:gd name="f255" fmla="val 435"/>
                  <a:gd name="f256" fmla="val 579"/>
                  <a:gd name="f257" fmla="val 436"/>
                  <a:gd name="f258" fmla="val 574"/>
                  <a:gd name="f259" fmla="val 440"/>
                  <a:gd name="f260" fmla="val 571"/>
                  <a:gd name="f261" fmla="val 446"/>
                  <a:gd name="f262" fmla="val 447"/>
                  <a:gd name="f263" fmla="val 568"/>
                  <a:gd name="f264" fmla="val 448"/>
                  <a:gd name="f265" fmla="val 565"/>
                  <a:gd name="f266" fmla="val 551"/>
                  <a:gd name="f267" fmla="val 549"/>
                  <a:gd name="f268" fmla="val 449"/>
                  <a:gd name="f269" fmla="val 546"/>
                  <a:gd name="f270" fmla="val 450"/>
                  <a:gd name="f271" fmla="val 544"/>
                  <a:gd name="f272" fmla="val 542"/>
                  <a:gd name="f273" fmla="val 453"/>
                  <a:gd name="f274" fmla="val 455"/>
                  <a:gd name="f275" fmla="val 458"/>
                  <a:gd name="f276" fmla="val 464"/>
                  <a:gd name="f277" fmla="val 540"/>
                  <a:gd name="f278" fmla="val 486"/>
                  <a:gd name="f279" fmla="val 537"/>
                  <a:gd name="f280" fmla="val 489"/>
                  <a:gd name="f281" fmla="val 536"/>
                  <a:gd name="f282" fmla="val 494"/>
                  <a:gd name="f283" fmla="val 538"/>
                  <a:gd name="f284" fmla="val 497"/>
                  <a:gd name="f285" fmla="val 539"/>
                  <a:gd name="f286" fmla="val 499"/>
                  <a:gd name="f287" fmla="val 529"/>
                  <a:gd name="f288" fmla="val 504"/>
                  <a:gd name="f289" fmla="val 508"/>
                  <a:gd name="f290" fmla="val 507"/>
                  <a:gd name="f291" fmla="val 505"/>
                  <a:gd name="f292" fmla="val 503"/>
                  <a:gd name="f293" fmla="val 501"/>
                  <a:gd name="f294" fmla="val 496"/>
                  <a:gd name="f295" fmla="val 471"/>
                  <a:gd name="f296" fmla="val 509"/>
                  <a:gd name="f297" fmla="val 510"/>
                  <a:gd name="f298" fmla="val 511"/>
                  <a:gd name="f299" fmla="val 443"/>
                  <a:gd name="f300" fmla="val 515"/>
                  <a:gd name="f301" fmla="val 439"/>
                  <a:gd name="f302" fmla="val 518"/>
                  <a:gd name="f303" fmla="val 430"/>
                  <a:gd name="f304" fmla="val 426"/>
                  <a:gd name="f305" fmla="val 421"/>
                  <a:gd name="f306" fmla="val 415"/>
                  <a:gd name="f307" fmla="val 493"/>
                  <a:gd name="f308" fmla="val 484"/>
                  <a:gd name="f309" fmla="val 481"/>
                  <a:gd name="f310" fmla="val 395"/>
                  <a:gd name="f311" fmla="val 381"/>
                  <a:gd name="f312" fmla="val 462"/>
                  <a:gd name="f313" fmla="val 375"/>
                  <a:gd name="f314" fmla="val 466"/>
                  <a:gd name="f315" fmla="val 475"/>
                  <a:gd name="f316" fmla="val 364"/>
                  <a:gd name="f317" fmla="val 365"/>
                  <a:gd name="f318" fmla="val 369"/>
                  <a:gd name="f319" fmla="val 525"/>
                  <a:gd name="f320" fmla="val 532"/>
                  <a:gd name="f321" fmla="val 550"/>
                  <a:gd name="f322" fmla="val 363"/>
                  <a:gd name="f323" fmla="val 556"/>
                  <a:gd name="f324" fmla="val 359"/>
                  <a:gd name="f325" fmla="val 558"/>
                  <a:gd name="f326" fmla="val 353"/>
                  <a:gd name="f327" fmla="val 345"/>
                  <a:gd name="f328" fmla="val 557"/>
                  <a:gd name="f329" fmla="val 338"/>
                  <a:gd name="f330" fmla="val 335"/>
                  <a:gd name="f331" fmla="val 545"/>
                  <a:gd name="f332" fmla="val 530"/>
                  <a:gd name="f333" fmla="val 328"/>
                  <a:gd name="f334" fmla="val 314"/>
                  <a:gd name="f335" fmla="val 308"/>
                  <a:gd name="f336" fmla="val 528"/>
                  <a:gd name="f337" fmla="val 304"/>
                  <a:gd name="f338" fmla="val 526"/>
                  <a:gd name="f339" fmla="val 302"/>
                  <a:gd name="f340" fmla="val 524"/>
                  <a:gd name="f341" fmla="val 522"/>
                  <a:gd name="f342" fmla="val 298"/>
                  <a:gd name="f343" fmla="val 296"/>
                  <a:gd name="f344" fmla="val 520"/>
                  <a:gd name="f345" fmla="val 287"/>
                  <a:gd name="f346" fmla="val 516"/>
                  <a:gd name="f347" fmla="val 514"/>
                  <a:gd name="f348" fmla="val 513"/>
                  <a:gd name="f349" fmla="val 253"/>
                  <a:gd name="f350" fmla="val 236"/>
                  <a:gd name="f351" fmla="val 230"/>
                  <a:gd name="f352" fmla="val 225"/>
                  <a:gd name="f353" fmla="val 535"/>
                  <a:gd name="f354" fmla="val 553"/>
                  <a:gd name="f355" fmla="val 247"/>
                  <a:gd name="f356" fmla="val 561"/>
                  <a:gd name="f357" fmla="val 569"/>
                  <a:gd name="f358" fmla="val 573"/>
                  <a:gd name="f359" fmla="val 575"/>
                  <a:gd name="f360" fmla="val 221"/>
                  <a:gd name="f361" fmla="val 578"/>
                  <a:gd name="f362" fmla="val 586"/>
                  <a:gd name="f363" fmla="val 209"/>
                  <a:gd name="f364" fmla="val 587"/>
                  <a:gd name="f365" fmla="val 197"/>
                  <a:gd name="f366" fmla="val 581"/>
                  <a:gd name="f367" fmla="val 580"/>
                  <a:gd name="f368" fmla="val 189"/>
                  <a:gd name="f369" fmla="val 188"/>
                  <a:gd name="f370" fmla="val 566"/>
                  <a:gd name="f371" fmla="val 185"/>
                  <a:gd name="f372" fmla="val 174"/>
                  <a:gd name="f373" fmla="val 165"/>
                  <a:gd name="f374" fmla="val 160"/>
                  <a:gd name="f375" fmla="val 157"/>
                  <a:gd name="f376" fmla="val 517"/>
                  <a:gd name="f377" fmla="val 154"/>
                  <a:gd name="f378" fmla="val 150"/>
                  <a:gd name="f379" fmla="val 134"/>
                  <a:gd name="f380" fmla="val 130"/>
                  <a:gd name="f381" fmla="val 128"/>
                  <a:gd name="f382" fmla="val 127"/>
                  <a:gd name="f383" fmla="val 490"/>
                  <a:gd name="f384" fmla="val 126"/>
                  <a:gd name="f385" fmla="val 485"/>
                  <a:gd name="f386" fmla="val 472"/>
                  <a:gd name="f387" fmla="val 96"/>
                  <a:gd name="f388" fmla="val 460"/>
                  <a:gd name="f389" fmla="val 456"/>
                  <a:gd name="f390" fmla="val 88"/>
                  <a:gd name="f391" fmla="val 452"/>
                  <a:gd name="f392" fmla="val 84"/>
                  <a:gd name="f393" fmla="val 79"/>
                  <a:gd name="f394" fmla="val 63"/>
                  <a:gd name="f395" fmla="val 54"/>
                  <a:gd name="f396" fmla="val 45"/>
                  <a:gd name="f397" fmla="val 46"/>
                  <a:gd name="f398" fmla="val 49"/>
                  <a:gd name="f399" fmla="val 51"/>
                  <a:gd name="f400" fmla="val 413"/>
                  <a:gd name="f401" fmla="val 50"/>
                  <a:gd name="f402" fmla="val 408"/>
                  <a:gd name="f403" fmla="val 48"/>
                  <a:gd name="f404" fmla="val 399"/>
                  <a:gd name="f405" fmla="val 38"/>
                  <a:gd name="f406" fmla="val 28"/>
                  <a:gd name="f407" fmla="val 24"/>
                  <a:gd name="f408" fmla="val 402"/>
                  <a:gd name="f409" fmla="val 411"/>
                  <a:gd name="f410" fmla="val 414"/>
                  <a:gd name="f411" fmla="val 7"/>
                  <a:gd name="f412" fmla="val 412"/>
                  <a:gd name="f413" fmla="val 6"/>
                  <a:gd name="f414" fmla="val 11"/>
                  <a:gd name="f415" fmla="val 370"/>
                  <a:gd name="f416" fmla="val 351"/>
                  <a:gd name="f417" fmla="val 343"/>
                  <a:gd name="f418" fmla="val 26"/>
                  <a:gd name="f419" fmla="val 36"/>
                  <a:gd name="f420" fmla="val 39"/>
                  <a:gd name="f421" fmla="val 329"/>
                  <a:gd name="f422" fmla="val 41"/>
                  <a:gd name="f423" fmla="val 324"/>
                  <a:gd name="f424" fmla="val 44"/>
                  <a:gd name="f425" fmla="val 47"/>
                  <a:gd name="f426" fmla="val 311"/>
                  <a:gd name="f427" fmla="val 307"/>
                  <a:gd name="f428" fmla="val 40"/>
                  <a:gd name="f429" fmla="val 297"/>
                  <a:gd name="f430" fmla="val 293"/>
                  <a:gd name="f431" fmla="val 286"/>
                  <a:gd name="f432" fmla="val 37"/>
                  <a:gd name="f433" fmla="val 35"/>
                  <a:gd name="f434" fmla="val 53"/>
                  <a:gd name="f435" fmla="val 62"/>
                  <a:gd name="f436" fmla="val 70"/>
                  <a:gd name="f437" fmla="val 76"/>
                  <a:gd name="f438" fmla="val 78"/>
                  <a:gd name="f439" fmla="val 85"/>
                  <a:gd name="f440" fmla="val 87"/>
                  <a:gd name="f441" fmla="val 257"/>
                  <a:gd name="f442" fmla="val 89"/>
                  <a:gd name="f443" fmla="val 244"/>
                  <a:gd name="f444" fmla="val 74"/>
                  <a:gd name="f445" fmla="val 234"/>
                  <a:gd name="f446" fmla="val 72"/>
                  <a:gd name="f447" fmla="val 231"/>
                  <a:gd name="f448" fmla="val 73"/>
                  <a:gd name="f449" fmla="val 216"/>
                  <a:gd name="f450" fmla="val 208"/>
                  <a:gd name="f451" fmla="val 68"/>
                  <a:gd name="f452" fmla="val 67"/>
                  <a:gd name="f453" fmla="val 203"/>
                  <a:gd name="f454" fmla="val 201"/>
                  <a:gd name="f455" fmla="val 77"/>
                  <a:gd name="f456" fmla="val 206"/>
                  <a:gd name="f457" fmla="val 196"/>
                  <a:gd name="f458" fmla="val 95"/>
                  <a:gd name="f459" fmla="val 190"/>
                  <a:gd name="f460" fmla="val 93"/>
                  <a:gd name="f461" fmla="val 170"/>
                  <a:gd name="f462" fmla="val 59"/>
                  <a:gd name="f463" fmla="val 166"/>
                  <a:gd name="f464" fmla="val 162"/>
                  <a:gd name="f465" fmla="val 156"/>
                  <a:gd name="f466" fmla="val 43"/>
                  <a:gd name="f467" fmla="val 144"/>
                  <a:gd name="f468" fmla="val 140"/>
                  <a:gd name="f469" fmla="val 138"/>
                  <a:gd name="f470" fmla="val 139"/>
                  <a:gd name="f471" fmla="val 34"/>
                  <a:gd name="f472" fmla="val 141"/>
                  <a:gd name="f473" fmla="val 31"/>
                  <a:gd name="f474" fmla="val 143"/>
                  <a:gd name="f475" fmla="val 27"/>
                  <a:gd name="f476" fmla="val 135"/>
                  <a:gd name="f477" fmla="val 18"/>
                  <a:gd name="f478" fmla="val 14"/>
                  <a:gd name="f479" fmla="val 12"/>
                  <a:gd name="f480" fmla="val 115"/>
                  <a:gd name="f481" fmla="val 109"/>
                  <a:gd name="f482" fmla="val 102"/>
                  <a:gd name="f483" fmla="val 65"/>
                  <a:gd name="f484" fmla="val 71"/>
                  <a:gd name="f485" fmla="val 75"/>
                  <a:gd name="f486" fmla="val 82"/>
                  <a:gd name="f487" fmla="val 80"/>
                  <a:gd name="f488" fmla="val 60"/>
                  <a:gd name="f489" fmla="val 107"/>
                  <a:gd name="f490" fmla="val 57"/>
                  <a:gd name="f491" fmla="val 121"/>
                  <a:gd name="f492" fmla="val 147"/>
                  <a:gd name="f493" fmla="val 161"/>
                  <a:gd name="f494" fmla="val 168"/>
                  <a:gd name="f495" fmla="val 29"/>
                  <a:gd name="f496" fmla="val 181"/>
                  <a:gd name="f497" fmla="val 202"/>
                  <a:gd name="f498" fmla="val 16"/>
                  <a:gd name="f499" fmla="val 198"/>
                  <a:gd name="f500" fmla="val 200"/>
                  <a:gd name="f501" fmla="+- 0 0 -90"/>
                  <a:gd name="f502" fmla="*/ f3 1 727"/>
                  <a:gd name="f503" fmla="*/ f4 1 589"/>
                  <a:gd name="f504" fmla="+- f7 0 f5"/>
                  <a:gd name="f505" fmla="+- f6 0 f5"/>
                  <a:gd name="f506" fmla="*/ f501 f0 1"/>
                  <a:gd name="f507" fmla="*/ f505 1 727"/>
                  <a:gd name="f508" fmla="*/ f504 1 589"/>
                  <a:gd name="f509" fmla="*/ f506 1 f2"/>
                  <a:gd name="f510" fmla="*/ 256 1 f507"/>
                  <a:gd name="f511" fmla="*/ 5 1 f508"/>
                  <a:gd name="f512" fmla="*/ 273 1 f507"/>
                  <a:gd name="f513" fmla="*/ 21 1 f508"/>
                  <a:gd name="f514" fmla="*/ 282 1 f507"/>
                  <a:gd name="f515" fmla="*/ 61 1 f508"/>
                  <a:gd name="f516" fmla="*/ 327 1 f507"/>
                  <a:gd name="f517" fmla="*/ 98 1 f508"/>
                  <a:gd name="f518" fmla="*/ 390 1 f507"/>
                  <a:gd name="f519" fmla="*/ 122 1 f508"/>
                  <a:gd name="f520" fmla="*/ 380 1 f507"/>
                  <a:gd name="f521" fmla="*/ 169 1 f508"/>
                  <a:gd name="f522" fmla="*/ 403 1 f507"/>
                  <a:gd name="f523" fmla="*/ 217 1 f508"/>
                  <a:gd name="f524" fmla="*/ 463 1 f507"/>
                  <a:gd name="f525" fmla="*/ 215 1 f508"/>
                  <a:gd name="f526" fmla="*/ 500 1 f507"/>
                  <a:gd name="f527" fmla="*/ 248 1 f508"/>
                  <a:gd name="f528" fmla="*/ 554 1 f507"/>
                  <a:gd name="f529" fmla="*/ 277 1 f508"/>
                  <a:gd name="f530" fmla="*/ 604 1 f507"/>
                  <a:gd name="f531" fmla="*/ 284 1 f508"/>
                  <a:gd name="f532" fmla="*/ 620 1 f507"/>
                  <a:gd name="f533" fmla="*/ 254 1 f508"/>
                  <a:gd name="f534" fmla="*/ 628 1 f507"/>
                  <a:gd name="f535" fmla="*/ 666 1 f507"/>
                  <a:gd name="f536" fmla="*/ 232 1 f508"/>
                  <a:gd name="f537" fmla="*/ 708 1 f507"/>
                  <a:gd name="f538" fmla="*/ 265 1 f508"/>
                  <a:gd name="f539" fmla="*/ 703 1 f507"/>
                  <a:gd name="f540" fmla="*/ 300 1 f508"/>
                  <a:gd name="f541" fmla="*/ 659 1 f507"/>
                  <a:gd name="f542" fmla="*/ 322 1 f508"/>
                  <a:gd name="f543" fmla="*/ 626 1 f507"/>
                  <a:gd name="f544" fmla="*/ 337 1 f508"/>
                  <a:gd name="f545" fmla="*/ 624 1 f507"/>
                  <a:gd name="f546" fmla="*/ 373 1 f508"/>
                  <a:gd name="f547" fmla="*/ 406 1 f508"/>
                  <a:gd name="f548" fmla="*/ 596 1 f507"/>
                  <a:gd name="f549" fmla="*/ 437 1 f508"/>
                  <a:gd name="f550" fmla="*/ 568 1 f507"/>
                  <a:gd name="f551" fmla="*/ 448 1 f508"/>
                  <a:gd name="f552" fmla="*/ 542 1 f507"/>
                  <a:gd name="f553" fmla="*/ 453 1 f508"/>
                  <a:gd name="f554" fmla="*/ 536 1 f507"/>
                  <a:gd name="f555" fmla="*/ 494 1 f508"/>
                  <a:gd name="f556" fmla="*/ 503 1 f507"/>
                  <a:gd name="f557" fmla="*/ 501 1 f508"/>
                  <a:gd name="f558" fmla="*/ 443 1 f507"/>
                  <a:gd name="f559" fmla="*/ 515 1 f508"/>
                  <a:gd name="f560" fmla="*/ 409 1 f507"/>
                  <a:gd name="f561" fmla="*/ 488 1 f508"/>
                  <a:gd name="f562" fmla="*/ 381 1 f507"/>
                  <a:gd name="f563" fmla="*/ 462 1 f508"/>
                  <a:gd name="f564" fmla="*/ 369 1 f507"/>
                  <a:gd name="f565" fmla="*/ 525 1 f508"/>
                  <a:gd name="f566" fmla="*/ 338 1 f507"/>
                  <a:gd name="f567" fmla="*/ 556 1 f508"/>
                  <a:gd name="f568" fmla="*/ 314 1 f507"/>
                  <a:gd name="f569" fmla="*/ 527 1 f508"/>
                  <a:gd name="f570" fmla="*/ 298 1 f507"/>
                  <a:gd name="f571" fmla="*/ 519 1 f508"/>
                  <a:gd name="f572" fmla="*/ 278 1 f507"/>
                  <a:gd name="f573" fmla="*/ 514 1 f508"/>
                  <a:gd name="f574" fmla="*/ 225 1 f507"/>
                  <a:gd name="f575" fmla="*/ 530 1 f508"/>
                  <a:gd name="f576" fmla="*/ 252 1 f507"/>
                  <a:gd name="f577" fmla="*/ 575 1 f508"/>
                  <a:gd name="f578" fmla="*/ 221 1 f507"/>
                  <a:gd name="f579" fmla="*/ 578 1 f508"/>
                  <a:gd name="f580" fmla="*/ 188 1 f507"/>
                  <a:gd name="f581" fmla="*/ 573 1 f508"/>
                  <a:gd name="f582" fmla="*/ 158 1 f507"/>
                  <a:gd name="f583" fmla="*/ 520 1 f508"/>
                  <a:gd name="f584" fmla="*/ 127 1 f507"/>
                  <a:gd name="f585" fmla="*/ 490 1 f508"/>
                  <a:gd name="f586" fmla="*/ 88 1 f507"/>
                  <a:gd name="f587" fmla="*/ 452 1 f508"/>
                  <a:gd name="f588" fmla="*/ 49 1 f507"/>
                  <a:gd name="f589" fmla="*/ 416 1 f508"/>
                  <a:gd name="f590" fmla="*/ 28 1 f507"/>
                  <a:gd name="f591" fmla="*/ 398 1 f508"/>
                  <a:gd name="f592" fmla="*/ 13 1 f507"/>
                  <a:gd name="f593" fmla="*/ 414 1 f508"/>
                  <a:gd name="f594" fmla="*/ 370 1 f508"/>
                  <a:gd name="f595" fmla="*/ 44 1 f507"/>
                  <a:gd name="f596" fmla="*/ 317 1 f508"/>
                  <a:gd name="f597" fmla="*/ 24 1 f507"/>
                  <a:gd name="f598" fmla="*/ 286 1 f508"/>
                  <a:gd name="f599" fmla="*/ 37 1 f507"/>
                  <a:gd name="f600" fmla="*/ 78 1 f507"/>
                  <a:gd name="f601" fmla="*/ 259 1 f508"/>
                  <a:gd name="f602" fmla="*/ 84 1 f507"/>
                  <a:gd name="f603" fmla="*/ 244 1 f508"/>
                  <a:gd name="f604" fmla="*/ 67 1 f507"/>
                  <a:gd name="f605" fmla="*/ 201 1 f508"/>
                  <a:gd name="f606" fmla="*/ 95 1 f507"/>
                  <a:gd name="f607" fmla="*/ 190 1 f508"/>
                  <a:gd name="f608" fmla="*/ 51 1 f507"/>
                  <a:gd name="f609" fmla="*/ 156 1 f508"/>
                  <a:gd name="f610" fmla="*/ 30 1 f507"/>
                  <a:gd name="f611" fmla="*/ 144 1 f508"/>
                  <a:gd name="f612" fmla="*/ 19 1 f507"/>
                  <a:gd name="f613" fmla="*/ 102 1 f508"/>
                  <a:gd name="f614" fmla="*/ 76 1 f507"/>
                  <a:gd name="f615" fmla="*/ 77 1 f508"/>
                  <a:gd name="f616" fmla="*/ 126 1 f507"/>
                  <a:gd name="f617" fmla="*/ 33 1 f508"/>
                  <a:gd name="f618" fmla="*/ 174 1 f507"/>
                  <a:gd name="f619" fmla="*/ 29 1 f508"/>
                  <a:gd name="f620" fmla="*/ 198 1 f507"/>
                  <a:gd name="f621" fmla="*/ 6 1 f508"/>
                  <a:gd name="f622" fmla="*/ 0 1 f507"/>
                  <a:gd name="f623" fmla="*/ f6 1 f507"/>
                  <a:gd name="f624" fmla="*/ 0 1 f508"/>
                  <a:gd name="f625" fmla="*/ f7 1 f508"/>
                  <a:gd name="f626" fmla="+- f509 0 f1"/>
                  <a:gd name="f627" fmla="*/ f622 f502 1"/>
                  <a:gd name="f628" fmla="*/ f623 f502 1"/>
                  <a:gd name="f629" fmla="*/ f625 f503 1"/>
                  <a:gd name="f630" fmla="*/ f624 f503 1"/>
                  <a:gd name="f631" fmla="*/ f510 f502 1"/>
                  <a:gd name="f632" fmla="*/ f511 f503 1"/>
                  <a:gd name="f633" fmla="*/ f512 f502 1"/>
                  <a:gd name="f634" fmla="*/ f513 f503 1"/>
                  <a:gd name="f635" fmla="*/ f514 f502 1"/>
                  <a:gd name="f636" fmla="*/ f515 f503 1"/>
                  <a:gd name="f637" fmla="*/ f516 f502 1"/>
                  <a:gd name="f638" fmla="*/ f517 f503 1"/>
                  <a:gd name="f639" fmla="*/ f518 f502 1"/>
                  <a:gd name="f640" fmla="*/ f519 f503 1"/>
                  <a:gd name="f641" fmla="*/ f520 f502 1"/>
                  <a:gd name="f642" fmla="*/ f521 f503 1"/>
                  <a:gd name="f643" fmla="*/ f522 f502 1"/>
                  <a:gd name="f644" fmla="*/ f523 f503 1"/>
                  <a:gd name="f645" fmla="*/ f524 f502 1"/>
                  <a:gd name="f646" fmla="*/ f525 f503 1"/>
                  <a:gd name="f647" fmla="*/ f526 f502 1"/>
                  <a:gd name="f648" fmla="*/ f527 f503 1"/>
                  <a:gd name="f649" fmla="*/ f528 f502 1"/>
                  <a:gd name="f650" fmla="*/ f529 f503 1"/>
                  <a:gd name="f651" fmla="*/ f530 f502 1"/>
                  <a:gd name="f652" fmla="*/ f531 f503 1"/>
                  <a:gd name="f653" fmla="*/ f532 f502 1"/>
                  <a:gd name="f654" fmla="*/ f533 f503 1"/>
                  <a:gd name="f655" fmla="*/ f534 f502 1"/>
                  <a:gd name="f656" fmla="*/ f535 f502 1"/>
                  <a:gd name="f657" fmla="*/ f536 f503 1"/>
                  <a:gd name="f658" fmla="*/ f537 f502 1"/>
                  <a:gd name="f659" fmla="*/ f538 f503 1"/>
                  <a:gd name="f660" fmla="*/ f539 f502 1"/>
                  <a:gd name="f661" fmla="*/ f540 f503 1"/>
                  <a:gd name="f662" fmla="*/ f541 f502 1"/>
                  <a:gd name="f663" fmla="*/ f542 f503 1"/>
                  <a:gd name="f664" fmla="*/ f543 f502 1"/>
                  <a:gd name="f665" fmla="*/ f544 f503 1"/>
                  <a:gd name="f666" fmla="*/ f545 f502 1"/>
                  <a:gd name="f667" fmla="*/ f546 f503 1"/>
                  <a:gd name="f668" fmla="*/ f547 f503 1"/>
                  <a:gd name="f669" fmla="*/ f548 f502 1"/>
                  <a:gd name="f670" fmla="*/ f549 f503 1"/>
                  <a:gd name="f671" fmla="*/ f550 f502 1"/>
                  <a:gd name="f672" fmla="*/ f551 f503 1"/>
                  <a:gd name="f673" fmla="*/ f552 f502 1"/>
                  <a:gd name="f674" fmla="*/ f553 f503 1"/>
                  <a:gd name="f675" fmla="*/ f554 f502 1"/>
                  <a:gd name="f676" fmla="*/ f555 f503 1"/>
                  <a:gd name="f677" fmla="*/ f556 f502 1"/>
                  <a:gd name="f678" fmla="*/ f557 f503 1"/>
                  <a:gd name="f679" fmla="*/ f558 f502 1"/>
                  <a:gd name="f680" fmla="*/ f559 f503 1"/>
                  <a:gd name="f681" fmla="*/ f560 f502 1"/>
                  <a:gd name="f682" fmla="*/ f561 f503 1"/>
                  <a:gd name="f683" fmla="*/ f562 f502 1"/>
                  <a:gd name="f684" fmla="*/ f563 f503 1"/>
                  <a:gd name="f685" fmla="*/ f564 f502 1"/>
                  <a:gd name="f686" fmla="*/ f565 f503 1"/>
                  <a:gd name="f687" fmla="*/ f566 f502 1"/>
                  <a:gd name="f688" fmla="*/ f567 f503 1"/>
                  <a:gd name="f689" fmla="*/ f568 f502 1"/>
                  <a:gd name="f690" fmla="*/ f569 f503 1"/>
                  <a:gd name="f691" fmla="*/ f570 f502 1"/>
                  <a:gd name="f692" fmla="*/ f571 f503 1"/>
                  <a:gd name="f693" fmla="*/ f572 f502 1"/>
                  <a:gd name="f694" fmla="*/ f573 f503 1"/>
                  <a:gd name="f695" fmla="*/ f574 f502 1"/>
                  <a:gd name="f696" fmla="*/ f575 f503 1"/>
                  <a:gd name="f697" fmla="*/ f576 f502 1"/>
                  <a:gd name="f698" fmla="*/ f577 f503 1"/>
                  <a:gd name="f699" fmla="*/ f578 f502 1"/>
                  <a:gd name="f700" fmla="*/ f579 f503 1"/>
                  <a:gd name="f701" fmla="*/ f580 f502 1"/>
                  <a:gd name="f702" fmla="*/ f581 f503 1"/>
                  <a:gd name="f703" fmla="*/ f582 f502 1"/>
                  <a:gd name="f704" fmla="*/ f583 f503 1"/>
                  <a:gd name="f705" fmla="*/ f584 f502 1"/>
                  <a:gd name="f706" fmla="*/ f585 f503 1"/>
                  <a:gd name="f707" fmla="*/ f586 f502 1"/>
                  <a:gd name="f708" fmla="*/ f587 f503 1"/>
                  <a:gd name="f709" fmla="*/ f588 f502 1"/>
                  <a:gd name="f710" fmla="*/ f589 f503 1"/>
                  <a:gd name="f711" fmla="*/ f590 f502 1"/>
                  <a:gd name="f712" fmla="*/ f591 f503 1"/>
                  <a:gd name="f713" fmla="*/ f592 f502 1"/>
                  <a:gd name="f714" fmla="*/ f593 f503 1"/>
                  <a:gd name="f715" fmla="*/ f594 f503 1"/>
                  <a:gd name="f716" fmla="*/ f595 f502 1"/>
                  <a:gd name="f717" fmla="*/ f596 f503 1"/>
                  <a:gd name="f718" fmla="*/ f597 f502 1"/>
                  <a:gd name="f719" fmla="*/ f598 f503 1"/>
                  <a:gd name="f720" fmla="*/ f599 f502 1"/>
                  <a:gd name="f721" fmla="*/ f600 f502 1"/>
                  <a:gd name="f722" fmla="*/ f601 f503 1"/>
                  <a:gd name="f723" fmla="*/ f602 f502 1"/>
                  <a:gd name="f724" fmla="*/ f603 f503 1"/>
                  <a:gd name="f725" fmla="*/ f604 f502 1"/>
                  <a:gd name="f726" fmla="*/ f605 f503 1"/>
                  <a:gd name="f727" fmla="*/ f606 f502 1"/>
                  <a:gd name="f728" fmla="*/ f607 f503 1"/>
                  <a:gd name="f729" fmla="*/ f608 f502 1"/>
                  <a:gd name="f730" fmla="*/ f609 f503 1"/>
                  <a:gd name="f731" fmla="*/ f610 f502 1"/>
                  <a:gd name="f732" fmla="*/ f611 f503 1"/>
                  <a:gd name="f733" fmla="*/ f612 f502 1"/>
                  <a:gd name="f734" fmla="*/ f613 f503 1"/>
                  <a:gd name="f735" fmla="*/ f614 f502 1"/>
                  <a:gd name="f736" fmla="*/ f615 f503 1"/>
                  <a:gd name="f737" fmla="*/ f616 f502 1"/>
                  <a:gd name="f738" fmla="*/ f617 f503 1"/>
                  <a:gd name="f739" fmla="*/ f618 f502 1"/>
                  <a:gd name="f740" fmla="*/ f619 f503 1"/>
                  <a:gd name="f741" fmla="*/ f620 f502 1"/>
                  <a:gd name="f742" fmla="*/ f621 f503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26">
                    <a:pos x="f631" y="f632"/>
                  </a:cxn>
                  <a:cxn ang="f626">
                    <a:pos x="f633" y="f634"/>
                  </a:cxn>
                  <a:cxn ang="f626">
                    <a:pos x="f635" y="f636"/>
                  </a:cxn>
                  <a:cxn ang="f626">
                    <a:pos x="f637" y="f638"/>
                  </a:cxn>
                  <a:cxn ang="f626">
                    <a:pos x="f639" y="f640"/>
                  </a:cxn>
                  <a:cxn ang="f626">
                    <a:pos x="f641" y="f642"/>
                  </a:cxn>
                  <a:cxn ang="f626">
                    <a:pos x="f643" y="f644"/>
                  </a:cxn>
                  <a:cxn ang="f626">
                    <a:pos x="f645" y="f646"/>
                  </a:cxn>
                  <a:cxn ang="f626">
                    <a:pos x="f647" y="f648"/>
                  </a:cxn>
                  <a:cxn ang="f626">
                    <a:pos x="f649" y="f650"/>
                  </a:cxn>
                  <a:cxn ang="f626">
                    <a:pos x="f651" y="f652"/>
                  </a:cxn>
                  <a:cxn ang="f626">
                    <a:pos x="f653" y="f654"/>
                  </a:cxn>
                  <a:cxn ang="f626">
                    <a:pos x="f655" y="f644"/>
                  </a:cxn>
                  <a:cxn ang="f626">
                    <a:pos x="f656" y="f657"/>
                  </a:cxn>
                  <a:cxn ang="f626">
                    <a:pos x="f658" y="f659"/>
                  </a:cxn>
                  <a:cxn ang="f626">
                    <a:pos x="f660" y="f661"/>
                  </a:cxn>
                  <a:cxn ang="f626">
                    <a:pos x="f662" y="f663"/>
                  </a:cxn>
                  <a:cxn ang="f626">
                    <a:pos x="f664" y="f665"/>
                  </a:cxn>
                  <a:cxn ang="f626">
                    <a:pos x="f666" y="f667"/>
                  </a:cxn>
                  <a:cxn ang="f626">
                    <a:pos x="f664" y="f668"/>
                  </a:cxn>
                  <a:cxn ang="f626">
                    <a:pos x="f669" y="f670"/>
                  </a:cxn>
                  <a:cxn ang="f626">
                    <a:pos x="f671" y="f672"/>
                  </a:cxn>
                  <a:cxn ang="f626">
                    <a:pos x="f673" y="f674"/>
                  </a:cxn>
                  <a:cxn ang="f626">
                    <a:pos x="f675" y="f676"/>
                  </a:cxn>
                  <a:cxn ang="f626">
                    <a:pos x="f677" y="f678"/>
                  </a:cxn>
                  <a:cxn ang="f626">
                    <a:pos x="f679" y="f680"/>
                  </a:cxn>
                  <a:cxn ang="f626">
                    <a:pos x="f681" y="f682"/>
                  </a:cxn>
                  <a:cxn ang="f626">
                    <a:pos x="f683" y="f684"/>
                  </a:cxn>
                  <a:cxn ang="f626">
                    <a:pos x="f685" y="f686"/>
                  </a:cxn>
                  <a:cxn ang="f626">
                    <a:pos x="f687" y="f688"/>
                  </a:cxn>
                  <a:cxn ang="f626">
                    <a:pos x="f689" y="f690"/>
                  </a:cxn>
                  <a:cxn ang="f626">
                    <a:pos x="f691" y="f692"/>
                  </a:cxn>
                  <a:cxn ang="f626">
                    <a:pos x="f693" y="f694"/>
                  </a:cxn>
                  <a:cxn ang="f626">
                    <a:pos x="f695" y="f696"/>
                  </a:cxn>
                  <a:cxn ang="f626">
                    <a:pos x="f697" y="f698"/>
                  </a:cxn>
                  <a:cxn ang="f626">
                    <a:pos x="f699" y="f700"/>
                  </a:cxn>
                  <a:cxn ang="f626">
                    <a:pos x="f701" y="f702"/>
                  </a:cxn>
                  <a:cxn ang="f626">
                    <a:pos x="f703" y="f704"/>
                  </a:cxn>
                  <a:cxn ang="f626">
                    <a:pos x="f705" y="f706"/>
                  </a:cxn>
                  <a:cxn ang="f626">
                    <a:pos x="f707" y="f708"/>
                  </a:cxn>
                  <a:cxn ang="f626">
                    <a:pos x="f709" y="f710"/>
                  </a:cxn>
                  <a:cxn ang="f626">
                    <a:pos x="f711" y="f712"/>
                  </a:cxn>
                  <a:cxn ang="f626">
                    <a:pos x="f713" y="f714"/>
                  </a:cxn>
                  <a:cxn ang="f626">
                    <a:pos x="f713" y="f715"/>
                  </a:cxn>
                  <a:cxn ang="f626">
                    <a:pos x="f716" y="f717"/>
                  </a:cxn>
                  <a:cxn ang="f626">
                    <a:pos x="f718" y="f719"/>
                  </a:cxn>
                  <a:cxn ang="f626">
                    <a:pos x="f720" y="f659"/>
                  </a:cxn>
                  <a:cxn ang="f626">
                    <a:pos x="f721" y="f722"/>
                  </a:cxn>
                  <a:cxn ang="f626">
                    <a:pos x="f723" y="f724"/>
                  </a:cxn>
                  <a:cxn ang="f626">
                    <a:pos x="f725" y="f726"/>
                  </a:cxn>
                  <a:cxn ang="f626">
                    <a:pos x="f727" y="f728"/>
                  </a:cxn>
                  <a:cxn ang="f626">
                    <a:pos x="f729" y="f730"/>
                  </a:cxn>
                  <a:cxn ang="f626">
                    <a:pos x="f731" y="f732"/>
                  </a:cxn>
                  <a:cxn ang="f626">
                    <a:pos x="f733" y="f734"/>
                  </a:cxn>
                  <a:cxn ang="f626">
                    <a:pos x="f735" y="f736"/>
                  </a:cxn>
                  <a:cxn ang="f626">
                    <a:pos x="f737" y="f738"/>
                  </a:cxn>
                  <a:cxn ang="f626">
                    <a:pos x="f739" y="f740"/>
                  </a:cxn>
                  <a:cxn ang="f626">
                    <a:pos x="f741" y="f742"/>
                  </a:cxn>
                </a:cxnLst>
                <a:rect l="f627" t="f630" r="f628" b="f629"/>
                <a:pathLst>
                  <a:path w="727" h="589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1"/>
                    </a:lnTo>
                    <a:lnTo>
                      <a:pt x="f13" y="f5"/>
                    </a:lnTo>
                    <a:lnTo>
                      <a:pt x="f14" y="f5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3" y="f27"/>
                    </a:lnTo>
                    <a:lnTo>
                      <a:pt x="f28" y="f27"/>
                    </a:lnTo>
                    <a:lnTo>
                      <a:pt x="f29" y="f30"/>
                    </a:lnTo>
                    <a:lnTo>
                      <a:pt x="f31" y="f30"/>
                    </a:lnTo>
                    <a:lnTo>
                      <a:pt x="f2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5" y="f37"/>
                    </a:lnTo>
                    <a:lnTo>
                      <a:pt x="f33" y="f38"/>
                    </a:lnTo>
                    <a:lnTo>
                      <a:pt x="f29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4" y="f46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58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70" y="f84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7" y="f89"/>
                    </a:lnTo>
                    <a:lnTo>
                      <a:pt x="f90" y="f91"/>
                    </a:lnTo>
                    <a:lnTo>
                      <a:pt x="f76" y="f92"/>
                    </a:lnTo>
                    <a:lnTo>
                      <a:pt x="f78" y="f93"/>
                    </a:lnTo>
                    <a:lnTo>
                      <a:pt x="f94" y="f95"/>
                    </a:lnTo>
                    <a:lnTo>
                      <a:pt x="f94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2"/>
                    </a:lnTo>
                    <a:lnTo>
                      <a:pt x="f106" y="f104"/>
                    </a:lnTo>
                    <a:lnTo>
                      <a:pt x="f107" y="f104"/>
                    </a:lnTo>
                    <a:lnTo>
                      <a:pt x="f108" y="f100"/>
                    </a:lnTo>
                    <a:lnTo>
                      <a:pt x="f109" y="f110"/>
                    </a:lnTo>
                    <a:lnTo>
                      <a:pt x="f111" y="f110"/>
                    </a:lnTo>
                    <a:lnTo>
                      <a:pt x="f112" y="f102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119" y="f120"/>
                    </a:lnTo>
                    <a:lnTo>
                      <a:pt x="f121" y="f122"/>
                    </a:lnTo>
                    <a:lnTo>
                      <a:pt x="f123" y="f124"/>
                    </a:lnTo>
                    <a:lnTo>
                      <a:pt x="f125" y="f15"/>
                    </a:lnTo>
                    <a:lnTo>
                      <a:pt x="f126" y="f127"/>
                    </a:lnTo>
                    <a:lnTo>
                      <a:pt x="f128" y="f127"/>
                    </a:lnTo>
                    <a:lnTo>
                      <a:pt x="f129" y="f15"/>
                    </a:ln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35"/>
                    </a:lnTo>
                    <a:lnTo>
                      <a:pt x="f135" y="f28"/>
                    </a:lnTo>
                    <a:lnTo>
                      <a:pt x="f136" y="f25"/>
                    </a:lnTo>
                    <a:lnTo>
                      <a:pt x="f137" y="f23"/>
                    </a:lnTo>
                    <a:lnTo>
                      <a:pt x="f138" y="f28"/>
                    </a:lnTo>
                    <a:lnTo>
                      <a:pt x="f139" y="f28"/>
                    </a:lnTo>
                    <a:lnTo>
                      <a:pt x="f140" y="f29"/>
                    </a:lnTo>
                    <a:lnTo>
                      <a:pt x="f141" y="f29"/>
                    </a:lnTo>
                    <a:lnTo>
                      <a:pt x="f142" y="f23"/>
                    </a:lnTo>
                    <a:lnTo>
                      <a:pt x="f143" y="f40"/>
                    </a:lnTo>
                    <a:lnTo>
                      <a:pt x="f144" y="f44"/>
                    </a:lnTo>
                    <a:lnTo>
                      <a:pt x="f145" y="f47"/>
                    </a:lnTo>
                    <a:lnTo>
                      <a:pt x="f146" y="f47"/>
                    </a:lnTo>
                    <a:lnTo>
                      <a:pt x="f147" y="f148"/>
                    </a:lnTo>
                    <a:lnTo>
                      <a:pt x="f149" y="f40"/>
                    </a:lnTo>
                    <a:lnTo>
                      <a:pt x="f150" y="f19"/>
                    </a:lnTo>
                    <a:lnTo>
                      <a:pt x="f151" y="f152"/>
                    </a:lnTo>
                    <a:lnTo>
                      <a:pt x="f151" y="f153"/>
                    </a:lnTo>
                    <a:lnTo>
                      <a:pt x="f154" y="f131"/>
                    </a:lnTo>
                    <a:lnTo>
                      <a:pt x="f155" y="f120"/>
                    </a:lnTo>
                    <a:lnTo>
                      <a:pt x="f156" y="f157"/>
                    </a:lnTo>
                    <a:lnTo>
                      <a:pt x="f158" y="f159"/>
                    </a:lnTo>
                    <a:lnTo>
                      <a:pt x="f160" y="f12"/>
                    </a:lnTo>
                    <a:lnTo>
                      <a:pt x="f154" y="f161"/>
                    </a:lnTo>
                    <a:lnTo>
                      <a:pt x="f162" y="f10"/>
                    </a:lnTo>
                    <a:lnTo>
                      <a:pt x="f163" y="f104"/>
                    </a:lnTo>
                    <a:lnTo>
                      <a:pt x="f164" y="f100"/>
                    </a:lnTo>
                    <a:lnTo>
                      <a:pt x="f165" y="f100"/>
                    </a:lnTo>
                    <a:lnTo>
                      <a:pt x="f166" y="f167"/>
                    </a:lnTo>
                    <a:lnTo>
                      <a:pt x="f168" y="f104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14"/>
                    </a:lnTo>
                    <a:lnTo>
                      <a:pt x="f174" y="f161"/>
                    </a:lnTo>
                    <a:lnTo>
                      <a:pt x="f175" y="f12"/>
                    </a:lnTo>
                    <a:lnTo>
                      <a:pt x="f176" y="f116"/>
                    </a:lnTo>
                    <a:lnTo>
                      <a:pt x="f177" y="f127"/>
                    </a:lnTo>
                    <a:lnTo>
                      <a:pt x="f178" y="f179"/>
                    </a:lnTo>
                    <a:lnTo>
                      <a:pt x="f180" y="f17"/>
                    </a:lnTo>
                    <a:lnTo>
                      <a:pt x="f181" y="f182"/>
                    </a:lnTo>
                    <a:lnTo>
                      <a:pt x="f183" y="f133"/>
                    </a:lnTo>
                    <a:lnTo>
                      <a:pt x="f184" y="f185"/>
                    </a:lnTo>
                    <a:lnTo>
                      <a:pt x="f186" y="f187"/>
                    </a:lnTo>
                    <a:lnTo>
                      <a:pt x="f188" y="f35"/>
                    </a:lnTo>
                    <a:lnTo>
                      <a:pt x="f189" y="f29"/>
                    </a:lnTo>
                    <a:lnTo>
                      <a:pt x="f190" y="f191"/>
                    </a:lnTo>
                    <a:lnTo>
                      <a:pt x="f192" y="f47"/>
                    </a:lnTo>
                    <a:lnTo>
                      <a:pt x="f6" y="f49"/>
                    </a:lnTo>
                    <a:lnTo>
                      <a:pt x="f193" y="f194"/>
                    </a:lnTo>
                    <a:lnTo>
                      <a:pt x="f195" y="f196"/>
                    </a:lnTo>
                    <a:lnTo>
                      <a:pt x="f197" y="f198"/>
                    </a:lnTo>
                    <a:lnTo>
                      <a:pt x="f199" y="f200"/>
                    </a:lnTo>
                    <a:lnTo>
                      <a:pt x="f181" y="f200"/>
                    </a:lnTo>
                    <a:lnTo>
                      <a:pt x="f201" y="f202"/>
                    </a:lnTo>
                    <a:lnTo>
                      <a:pt x="f203" y="f204"/>
                    </a:lnTo>
                    <a:lnTo>
                      <a:pt x="f205" y="f206"/>
                    </a:lnTo>
                    <a:lnTo>
                      <a:pt x="f207" y="f208"/>
                    </a:lnTo>
                    <a:lnTo>
                      <a:pt x="f209" y="f210"/>
                    </a:lnTo>
                    <a:lnTo>
                      <a:pt x="f211" y="f212"/>
                    </a:lnTo>
                    <a:lnTo>
                      <a:pt x="f213" y="f214"/>
                    </a:lnTo>
                    <a:lnTo>
                      <a:pt x="f215" y="f57"/>
                    </a:lnTo>
                    <a:lnTo>
                      <a:pt x="f216" y="f217"/>
                    </a:lnTo>
                    <a:lnTo>
                      <a:pt x="f166" y="f218"/>
                    </a:lnTo>
                    <a:lnTo>
                      <a:pt x="f219" y="f220"/>
                    </a:lnTo>
                    <a:lnTo>
                      <a:pt x="f221" y="f59"/>
                    </a:lnTo>
                    <a:lnTo>
                      <a:pt x="f164" y="f222"/>
                    </a:lnTo>
                    <a:lnTo>
                      <a:pt x="f223" y="f224"/>
                    </a:lnTo>
                    <a:lnTo>
                      <a:pt x="f225" y="f226"/>
                    </a:lnTo>
                    <a:lnTo>
                      <a:pt x="f225" y="f227"/>
                    </a:lnTo>
                    <a:lnTo>
                      <a:pt x="f223" y="f228"/>
                    </a:lnTo>
                    <a:lnTo>
                      <a:pt x="f223" y="f62"/>
                    </a:lnTo>
                    <a:lnTo>
                      <a:pt x="f163" y="f229"/>
                    </a:lnTo>
                    <a:lnTo>
                      <a:pt x="f230" y="f231"/>
                    </a:lnTo>
                    <a:lnTo>
                      <a:pt x="f162" y="f232"/>
                    </a:lnTo>
                    <a:lnTo>
                      <a:pt x="f163" y="f233"/>
                    </a:lnTo>
                    <a:lnTo>
                      <a:pt x="f164" y="f234"/>
                    </a:lnTo>
                    <a:lnTo>
                      <a:pt x="f235" y="f90"/>
                    </a:lnTo>
                    <a:lnTo>
                      <a:pt x="f236" y="f237"/>
                    </a:lnTo>
                    <a:lnTo>
                      <a:pt x="f238" y="f82"/>
                    </a:lnTo>
                    <a:lnTo>
                      <a:pt x="f236" y="f97"/>
                    </a:lnTo>
                    <a:lnTo>
                      <a:pt x="f165" y="f239"/>
                    </a:lnTo>
                    <a:lnTo>
                      <a:pt x="f240" y="f241"/>
                    </a:lnTo>
                    <a:lnTo>
                      <a:pt x="f223" y="f241"/>
                    </a:lnTo>
                    <a:lnTo>
                      <a:pt x="f150" y="f242"/>
                    </a:lnTo>
                    <a:lnTo>
                      <a:pt x="f243" y="f241"/>
                    </a:lnTo>
                    <a:lnTo>
                      <a:pt x="f144" y="f244"/>
                    </a:lnTo>
                    <a:lnTo>
                      <a:pt x="f245" y="f246"/>
                    </a:lnTo>
                    <a:lnTo>
                      <a:pt x="f247" y="f248"/>
                    </a:lnTo>
                    <a:lnTo>
                      <a:pt x="f247" y="f105"/>
                    </a:lnTo>
                    <a:lnTo>
                      <a:pt x="f249" y="f250"/>
                    </a:lnTo>
                    <a:lnTo>
                      <a:pt x="f251" y="f252"/>
                    </a:lnTo>
                    <a:lnTo>
                      <a:pt x="f253" y="f252"/>
                    </a:lnTo>
                    <a:lnTo>
                      <a:pt x="f254" y="f255"/>
                    </a:lnTo>
                    <a:lnTo>
                      <a:pt x="f256" y="f257"/>
                    </a:lnTo>
                    <a:lnTo>
                      <a:pt x="f139" y="f106"/>
                    </a:lnTo>
                    <a:lnTo>
                      <a:pt x="f258" y="f259"/>
                    </a:lnTo>
                    <a:lnTo>
                      <a:pt x="f260" y="f261"/>
                    </a:lnTo>
                    <a:lnTo>
                      <a:pt x="f138" y="f262"/>
                    </a:lnTo>
                    <a:lnTo>
                      <a:pt x="f263" y="f264"/>
                    </a:lnTo>
                    <a:lnTo>
                      <a:pt x="f265" y="f264"/>
                    </a:lnTo>
                    <a:lnTo>
                      <a:pt x="f137" y="f262"/>
                    </a:lnTo>
                    <a:lnTo>
                      <a:pt x="f136" y="f262"/>
                    </a:lnTo>
                    <a:lnTo>
                      <a:pt x="f266" y="f264"/>
                    </a:lnTo>
                    <a:lnTo>
                      <a:pt x="f267" y="f268"/>
                    </a:lnTo>
                    <a:lnTo>
                      <a:pt x="f269" y="f270"/>
                    </a:lnTo>
                    <a:lnTo>
                      <a:pt x="f271" y="f108"/>
                    </a:lnTo>
                    <a:lnTo>
                      <a:pt x="f272" y="f273"/>
                    </a:lnTo>
                    <a:lnTo>
                      <a:pt x="f134" y="f274"/>
                    </a:lnTo>
                    <a:lnTo>
                      <a:pt x="f134" y="f275"/>
                    </a:lnTo>
                    <a:lnTo>
                      <a:pt x="f272" y="f276"/>
                    </a:lnTo>
                    <a:lnTo>
                      <a:pt x="f272" y="f117"/>
                    </a:lnTo>
                    <a:lnTo>
                      <a:pt x="f277" y="f278"/>
                    </a:lnTo>
                    <a:lnTo>
                      <a:pt x="f279" y="f280"/>
                    </a:lnTo>
                    <a:lnTo>
                      <a:pt x="f281" y="f280"/>
                    </a:lnTo>
                    <a:lnTo>
                      <a:pt x="f281" y="f282"/>
                    </a:lnTo>
                    <a:lnTo>
                      <a:pt x="f283" y="f284"/>
                    </a:lnTo>
                    <a:lnTo>
                      <a:pt x="f285" y="f286"/>
                    </a:lnTo>
                    <a:lnTo>
                      <a:pt x="f287" y="f288"/>
                    </a:lnTo>
                    <a:lnTo>
                      <a:pt x="f129" y="f126"/>
                    </a:lnTo>
                    <a:lnTo>
                      <a:pt x="f128" y="f289"/>
                    </a:lnTo>
                    <a:lnTo>
                      <a:pt x="f290" y="f289"/>
                    </a:lnTo>
                    <a:lnTo>
                      <a:pt x="f291" y="f126"/>
                    </a:lnTo>
                    <a:lnTo>
                      <a:pt x="f292" y="f293"/>
                    </a:lnTo>
                    <a:lnTo>
                      <a:pt x="f293" y="f125"/>
                    </a:lnTo>
                    <a:lnTo>
                      <a:pt x="f294" y="f293"/>
                    </a:lnTo>
                    <a:lnTo>
                      <a:pt x="f119" y="f126"/>
                    </a:lnTo>
                    <a:lnTo>
                      <a:pt x="f295" y="f296"/>
                    </a:lnTo>
                    <a:lnTo>
                      <a:pt x="f275" y="f297"/>
                    </a:lnTo>
                    <a:lnTo>
                      <a:pt x="f270" y="f298"/>
                    </a:lnTo>
                    <a:lnTo>
                      <a:pt x="f261" y="f128"/>
                    </a:lnTo>
                    <a:lnTo>
                      <a:pt x="f299" y="f300"/>
                    </a:lnTo>
                    <a:lnTo>
                      <a:pt x="f301" y="f302"/>
                    </a:lnTo>
                    <a:lnTo>
                      <a:pt x="f255" y="f129"/>
                    </a:lnTo>
                    <a:lnTo>
                      <a:pt x="f303" y="f300"/>
                    </a:lnTo>
                    <a:lnTo>
                      <a:pt x="f304" y="f296"/>
                    </a:lnTo>
                    <a:lnTo>
                      <a:pt x="f305" y="f125"/>
                    </a:lnTo>
                    <a:lnTo>
                      <a:pt x="f103" y="f284"/>
                    </a:lnTo>
                    <a:lnTo>
                      <a:pt x="f306" y="f307"/>
                    </a:lnTo>
                    <a:lnTo>
                      <a:pt x="f101" y="f121"/>
                    </a:lnTo>
                    <a:lnTo>
                      <a:pt x="f242" y="f308"/>
                    </a:lnTo>
                    <a:lnTo>
                      <a:pt x="f97" y="f309"/>
                    </a:lnTo>
                    <a:lnTo>
                      <a:pt x="f80" y="f115"/>
                    </a:lnTo>
                    <a:lnTo>
                      <a:pt x="f78" y="f295"/>
                    </a:lnTo>
                    <a:lnTo>
                      <a:pt x="f310" y="f276"/>
                    </a:lnTo>
                    <a:lnTo>
                      <a:pt x="f82" y="f275"/>
                    </a:lnTo>
                    <a:lnTo>
                      <a:pt x="f74" y="f109"/>
                    </a:lnTo>
                    <a:lnTo>
                      <a:pt x="f311" y="f312"/>
                    </a:lnTo>
                    <a:lnTo>
                      <a:pt x="f313" y="f314"/>
                    </a:lnTo>
                    <a:lnTo>
                      <a:pt x="f231" y="f315"/>
                    </a:lnTo>
                    <a:lnTo>
                      <a:pt x="f316" y="f117"/>
                    </a:lnTo>
                    <a:lnTo>
                      <a:pt x="f316" y="f280"/>
                    </a:lnTo>
                    <a:lnTo>
                      <a:pt x="f317" y="f286"/>
                    </a:lnTo>
                    <a:lnTo>
                      <a:pt x="f64" y="f296"/>
                    </a:lnTo>
                    <a:lnTo>
                      <a:pt x="f232" y="f129"/>
                    </a:lnTo>
                    <a:lnTo>
                      <a:pt x="f318" y="f319"/>
                    </a:lnTo>
                    <a:lnTo>
                      <a:pt x="f232" y="f320"/>
                    </a:lnTo>
                    <a:lnTo>
                      <a:pt x="f64" y="f134"/>
                    </a:lnTo>
                    <a:lnTo>
                      <a:pt x="f317" y="f321"/>
                    </a:lnTo>
                    <a:lnTo>
                      <a:pt x="f322" y="f323"/>
                    </a:lnTo>
                    <a:lnTo>
                      <a:pt x="f324" y="f325"/>
                    </a:lnTo>
                    <a:lnTo>
                      <a:pt x="f326" y="f325"/>
                    </a:lnTo>
                    <a:lnTo>
                      <a:pt x="f327" y="f328"/>
                    </a:lnTo>
                    <a:lnTo>
                      <a:pt x="f329" y="f323"/>
                    </a:lnTo>
                    <a:lnTo>
                      <a:pt x="f330" y="f136"/>
                    </a:lnTo>
                    <a:lnTo>
                      <a:pt x="f220" y="f266"/>
                    </a:lnTo>
                    <a:lnTo>
                      <a:pt x="f218" y="f331"/>
                    </a:lnTo>
                    <a:lnTo>
                      <a:pt x="f218" y="f285"/>
                    </a:lnTo>
                    <a:lnTo>
                      <a:pt x="f220" y="f132"/>
                    </a:lnTo>
                    <a:lnTo>
                      <a:pt x="f218" y="f332"/>
                    </a:lnTo>
                    <a:lnTo>
                      <a:pt x="f333" y="f130"/>
                    </a:lnTo>
                    <a:lnTo>
                      <a:pt x="f334" y="f130"/>
                    </a:lnTo>
                    <a:lnTo>
                      <a:pt x="f335" y="f336"/>
                    </a:lnTo>
                    <a:lnTo>
                      <a:pt x="f337" y="f336"/>
                    </a:lnTo>
                    <a:lnTo>
                      <a:pt x="f53" y="f130"/>
                    </a:lnTo>
                    <a:lnTo>
                      <a:pt x="f53" y="f338"/>
                    </a:lnTo>
                    <a:lnTo>
                      <a:pt x="f339" y="f319"/>
                    </a:lnTo>
                    <a:lnTo>
                      <a:pt x="f339" y="f340"/>
                    </a:lnTo>
                    <a:lnTo>
                      <a:pt x="f200" y="f341"/>
                    </a:lnTo>
                    <a:lnTo>
                      <a:pt x="f342" y="f129"/>
                    </a:lnTo>
                    <a:lnTo>
                      <a:pt x="f343" y="f344"/>
                    </a:lnTo>
                    <a:lnTo>
                      <a:pt x="f51" y="f341"/>
                    </a:lnTo>
                    <a:lnTo>
                      <a:pt x="f49" y="f338"/>
                    </a:lnTo>
                    <a:lnTo>
                      <a:pt x="f345" y="f130"/>
                    </a:lnTo>
                    <a:lnTo>
                      <a:pt x="f47" y="f338"/>
                    </a:lnTo>
                    <a:lnTo>
                      <a:pt x="f44" y="f338"/>
                    </a:lnTo>
                    <a:lnTo>
                      <a:pt x="f191" y="f346"/>
                    </a:lnTo>
                    <a:lnTo>
                      <a:pt x="f40" y="f347"/>
                    </a:lnTo>
                    <a:lnTo>
                      <a:pt x="f23" y="f348"/>
                    </a:lnTo>
                    <a:lnTo>
                      <a:pt x="f35" y="f128"/>
                    </a:lnTo>
                    <a:lnTo>
                      <a:pt x="f133" y="f348"/>
                    </a:lnTo>
                    <a:lnTo>
                      <a:pt x="f349" y="f300"/>
                    </a:lnTo>
                    <a:lnTo>
                      <a:pt x="f127" y="f302"/>
                    </a:lnTo>
                    <a:lnTo>
                      <a:pt x="f350" y="f340"/>
                    </a:lnTo>
                    <a:lnTo>
                      <a:pt x="f351" y="f130"/>
                    </a:lnTo>
                    <a:lnTo>
                      <a:pt x="f352" y="f332"/>
                    </a:lnTo>
                    <a:lnTo>
                      <a:pt x="f170" y="f353"/>
                    </a:lnTo>
                    <a:lnTo>
                      <a:pt x="f172" y="f277"/>
                    </a:lnTo>
                    <a:lnTo>
                      <a:pt x="f351" y="f269"/>
                    </a:lnTo>
                    <a:lnTo>
                      <a:pt x="f116" y="f354"/>
                    </a:lnTo>
                    <a:lnTo>
                      <a:pt x="f355" y="f356"/>
                    </a:lnTo>
                    <a:lnTo>
                      <a:pt x="f349" y="f357"/>
                    </a:lnTo>
                    <a:lnTo>
                      <a:pt x="f131" y="f358"/>
                    </a:lnTo>
                    <a:lnTo>
                      <a:pt x="f179" y="f359"/>
                    </a:lnTo>
                    <a:lnTo>
                      <a:pt x="f15" y="f258"/>
                    </a:lnTo>
                    <a:lnTo>
                      <a:pt x="f157" y="f358"/>
                    </a:lnTo>
                    <a:lnTo>
                      <a:pt x="f159" y="f260"/>
                    </a:lnTo>
                    <a:lnTo>
                      <a:pt x="f12" y="f357"/>
                    </a:lnTo>
                    <a:lnTo>
                      <a:pt x="f161" y="f263"/>
                    </a:lnTo>
                    <a:lnTo>
                      <a:pt x="f172" y="f357"/>
                    </a:lnTo>
                    <a:lnTo>
                      <a:pt x="f170" y="f358"/>
                    </a:lnTo>
                    <a:lnTo>
                      <a:pt x="f360" y="f361"/>
                    </a:lnTo>
                    <a:lnTo>
                      <a:pt x="f104" y="f362"/>
                    </a:lnTo>
                    <a:lnTo>
                      <a:pt x="f167" y="f7"/>
                    </a:lnTo>
                    <a:lnTo>
                      <a:pt x="f9" y="f7"/>
                    </a:lnTo>
                    <a:lnTo>
                      <a:pt x="f363" y="f364"/>
                    </a:lnTo>
                    <a:lnTo>
                      <a:pt x="f365" y="f366"/>
                    </a:lnTo>
                    <a:lnTo>
                      <a:pt x="f95" y="f367"/>
                    </a:lnTo>
                    <a:lnTo>
                      <a:pt x="f368" y="f361"/>
                    </a:lnTo>
                    <a:lnTo>
                      <a:pt x="f369" y="f358"/>
                    </a:lnTo>
                    <a:lnTo>
                      <a:pt x="f93" y="f370"/>
                    </a:lnTo>
                    <a:lnTo>
                      <a:pt x="f93" y="f272"/>
                    </a:lnTo>
                    <a:lnTo>
                      <a:pt x="f371" y="f281"/>
                    </a:lnTo>
                    <a:lnTo>
                      <a:pt x="f2" y="f287"/>
                    </a:lnTo>
                    <a:lnTo>
                      <a:pt x="f372" y="f338"/>
                    </a:lnTo>
                    <a:lnTo>
                      <a:pt x="f373" y="f340"/>
                    </a:lnTo>
                    <a:lnTo>
                      <a:pt x="f374" y="f341"/>
                    </a:lnTo>
                    <a:lnTo>
                      <a:pt x="f84" y="f344"/>
                    </a:lnTo>
                    <a:lnTo>
                      <a:pt x="f375" y="f376"/>
                    </a:lnTo>
                    <a:lnTo>
                      <a:pt x="f377" y="f348"/>
                    </a:lnTo>
                    <a:lnTo>
                      <a:pt x="f378" y="f298"/>
                    </a:lnTo>
                    <a:lnTo>
                      <a:pt x="f379" y="f290"/>
                    </a:lnTo>
                    <a:lnTo>
                      <a:pt x="f380" y="f291"/>
                    </a:lnTo>
                    <a:lnTo>
                      <a:pt x="f381" y="f125"/>
                    </a:lnTo>
                    <a:lnTo>
                      <a:pt x="f382" y="f123"/>
                    </a:lnTo>
                    <a:lnTo>
                      <a:pt x="f382" y="f383"/>
                    </a:lnTo>
                    <a:lnTo>
                      <a:pt x="f384" y="f385"/>
                    </a:lnTo>
                    <a:lnTo>
                      <a:pt x="f73" y="f115"/>
                    </a:lnTo>
                    <a:lnTo>
                      <a:pt x="f69" y="f386"/>
                    </a:lnTo>
                    <a:lnTo>
                      <a:pt x="f387" y="f314"/>
                    </a:lnTo>
                    <a:lnTo>
                      <a:pt x="f54" y="f111"/>
                    </a:lnTo>
                    <a:lnTo>
                      <a:pt x="f52" y="f388"/>
                    </a:lnTo>
                    <a:lnTo>
                      <a:pt x="f50" y="f389"/>
                    </a:lnTo>
                    <a:lnTo>
                      <a:pt x="f390" y="f391"/>
                    </a:lnTo>
                    <a:lnTo>
                      <a:pt x="f392" y="f268"/>
                    </a:lnTo>
                    <a:lnTo>
                      <a:pt x="f393" y="f264"/>
                    </a:lnTo>
                    <a:lnTo>
                      <a:pt x="f394" y="f264"/>
                    </a:lnTo>
                    <a:lnTo>
                      <a:pt x="f395" y="f268"/>
                    </a:lnTo>
                    <a:lnTo>
                      <a:pt x="f396" y="f273"/>
                    </a:lnTo>
                    <a:lnTo>
                      <a:pt x="f396" y="f303"/>
                    </a:lnTo>
                    <a:lnTo>
                      <a:pt x="f397" y="f305"/>
                    </a:lnTo>
                    <a:lnTo>
                      <a:pt x="f398" y="f248"/>
                    </a:lnTo>
                    <a:lnTo>
                      <a:pt x="f399" y="f400"/>
                    </a:lnTo>
                    <a:lnTo>
                      <a:pt x="f401" y="f402"/>
                    </a:lnTo>
                    <a:lnTo>
                      <a:pt x="f403" y="f99"/>
                    </a:lnTo>
                    <a:lnTo>
                      <a:pt x="f396" y="f404"/>
                    </a:lnTo>
                    <a:lnTo>
                      <a:pt x="f39" y="f78"/>
                    </a:lnTo>
                    <a:lnTo>
                      <a:pt x="f405" y="f310"/>
                    </a:lnTo>
                    <a:lnTo>
                      <a:pt x="f38" y="f78"/>
                    </a:lnTo>
                    <a:lnTo>
                      <a:pt x="f406" y="f94"/>
                    </a:lnTo>
                    <a:lnTo>
                      <a:pt x="f407" y="f408"/>
                    </a:lnTo>
                    <a:lnTo>
                      <a:pt x="f34" y="f242"/>
                    </a:lnTo>
                    <a:lnTo>
                      <a:pt x="f34" y="f402"/>
                    </a:lnTo>
                    <a:lnTo>
                      <a:pt x="f32" y="f409"/>
                    </a:lnTo>
                    <a:lnTo>
                      <a:pt x="f30" y="f400"/>
                    </a:lnTo>
                    <a:lnTo>
                      <a:pt x="f26" y="f306"/>
                    </a:lnTo>
                    <a:lnTo>
                      <a:pt x="f24" y="f306"/>
                    </a:lnTo>
                    <a:lnTo>
                      <a:pt x="f22" y="f410"/>
                    </a:lnTo>
                    <a:lnTo>
                      <a:pt x="f411" y="f412"/>
                    </a:lnTo>
                    <a:lnTo>
                      <a:pt x="f16" y="f101"/>
                    </a:lnTo>
                    <a:lnTo>
                      <a:pt x="f5" y="f239"/>
                    </a:lnTo>
                    <a:lnTo>
                      <a:pt x="f16" y="f94"/>
                    </a:lnTo>
                    <a:lnTo>
                      <a:pt x="f413" y="f76"/>
                    </a:lnTo>
                    <a:lnTo>
                      <a:pt x="f414" y="f68"/>
                    </a:lnTo>
                    <a:lnTo>
                      <a:pt x="f22" y="f66"/>
                    </a:lnTo>
                    <a:lnTo>
                      <a:pt x="f22" y="f415"/>
                    </a:lnTo>
                    <a:lnTo>
                      <a:pt x="f24" y="f416"/>
                    </a:lnTo>
                    <a:lnTo>
                      <a:pt x="f30" y="f417"/>
                    </a:lnTo>
                    <a:lnTo>
                      <a:pt x="f418" y="f329"/>
                    </a:lnTo>
                    <a:lnTo>
                      <a:pt x="f38" y="f330"/>
                    </a:lnTo>
                    <a:lnTo>
                      <a:pt x="f419" y="f220"/>
                    </a:lnTo>
                    <a:lnTo>
                      <a:pt x="f420" y="f421"/>
                    </a:lnTo>
                    <a:lnTo>
                      <a:pt x="f422" y="f423"/>
                    </a:lnTo>
                    <a:lnTo>
                      <a:pt x="f424" y="f208"/>
                    </a:lnTo>
                    <a:lnTo>
                      <a:pt x="f425" y="f426"/>
                    </a:lnTo>
                    <a:lnTo>
                      <a:pt x="f403" y="f427"/>
                    </a:lnTo>
                    <a:lnTo>
                      <a:pt x="f396" y="f202"/>
                    </a:lnTo>
                    <a:lnTo>
                      <a:pt x="f428" y="f200"/>
                    </a:lnTo>
                    <a:lnTo>
                      <a:pt x="f38" y="f429"/>
                    </a:lnTo>
                    <a:lnTo>
                      <a:pt x="f406" y="f430"/>
                    </a:lnTo>
                    <a:lnTo>
                      <a:pt x="f407" y="f49"/>
                    </a:lnTo>
                    <a:lnTo>
                      <a:pt x="f407" y="f431"/>
                    </a:lnTo>
                    <a:lnTo>
                      <a:pt x="f406" y="f44"/>
                    </a:lnTo>
                    <a:lnTo>
                      <a:pt x="f432" y="f44"/>
                    </a:lnTo>
                    <a:lnTo>
                      <a:pt x="f39" y="f148"/>
                    </a:lnTo>
                    <a:lnTo>
                      <a:pt x="f396" y="f42"/>
                    </a:lnTo>
                    <a:lnTo>
                      <a:pt x="f397" y="f40"/>
                    </a:lnTo>
                    <a:lnTo>
                      <a:pt x="f424" y="f31"/>
                    </a:lnTo>
                    <a:lnTo>
                      <a:pt x="f428" y="f35"/>
                    </a:lnTo>
                    <a:lnTo>
                      <a:pt x="f432" y="f187"/>
                    </a:lnTo>
                    <a:lnTo>
                      <a:pt x="f433" y="f133"/>
                    </a:lnTo>
                    <a:lnTo>
                      <a:pt x="f419" y="f153"/>
                    </a:lnTo>
                    <a:lnTo>
                      <a:pt x="f39" y="f17"/>
                    </a:lnTo>
                    <a:lnTo>
                      <a:pt x="f434" y="f17"/>
                    </a:lnTo>
                    <a:lnTo>
                      <a:pt x="f435" y="f153"/>
                    </a:lnTo>
                    <a:lnTo>
                      <a:pt x="f436" y="f152"/>
                    </a:lnTo>
                    <a:lnTo>
                      <a:pt x="f437" y="f152"/>
                    </a:lnTo>
                    <a:lnTo>
                      <a:pt x="f438" y="f182"/>
                    </a:lnTo>
                    <a:lnTo>
                      <a:pt x="f46" y="f153"/>
                    </a:lnTo>
                    <a:lnTo>
                      <a:pt x="f439" y="f153"/>
                    </a:lnTo>
                    <a:lnTo>
                      <a:pt x="f440" y="f441"/>
                    </a:lnTo>
                    <a:lnTo>
                      <a:pt x="f442" y="f441"/>
                    </a:lnTo>
                    <a:lnTo>
                      <a:pt x="f50" y="f17"/>
                    </a:lnTo>
                    <a:lnTo>
                      <a:pt x="f50" y="f349"/>
                    </a:lnTo>
                    <a:lnTo>
                      <a:pt x="f442" y="f124"/>
                    </a:lnTo>
                    <a:lnTo>
                      <a:pt x="f392" y="f443"/>
                    </a:lnTo>
                    <a:lnTo>
                      <a:pt x="f444" y="f445"/>
                    </a:lnTo>
                    <a:lnTo>
                      <a:pt x="f446" y="f447"/>
                    </a:lnTo>
                    <a:lnTo>
                      <a:pt x="f448" y="f172"/>
                    </a:lnTo>
                    <a:lnTo>
                      <a:pt x="f446" y="f449"/>
                    </a:lnTo>
                    <a:lnTo>
                      <a:pt x="f436" y="f450"/>
                    </a:lnTo>
                    <a:lnTo>
                      <a:pt x="f451" y="f8"/>
                    </a:lnTo>
                    <a:lnTo>
                      <a:pt x="f452" y="f453"/>
                    </a:lnTo>
                    <a:lnTo>
                      <a:pt x="f452" y="f454"/>
                    </a:lnTo>
                    <a:lnTo>
                      <a:pt x="f455" y="f454"/>
                    </a:lnTo>
                    <a:lnTo>
                      <a:pt x="f46" y="f453"/>
                    </a:lnTo>
                    <a:lnTo>
                      <a:pt x="f392" y="f456"/>
                    </a:lnTo>
                    <a:lnTo>
                      <a:pt x="f439" y="f456"/>
                    </a:lnTo>
                    <a:lnTo>
                      <a:pt x="f440" y="f8"/>
                    </a:lnTo>
                    <a:lnTo>
                      <a:pt x="f390" y="f453"/>
                    </a:lnTo>
                    <a:lnTo>
                      <a:pt x="f54" y="f457"/>
                    </a:lnTo>
                    <a:lnTo>
                      <a:pt x="f458" y="f459"/>
                    </a:lnTo>
                    <a:lnTo>
                      <a:pt x="f387" y="f371"/>
                    </a:lnTo>
                    <a:lnTo>
                      <a:pt x="f460" y="f2"/>
                    </a:lnTo>
                    <a:lnTo>
                      <a:pt x="f440" y="f91"/>
                    </a:lnTo>
                    <a:lnTo>
                      <a:pt x="f438" y="f372"/>
                    </a:lnTo>
                    <a:lnTo>
                      <a:pt x="f451" y="f461"/>
                    </a:lnTo>
                    <a:lnTo>
                      <a:pt x="f462" y="f463"/>
                    </a:lnTo>
                    <a:lnTo>
                      <a:pt x="f395" y="f464"/>
                    </a:lnTo>
                    <a:lnTo>
                      <a:pt x="f399" y="f465"/>
                    </a:lnTo>
                    <a:lnTo>
                      <a:pt x="f466" y="f467"/>
                    </a:lnTo>
                    <a:lnTo>
                      <a:pt x="f428" y="f468"/>
                    </a:lnTo>
                    <a:lnTo>
                      <a:pt x="f405" y="f469"/>
                    </a:lnTo>
                    <a:lnTo>
                      <a:pt x="f432" y="f469"/>
                    </a:lnTo>
                    <a:lnTo>
                      <a:pt x="f433" y="f470"/>
                    </a:lnTo>
                    <a:lnTo>
                      <a:pt x="f471" y="f472"/>
                    </a:lnTo>
                    <a:lnTo>
                      <a:pt x="f473" y="f474"/>
                    </a:lnTo>
                    <a:lnTo>
                      <a:pt x="f37" y="f467"/>
                    </a:lnTo>
                    <a:lnTo>
                      <a:pt x="f406" y="f467"/>
                    </a:lnTo>
                    <a:lnTo>
                      <a:pt x="f475" y="f474"/>
                    </a:lnTo>
                    <a:lnTo>
                      <a:pt x="f34" y="f476"/>
                    </a:lnTo>
                    <a:lnTo>
                      <a:pt x="f477" y="f75"/>
                    </a:lnTo>
                    <a:lnTo>
                      <a:pt x="f478" y="f73"/>
                    </a:lnTo>
                    <a:lnTo>
                      <a:pt x="f479" y="f480"/>
                    </a:lnTo>
                    <a:lnTo>
                      <a:pt x="f22" y="f481"/>
                    </a:lnTo>
                    <a:lnTo>
                      <a:pt x="f26" y="f482"/>
                    </a:lnTo>
                    <a:lnTo>
                      <a:pt x="f418" y="f458"/>
                    </a:lnTo>
                    <a:lnTo>
                      <a:pt x="f38" y="f52"/>
                    </a:lnTo>
                    <a:lnTo>
                      <a:pt x="f422" y="f390"/>
                    </a:lnTo>
                    <a:lnTo>
                      <a:pt x="f398" y="f440"/>
                    </a:lnTo>
                    <a:lnTo>
                      <a:pt x="f483" y="f440"/>
                    </a:lnTo>
                    <a:lnTo>
                      <a:pt x="f484" y="f439"/>
                    </a:lnTo>
                    <a:lnTo>
                      <a:pt x="f485" y="f486"/>
                    </a:lnTo>
                    <a:lnTo>
                      <a:pt x="f437" y="f455"/>
                    </a:lnTo>
                    <a:lnTo>
                      <a:pt x="f438" y="f483"/>
                    </a:lnTo>
                    <a:lnTo>
                      <a:pt x="f487" y="f435"/>
                    </a:lnTo>
                    <a:lnTo>
                      <a:pt x="f439" y="f488"/>
                    </a:lnTo>
                    <a:lnTo>
                      <a:pt x="f61" y="f488"/>
                    </a:lnTo>
                    <a:lnTo>
                      <a:pt x="f489" y="f490"/>
                    </a:lnTo>
                    <a:lnTo>
                      <a:pt x="f480" y="f401"/>
                    </a:lnTo>
                    <a:lnTo>
                      <a:pt x="f491" y="f39"/>
                    </a:lnTo>
                    <a:lnTo>
                      <a:pt x="f384" y="f38"/>
                    </a:lnTo>
                    <a:lnTo>
                      <a:pt x="f380" y="f418"/>
                    </a:lnTo>
                    <a:lnTo>
                      <a:pt x="f476" y="f27"/>
                    </a:lnTo>
                    <a:lnTo>
                      <a:pt x="f468" y="f477"/>
                    </a:lnTo>
                    <a:lnTo>
                      <a:pt x="f492" y="f27"/>
                    </a:lnTo>
                    <a:lnTo>
                      <a:pt x="f377" y="f34"/>
                    </a:lnTo>
                    <a:lnTo>
                      <a:pt x="f493" y="f475"/>
                    </a:lnTo>
                    <a:lnTo>
                      <a:pt x="f494" y="f37"/>
                    </a:lnTo>
                    <a:lnTo>
                      <a:pt x="f372" y="f495"/>
                    </a:lnTo>
                    <a:lnTo>
                      <a:pt x="f496" y="f475"/>
                    </a:lnTo>
                    <a:lnTo>
                      <a:pt x="f368" y="f418"/>
                    </a:lnTo>
                    <a:lnTo>
                      <a:pt x="f365" y="f418"/>
                    </a:lnTo>
                    <a:lnTo>
                      <a:pt x="f454" y="f407"/>
                    </a:lnTo>
                    <a:lnTo>
                      <a:pt x="f497" y="f30"/>
                    </a:lnTo>
                    <a:lnTo>
                      <a:pt x="f454" y="f498"/>
                    </a:lnTo>
                    <a:lnTo>
                      <a:pt x="f96" y="f414"/>
                    </a:lnTo>
                    <a:lnTo>
                      <a:pt x="f499" y="f413"/>
                    </a:lnTo>
                    <a:lnTo>
                      <a:pt x="f500" y="f16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2A0EAF26-B3BE-46EA-B491-09F55730BA92}"/>
                  </a:ext>
                </a:extLst>
              </p:cNvPr>
              <p:cNvSpPr/>
              <p:nvPr/>
            </p:nvSpPr>
            <p:spPr>
              <a:xfrm rot="21447621">
                <a:off x="4635734" y="1962394"/>
                <a:ext cx="739886" cy="722677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1304"/>
                  <a:gd name="f8" fmla="val 1344"/>
                  <a:gd name="f9" fmla="val 296"/>
                  <a:gd name="f10" fmla="val 312"/>
                  <a:gd name="f11" fmla="val 317"/>
                  <a:gd name="f12" fmla="val 1"/>
                  <a:gd name="f13" fmla="val 321"/>
                  <a:gd name="f14" fmla="val 4"/>
                  <a:gd name="f15" fmla="val 323"/>
                  <a:gd name="f16" fmla="val 8"/>
                  <a:gd name="f17" fmla="val 324"/>
                  <a:gd name="f18" fmla="val 12"/>
                  <a:gd name="f19" fmla="val 325"/>
                  <a:gd name="f20" fmla="val 15"/>
                  <a:gd name="f21" fmla="val 329"/>
                  <a:gd name="f22" fmla="val 18"/>
                  <a:gd name="f23" fmla="val 347"/>
                  <a:gd name="f24" fmla="val 24"/>
                  <a:gd name="f25" fmla="val 355"/>
                  <a:gd name="f26" fmla="val 29"/>
                  <a:gd name="f27" fmla="val 359"/>
                  <a:gd name="f28" fmla="val 37"/>
                  <a:gd name="f29" fmla="val 42"/>
                  <a:gd name="f30" fmla="val 47"/>
                  <a:gd name="f31" fmla="val 361"/>
                  <a:gd name="f32" fmla="val 52"/>
                  <a:gd name="f33" fmla="val 363"/>
                  <a:gd name="f34" fmla="val 57"/>
                  <a:gd name="f35" fmla="val 367"/>
                  <a:gd name="f36" fmla="val 59"/>
                  <a:gd name="f37" fmla="val 383"/>
                  <a:gd name="f38" fmla="val 63"/>
                  <a:gd name="f39" fmla="val 387"/>
                  <a:gd name="f40" fmla="val 65"/>
                  <a:gd name="f41" fmla="val 390"/>
                  <a:gd name="f42" fmla="val 69"/>
                  <a:gd name="f43" fmla="val 391"/>
                  <a:gd name="f44" fmla="val 72"/>
                  <a:gd name="f45" fmla="val 393"/>
                  <a:gd name="f46" fmla="val 74"/>
                  <a:gd name="f47" fmla="val 398"/>
                  <a:gd name="f48" fmla="val 76"/>
                  <a:gd name="f49" fmla="val 407"/>
                  <a:gd name="f50" fmla="val 78"/>
                  <a:gd name="f51" fmla="val 413"/>
                  <a:gd name="f52" fmla="val 81"/>
                  <a:gd name="f53" fmla="val 418"/>
                  <a:gd name="f54" fmla="val 88"/>
                  <a:gd name="f55" fmla="val 420"/>
                  <a:gd name="f56" fmla="val 94"/>
                  <a:gd name="f57" fmla="val 118"/>
                  <a:gd name="f58" fmla="val 421"/>
                  <a:gd name="f59" fmla="val 125"/>
                  <a:gd name="f60" fmla="val 422"/>
                  <a:gd name="f61" fmla="val 130"/>
                  <a:gd name="f62" fmla="val 425"/>
                  <a:gd name="f63" fmla="val 132"/>
                  <a:gd name="f64" fmla="val 430"/>
                  <a:gd name="f65" fmla="val 133"/>
                  <a:gd name="f66" fmla="val 442"/>
                  <a:gd name="f67" fmla="val 139"/>
                  <a:gd name="f68" fmla="val 447"/>
                  <a:gd name="f69" fmla="val 141"/>
                  <a:gd name="f70" fmla="val 451"/>
                  <a:gd name="f71" fmla="val 453"/>
                  <a:gd name="f72" fmla="val 138"/>
                  <a:gd name="f73" fmla="val 454"/>
                  <a:gd name="f74" fmla="val 455"/>
                  <a:gd name="f75" fmla="val 457"/>
                  <a:gd name="f76" fmla="val 121"/>
                  <a:gd name="f77" fmla="val 461"/>
                  <a:gd name="f78" fmla="val 120"/>
                  <a:gd name="f79" fmla="val 465"/>
                  <a:gd name="f80" fmla="val 470"/>
                  <a:gd name="f81" fmla="val 123"/>
                  <a:gd name="f82" fmla="val 476"/>
                  <a:gd name="f83" fmla="val 481"/>
                  <a:gd name="f84" fmla="val 126"/>
                  <a:gd name="f85" fmla="val 485"/>
                  <a:gd name="f86" fmla="val 127"/>
                  <a:gd name="f87" fmla="val 487"/>
                  <a:gd name="f88" fmla="val 486"/>
                  <a:gd name="f89" fmla="val 480"/>
                  <a:gd name="f90" fmla="val 113"/>
                  <a:gd name="f91" fmla="val 472"/>
                  <a:gd name="f92" fmla="val 105"/>
                  <a:gd name="f93" fmla="val 463"/>
                  <a:gd name="f94" fmla="val 98"/>
                  <a:gd name="f95" fmla="val 92"/>
                  <a:gd name="f96" fmla="val 87"/>
                  <a:gd name="f97" fmla="val 458"/>
                  <a:gd name="f98" fmla="val 82"/>
                  <a:gd name="f99" fmla="val 79"/>
                  <a:gd name="f100" fmla="val 469"/>
                  <a:gd name="f101" fmla="val 479"/>
                  <a:gd name="f102" fmla="val 70"/>
                  <a:gd name="f103" fmla="val 67"/>
                  <a:gd name="f104" fmla="val 494"/>
                  <a:gd name="f105" fmla="val 502"/>
                  <a:gd name="f106" fmla="val 64"/>
                  <a:gd name="f107" fmla="val 509"/>
                  <a:gd name="f108" fmla="val 511"/>
                  <a:gd name="f109" fmla="val 66"/>
                  <a:gd name="f110" fmla="val 513"/>
                  <a:gd name="f111" fmla="val 68"/>
                  <a:gd name="f112" fmla="val 517"/>
                  <a:gd name="f113" fmla="val 518"/>
                  <a:gd name="f114" fmla="val 520"/>
                  <a:gd name="f115" fmla="val 522"/>
                  <a:gd name="f116" fmla="val 528"/>
                  <a:gd name="f117" fmla="val 529"/>
                  <a:gd name="f118" fmla="val 531"/>
                  <a:gd name="f119" fmla="val 71"/>
                  <a:gd name="f120" fmla="val 534"/>
                  <a:gd name="f121" fmla="val 535"/>
                  <a:gd name="f122" fmla="val 77"/>
                  <a:gd name="f123" fmla="val 536"/>
                  <a:gd name="f124" fmla="val 537"/>
                  <a:gd name="f125" fmla="val 80"/>
                  <a:gd name="f126" fmla="val 541"/>
                  <a:gd name="f127" fmla="val 547"/>
                  <a:gd name="f128" fmla="val 561"/>
                  <a:gd name="f129" fmla="val 565"/>
                  <a:gd name="f130" fmla="val 566"/>
                  <a:gd name="f131" fmla="val 86"/>
                  <a:gd name="f132" fmla="val 91"/>
                  <a:gd name="f133" fmla="val 97"/>
                  <a:gd name="f134" fmla="val 103"/>
                  <a:gd name="f135" fmla="val 568"/>
                  <a:gd name="f136" fmla="val 106"/>
                  <a:gd name="f137" fmla="val 571"/>
                  <a:gd name="f138" fmla="val 108"/>
                  <a:gd name="f139" fmla="val 578"/>
                  <a:gd name="f140" fmla="val 109"/>
                  <a:gd name="f141" fmla="val 586"/>
                  <a:gd name="f142" fmla="val 110"/>
                  <a:gd name="f143" fmla="val 592"/>
                  <a:gd name="f144" fmla="val 596"/>
                  <a:gd name="f145" fmla="val 598"/>
                  <a:gd name="f146" fmla="val 102"/>
                  <a:gd name="f147" fmla="val 600"/>
                  <a:gd name="f148" fmla="val 93"/>
                  <a:gd name="f149" fmla="val 601"/>
                  <a:gd name="f150" fmla="val 84"/>
                  <a:gd name="f151" fmla="val 602"/>
                  <a:gd name="f152" fmla="val 61"/>
                  <a:gd name="f153" fmla="val 51"/>
                  <a:gd name="f154" fmla="val 597"/>
                  <a:gd name="f155" fmla="val 41"/>
                  <a:gd name="f156" fmla="val 32"/>
                  <a:gd name="f157" fmla="val 599"/>
                  <a:gd name="f158" fmla="val 27"/>
                  <a:gd name="f159" fmla="val 608"/>
                  <a:gd name="f160" fmla="val 614"/>
                  <a:gd name="f161" fmla="val 14"/>
                  <a:gd name="f162" fmla="val 624"/>
                  <a:gd name="f163" fmla="val 9"/>
                  <a:gd name="f164" fmla="val 627"/>
                  <a:gd name="f165" fmla="val 10"/>
                  <a:gd name="f166" fmla="val 628"/>
                  <a:gd name="f167" fmla="val 16"/>
                  <a:gd name="f168" fmla="val 629"/>
                  <a:gd name="f169" fmla="val 23"/>
                  <a:gd name="f170" fmla="val 630"/>
                  <a:gd name="f171" fmla="val 633"/>
                  <a:gd name="f172" fmla="val 33"/>
                  <a:gd name="f173" fmla="val 638"/>
                  <a:gd name="f174" fmla="val 36"/>
                  <a:gd name="f175" fmla="val 642"/>
                  <a:gd name="f176" fmla="val 40"/>
                  <a:gd name="f177" fmla="val 648"/>
                  <a:gd name="f178" fmla="val 45"/>
                  <a:gd name="f179" fmla="val 652"/>
                  <a:gd name="f180" fmla="val 49"/>
                  <a:gd name="f181" fmla="val 654"/>
                  <a:gd name="f182" fmla="val 659"/>
                  <a:gd name="f183" fmla="val 663"/>
                  <a:gd name="f184" fmla="val 668"/>
                  <a:gd name="f185" fmla="val 672"/>
                  <a:gd name="f186" fmla="val 676"/>
                  <a:gd name="f187" fmla="val 679"/>
                  <a:gd name="f188" fmla="val 683"/>
                  <a:gd name="f189" fmla="val 691"/>
                  <a:gd name="f190" fmla="val 62"/>
                  <a:gd name="f191" fmla="val 704"/>
                  <a:gd name="f192" fmla="val 716"/>
                  <a:gd name="f193" fmla="val 58"/>
                  <a:gd name="f194" fmla="val 729"/>
                  <a:gd name="f195" fmla="val 53"/>
                  <a:gd name="f196" fmla="val 734"/>
                  <a:gd name="f197" fmla="val 736"/>
                  <a:gd name="f198" fmla="val 738"/>
                  <a:gd name="f199" fmla="val 740"/>
                  <a:gd name="f200" fmla="val 60"/>
                  <a:gd name="f201" fmla="val 745"/>
                  <a:gd name="f202" fmla="val 752"/>
                  <a:gd name="f203" fmla="val 762"/>
                  <a:gd name="f204" fmla="val 56"/>
                  <a:gd name="f205" fmla="val 772"/>
                  <a:gd name="f206" fmla="val 778"/>
                  <a:gd name="f207" fmla="val 779"/>
                  <a:gd name="f208" fmla="val 781"/>
                  <a:gd name="f209" fmla="val 785"/>
                  <a:gd name="f210" fmla="val 791"/>
                  <a:gd name="f211" fmla="val 799"/>
                  <a:gd name="f212" fmla="val 83"/>
                  <a:gd name="f213" fmla="val 811"/>
                  <a:gd name="f214" fmla="val 826"/>
                  <a:gd name="f215" fmla="val 828"/>
                  <a:gd name="f216" fmla="val 830"/>
                  <a:gd name="f217" fmla="val 100"/>
                  <a:gd name="f218" fmla="val 829"/>
                  <a:gd name="f219" fmla="val 820"/>
                  <a:gd name="f220" fmla="val 114"/>
                  <a:gd name="f221" fmla="val 117"/>
                  <a:gd name="f222" fmla="val 825"/>
                  <a:gd name="f223" fmla="val 119"/>
                  <a:gd name="f224" fmla="val 834"/>
                  <a:gd name="f225" fmla="val 840"/>
                  <a:gd name="f226" fmla="val 128"/>
                  <a:gd name="f227" fmla="val 844"/>
                  <a:gd name="f228" fmla="val 848"/>
                  <a:gd name="f229" fmla="val 850"/>
                  <a:gd name="f230" fmla="val 144"/>
                  <a:gd name="f231" fmla="val 849"/>
                  <a:gd name="f232" fmla="val 148"/>
                  <a:gd name="f233" fmla="val 847"/>
                  <a:gd name="f234" fmla="val 152"/>
                  <a:gd name="f235" fmla="val 155"/>
                  <a:gd name="f236" fmla="val 842"/>
                  <a:gd name="f237" fmla="val 158"/>
                  <a:gd name="f238" fmla="val 843"/>
                  <a:gd name="f239" fmla="val 163"/>
                  <a:gd name="f240" fmla="val 169"/>
                  <a:gd name="f241" fmla="val 854"/>
                  <a:gd name="f242" fmla="val 175"/>
                  <a:gd name="f243" fmla="val 860"/>
                  <a:gd name="f244" fmla="val 182"/>
                  <a:gd name="f245" fmla="val 862"/>
                  <a:gd name="f246" fmla="val 188"/>
                  <a:gd name="f247" fmla="val 864"/>
                  <a:gd name="f248" fmla="val 193"/>
                  <a:gd name="f249" fmla="val 869"/>
                  <a:gd name="f250" fmla="val 196"/>
                  <a:gd name="f251" fmla="val 877"/>
                  <a:gd name="f252" fmla="val 199"/>
                  <a:gd name="f253" fmla="val 887"/>
                  <a:gd name="f254" fmla="val 204"/>
                  <a:gd name="f255" fmla="val 896"/>
                  <a:gd name="f256" fmla="val 210"/>
                  <a:gd name="f257" fmla="val 904"/>
                  <a:gd name="f258" fmla="val 216"/>
                  <a:gd name="f259" fmla="val 909"/>
                  <a:gd name="f260" fmla="val 219"/>
                  <a:gd name="f261" fmla="val 913"/>
                  <a:gd name="f262" fmla="val 221"/>
                  <a:gd name="f263" fmla="val 916"/>
                  <a:gd name="f264" fmla="val 920"/>
                  <a:gd name="f265" fmla="val 222"/>
                  <a:gd name="f266" fmla="val 923"/>
                  <a:gd name="f267" fmla="val 224"/>
                  <a:gd name="f268" fmla="val 924"/>
                  <a:gd name="f269" fmla="val 229"/>
                  <a:gd name="f270" fmla="val 234"/>
                  <a:gd name="f271" fmla="val 239"/>
                  <a:gd name="f272" fmla="val 925"/>
                  <a:gd name="f273" fmla="val 242"/>
                  <a:gd name="f274" fmla="val 931"/>
                  <a:gd name="f275" fmla="val 244"/>
                  <a:gd name="f276" fmla="val 936"/>
                  <a:gd name="f277" fmla="val 245"/>
                  <a:gd name="f278" fmla="val 940"/>
                  <a:gd name="f279" fmla="val 246"/>
                  <a:gd name="f280" fmla="val 942"/>
                  <a:gd name="f281" fmla="val 250"/>
                  <a:gd name="f282" fmla="val 941"/>
                  <a:gd name="f283" fmla="val 259"/>
                  <a:gd name="f284" fmla="val 937"/>
                  <a:gd name="f285" fmla="val 269"/>
                  <a:gd name="f286" fmla="val 277"/>
                  <a:gd name="f287" fmla="val 928"/>
                  <a:gd name="f288" fmla="val 280"/>
                  <a:gd name="f289" fmla="val 927"/>
                  <a:gd name="f290" fmla="val 283"/>
                  <a:gd name="f291" fmla="val 287"/>
                  <a:gd name="f292" fmla="val 293"/>
                  <a:gd name="f293" fmla="val 921"/>
                  <a:gd name="f294" fmla="val 299"/>
                  <a:gd name="f295" fmla="val 917"/>
                  <a:gd name="f296" fmla="val 302"/>
                  <a:gd name="f297" fmla="val 912"/>
                  <a:gd name="f298" fmla="val 305"/>
                  <a:gd name="f299" fmla="val 908"/>
                  <a:gd name="f300" fmla="val 309"/>
                  <a:gd name="f301" fmla="val 906"/>
                  <a:gd name="f302" fmla="val 314"/>
                  <a:gd name="f303" fmla="val 907"/>
                  <a:gd name="f304" fmla="val 319"/>
                  <a:gd name="f305" fmla="val 911"/>
                  <a:gd name="f306" fmla="val 332"/>
                  <a:gd name="f307" fmla="val 915"/>
                  <a:gd name="f308" fmla="val 336"/>
                  <a:gd name="f309" fmla="val 340"/>
                  <a:gd name="f310" fmla="val 344"/>
                  <a:gd name="f311" fmla="val 932"/>
                  <a:gd name="f312" fmla="val 934"/>
                  <a:gd name="f313" fmla="val 350"/>
                  <a:gd name="f314" fmla="val 933"/>
                  <a:gd name="f315" fmla="val 353"/>
                  <a:gd name="f316" fmla="val 930"/>
                  <a:gd name="f317" fmla="val 357"/>
                  <a:gd name="f318" fmla="val 935"/>
                  <a:gd name="f319" fmla="val 364"/>
                  <a:gd name="f320" fmla="val 939"/>
                  <a:gd name="f321" fmla="val 943"/>
                  <a:gd name="f322" fmla="val 369"/>
                  <a:gd name="f323" fmla="val 948"/>
                  <a:gd name="f324" fmla="val 375"/>
                  <a:gd name="f325" fmla="val 952"/>
                  <a:gd name="f326" fmla="val 384"/>
                  <a:gd name="f327" fmla="val 957"/>
                  <a:gd name="f328" fmla="val 397"/>
                  <a:gd name="f329" fmla="val 960"/>
                  <a:gd name="f330" fmla="val 404"/>
                  <a:gd name="f331" fmla="val 962"/>
                  <a:gd name="f332" fmla="val 408"/>
                  <a:gd name="f333" fmla="val 965"/>
                  <a:gd name="f334" fmla="val 410"/>
                  <a:gd name="f335" fmla="val 968"/>
                  <a:gd name="f336" fmla="val 971"/>
                  <a:gd name="f337" fmla="val 419"/>
                  <a:gd name="f338" fmla="val 975"/>
                  <a:gd name="f339" fmla="val 429"/>
                  <a:gd name="f340" fmla="val 977"/>
                  <a:gd name="f341" fmla="val 438"/>
                  <a:gd name="f342" fmla="val 979"/>
                  <a:gd name="f343" fmla="val 444"/>
                  <a:gd name="f344" fmla="val 984"/>
                  <a:gd name="f345" fmla="val 448"/>
                  <a:gd name="f346" fmla="val 992"/>
                  <a:gd name="f347" fmla="val 452"/>
                  <a:gd name="f348" fmla="val 1000"/>
                  <a:gd name="f349" fmla="val 1008"/>
                  <a:gd name="f350" fmla="val 467"/>
                  <a:gd name="f351" fmla="val 1013"/>
                  <a:gd name="f352" fmla="val 1016"/>
                  <a:gd name="f353" fmla="val 483"/>
                  <a:gd name="f354" fmla="val 1019"/>
                  <a:gd name="f355" fmla="val 1023"/>
                  <a:gd name="f356" fmla="val 1027"/>
                  <a:gd name="f357" fmla="val 1032"/>
                  <a:gd name="f358" fmla="val 488"/>
                  <a:gd name="f359" fmla="val 1034"/>
                  <a:gd name="f360" fmla="val 489"/>
                  <a:gd name="f361" fmla="val 1035"/>
                  <a:gd name="f362" fmla="val 490"/>
                  <a:gd name="f363" fmla="val 1037"/>
                  <a:gd name="f364" fmla="val 1039"/>
                  <a:gd name="f365" fmla="val 1040"/>
                  <a:gd name="f366" fmla="val 482"/>
                  <a:gd name="f367" fmla="val 1041"/>
                  <a:gd name="f368" fmla="val 1043"/>
                  <a:gd name="f369" fmla="val 1045"/>
                  <a:gd name="f370" fmla="val 1052"/>
                  <a:gd name="f371" fmla="val 1060"/>
                  <a:gd name="f372" fmla="val 1067"/>
                  <a:gd name="f373" fmla="val 492"/>
                  <a:gd name="f374" fmla="val 1074"/>
                  <a:gd name="f375" fmla="val 500"/>
                  <a:gd name="f376" fmla="val 1084"/>
                  <a:gd name="f377" fmla="val 516"/>
                  <a:gd name="f378" fmla="val 1091"/>
                  <a:gd name="f379" fmla="val 526"/>
                  <a:gd name="f380" fmla="val 1107"/>
                  <a:gd name="f381" fmla="val 546"/>
                  <a:gd name="f382" fmla="val 1114"/>
                  <a:gd name="f383" fmla="val 555"/>
                  <a:gd name="f384" fmla="val 1118"/>
                  <a:gd name="f385" fmla="val 563"/>
                  <a:gd name="f386" fmla="val 1122"/>
                  <a:gd name="f387" fmla="val 569"/>
                  <a:gd name="f388" fmla="val 1128"/>
                  <a:gd name="f389" fmla="val 1153"/>
                  <a:gd name="f390" fmla="val 1161"/>
                  <a:gd name="f391" fmla="val 574"/>
                  <a:gd name="f392" fmla="val 1168"/>
                  <a:gd name="f393" fmla="val 582"/>
                  <a:gd name="f394" fmla="val 1174"/>
                  <a:gd name="f395" fmla="val 591"/>
                  <a:gd name="f396" fmla="val 1178"/>
                  <a:gd name="f397" fmla="val 1181"/>
                  <a:gd name="f398" fmla="val 609"/>
                  <a:gd name="f399" fmla="val 1182"/>
                  <a:gd name="f400" fmla="val 615"/>
                  <a:gd name="f401" fmla="val 1185"/>
                  <a:gd name="f402" fmla="val 621"/>
                  <a:gd name="f403" fmla="val 1192"/>
                  <a:gd name="f404" fmla="val 626"/>
                  <a:gd name="f405" fmla="val 1200"/>
                  <a:gd name="f406" fmla="val 1209"/>
                  <a:gd name="f407" fmla="val 634"/>
                  <a:gd name="f408" fmla="val 1211"/>
                  <a:gd name="f409" fmla="val 635"/>
                  <a:gd name="f410" fmla="val 1213"/>
                  <a:gd name="f411" fmla="val 631"/>
                  <a:gd name="f412" fmla="val 1212"/>
                  <a:gd name="f413" fmla="val 625"/>
                  <a:gd name="f414" fmla="val 1210"/>
                  <a:gd name="f415" fmla="val 622"/>
                  <a:gd name="f416" fmla="val 620"/>
                  <a:gd name="f417" fmla="val 1216"/>
                  <a:gd name="f418" fmla="val 1222"/>
                  <a:gd name="f419" fmla="val 1229"/>
                  <a:gd name="f420" fmla="val 1249"/>
                  <a:gd name="f421" fmla="val 649"/>
                  <a:gd name="f422" fmla="val 1254"/>
                  <a:gd name="f423" fmla="val 655"/>
                  <a:gd name="f424" fmla="val 1260"/>
                  <a:gd name="f425" fmla="val 661"/>
                  <a:gd name="f426" fmla="val 1266"/>
                  <a:gd name="f427" fmla="val 664"/>
                  <a:gd name="f428" fmla="val 1276"/>
                  <a:gd name="f429" fmla="val 1280"/>
                  <a:gd name="f430" fmla="val 666"/>
                  <a:gd name="f431" fmla="val 1284"/>
                  <a:gd name="f432" fmla="val 1289"/>
                  <a:gd name="f433" fmla="val 1297"/>
                  <a:gd name="f434" fmla="val 695"/>
                  <a:gd name="f435" fmla="val 1299"/>
                  <a:gd name="f436" fmla="val 700"/>
                  <a:gd name="f437" fmla="val 708"/>
                  <a:gd name="f438" fmla="val 1296"/>
                  <a:gd name="f439" fmla="val 715"/>
                  <a:gd name="f440" fmla="val 1292"/>
                  <a:gd name="f441" fmla="val 724"/>
                  <a:gd name="f442" fmla="val 1291"/>
                  <a:gd name="f443" fmla="val 732"/>
                  <a:gd name="f444" fmla="val 1295"/>
                  <a:gd name="f445" fmla="val 1300"/>
                  <a:gd name="f446" fmla="val 747"/>
                  <a:gd name="f447" fmla="val 755"/>
                  <a:gd name="f448" fmla="val 764"/>
                  <a:gd name="f449" fmla="val 1302"/>
                  <a:gd name="f450" fmla="val 774"/>
                  <a:gd name="f451" fmla="val 782"/>
                  <a:gd name="f452" fmla="val 1290"/>
                  <a:gd name="f453" fmla="val 788"/>
                  <a:gd name="f454" fmla="val 1285"/>
                  <a:gd name="f455" fmla="val 792"/>
                  <a:gd name="f456" fmla="val 1282"/>
                  <a:gd name="f457" fmla="val 797"/>
                  <a:gd name="f458" fmla="val 802"/>
                  <a:gd name="f459" fmla="val 1274"/>
                  <a:gd name="f460" fmla="val 808"/>
                  <a:gd name="f461" fmla="val 1268"/>
                  <a:gd name="f462" fmla="val 810"/>
                  <a:gd name="f463" fmla="val 1263"/>
                  <a:gd name="f464" fmla="val 1257"/>
                  <a:gd name="f465" fmla="val 803"/>
                  <a:gd name="f466" fmla="val 1251"/>
                  <a:gd name="f467" fmla="val 1243"/>
                  <a:gd name="f468" fmla="val 1236"/>
                  <a:gd name="f469" fmla="val 796"/>
                  <a:gd name="f470" fmla="val 1230"/>
                  <a:gd name="f471" fmla="val 794"/>
                  <a:gd name="f472" fmla="val 1227"/>
                  <a:gd name="f473" fmla="val 1224"/>
                  <a:gd name="f474" fmla="val 789"/>
                  <a:gd name="f475" fmla="val 1220"/>
                  <a:gd name="f476" fmla="val 787"/>
                  <a:gd name="f477" fmla="val 1214"/>
                  <a:gd name="f478" fmla="val 1204"/>
                  <a:gd name="f479" fmla="val 795"/>
                  <a:gd name="f480" fmla="val 1203"/>
                  <a:gd name="f481" fmla="val 1206"/>
                  <a:gd name="f482" fmla="val 816"/>
                  <a:gd name="f483" fmla="val 821"/>
                  <a:gd name="f484" fmla="val 827"/>
                  <a:gd name="f485" fmla="val 1201"/>
                  <a:gd name="f486" fmla="val 833"/>
                  <a:gd name="f487" fmla="val 1202"/>
                  <a:gd name="f488" fmla="val 838"/>
                  <a:gd name="f489" fmla="val 1205"/>
                  <a:gd name="f490" fmla="val 1207"/>
                  <a:gd name="f491" fmla="val 1208"/>
                  <a:gd name="f492" fmla="val 857"/>
                  <a:gd name="f493" fmla="val 865"/>
                  <a:gd name="f494" fmla="val 1198"/>
                  <a:gd name="f495" fmla="val 874"/>
                  <a:gd name="f496" fmla="val 1189"/>
                  <a:gd name="f497" fmla="val 881"/>
                  <a:gd name="f498" fmla="val 1179"/>
                  <a:gd name="f499" fmla="val 889"/>
                  <a:gd name="f500" fmla="val 1171"/>
                  <a:gd name="f501" fmla="val 897"/>
                  <a:gd name="f502" fmla="val 1164"/>
                  <a:gd name="f503" fmla="val 902"/>
                  <a:gd name="f504" fmla="val 1158"/>
                  <a:gd name="f505" fmla="val 1151"/>
                  <a:gd name="f506" fmla="val 905"/>
                  <a:gd name="f507" fmla="val 1142"/>
                  <a:gd name="f508" fmla="val 1132"/>
                  <a:gd name="f509" fmla="val 910"/>
                  <a:gd name="f510" fmla="val 1117"/>
                  <a:gd name="f511" fmla="val 1105"/>
                  <a:gd name="f512" fmla="val 1094"/>
                  <a:gd name="f513" fmla="val 926"/>
                  <a:gd name="f514" fmla="val 1078"/>
                  <a:gd name="f515" fmla="val 1071"/>
                  <a:gd name="f516" fmla="val 1064"/>
                  <a:gd name="f517" fmla="val 945"/>
                  <a:gd name="f518" fmla="val 1058"/>
                  <a:gd name="f519" fmla="val 946"/>
                  <a:gd name="f520" fmla="val 1053"/>
                  <a:gd name="f521" fmla="val 949"/>
                  <a:gd name="f522" fmla="val 1051"/>
                  <a:gd name="f523" fmla="val 953"/>
                  <a:gd name="f524" fmla="val 1048"/>
                  <a:gd name="f525" fmla="val 961"/>
                  <a:gd name="f526" fmla="val 1042"/>
                  <a:gd name="f527" fmla="val 1026"/>
                  <a:gd name="f528" fmla="val 981"/>
                  <a:gd name="f529" fmla="val 986"/>
                  <a:gd name="f530" fmla="val 999"/>
                  <a:gd name="f531" fmla="val 1031"/>
                  <a:gd name="f532" fmla="val 1007"/>
                  <a:gd name="f533" fmla="val 1038"/>
                  <a:gd name="f534" fmla="val 1015"/>
                  <a:gd name="f535" fmla="val 1047"/>
                  <a:gd name="f536" fmla="val 1021"/>
                  <a:gd name="f537" fmla="val 1054"/>
                  <a:gd name="f538" fmla="val 1028"/>
                  <a:gd name="f539" fmla="val 1057"/>
                  <a:gd name="f540" fmla="val 1033"/>
                  <a:gd name="f541" fmla="val 1059"/>
                  <a:gd name="f542" fmla="val 1061"/>
                  <a:gd name="f543" fmla="val 1044"/>
                  <a:gd name="f544" fmla="val 1065"/>
                  <a:gd name="f545" fmla="val 1046"/>
                  <a:gd name="f546" fmla="val 1072"/>
                  <a:gd name="f547" fmla="val 1050"/>
                  <a:gd name="f548" fmla="val 1077"/>
                  <a:gd name="f549" fmla="val 1085"/>
                  <a:gd name="f550" fmla="val 1076"/>
                  <a:gd name="f551" fmla="val 1089"/>
                  <a:gd name="f552" fmla="val 1083"/>
                  <a:gd name="f553" fmla="val 1093"/>
                  <a:gd name="f554" fmla="val 1099"/>
                  <a:gd name="f555" fmla="val 1087"/>
                  <a:gd name="f556" fmla="val 1082"/>
                  <a:gd name="f557" fmla="val 1113"/>
                  <a:gd name="f558" fmla="val 1079"/>
                  <a:gd name="f559" fmla="val 1075"/>
                  <a:gd name="f560" fmla="val 1141"/>
                  <a:gd name="f561" fmla="val 1073"/>
                  <a:gd name="f562" fmla="val 1148"/>
                  <a:gd name="f563" fmla="val 1152"/>
                  <a:gd name="f564" fmla="val 1103"/>
                  <a:gd name="f565" fmla="val 1147"/>
                  <a:gd name="f566" fmla="val 1108"/>
                  <a:gd name="f567" fmla="val 1146"/>
                  <a:gd name="f568" fmla="val 1112"/>
                  <a:gd name="f569" fmla="val 1116"/>
                  <a:gd name="f570" fmla="val 1120"/>
                  <a:gd name="f571" fmla="val 1157"/>
                  <a:gd name="f572" fmla="val 1123"/>
                  <a:gd name="f573" fmla="val 1165"/>
                  <a:gd name="f574" fmla="val 1124"/>
                  <a:gd name="f575" fmla="val 1175"/>
                  <a:gd name="f576" fmla="val 1197"/>
                  <a:gd name="f577" fmla="val 1110"/>
                  <a:gd name="f578" fmla="val 1109"/>
                  <a:gd name="f579" fmla="val 1217"/>
                  <a:gd name="f580" fmla="val 1111"/>
                  <a:gd name="f581" fmla="val 1219"/>
                  <a:gd name="f582" fmla="val 1221"/>
                  <a:gd name="f583" fmla="val 1223"/>
                  <a:gd name="f584" fmla="val 1233"/>
                  <a:gd name="f585" fmla="val 1238"/>
                  <a:gd name="f586" fmla="val 1241"/>
                  <a:gd name="f587" fmla="val 1102"/>
                  <a:gd name="f588" fmla="val 1244"/>
                  <a:gd name="f589" fmla="val 1242"/>
                  <a:gd name="f590" fmla="val 1228"/>
                  <a:gd name="f591" fmla="val 1062"/>
                  <a:gd name="f592" fmla="val 1215"/>
                  <a:gd name="f593" fmla="val 1195"/>
                  <a:gd name="f594" fmla="val 1190"/>
                  <a:gd name="f595" fmla="val 1186"/>
                  <a:gd name="f596" fmla="val 1036"/>
                  <a:gd name="f597" fmla="val 1170"/>
                  <a:gd name="f598" fmla="val 1167"/>
                  <a:gd name="f599" fmla="val 1025"/>
                  <a:gd name="f600" fmla="val 1017"/>
                  <a:gd name="f601" fmla="val 1009"/>
                  <a:gd name="f602" fmla="val 994"/>
                  <a:gd name="f603" fmla="val 990"/>
                  <a:gd name="f604" fmla="val 982"/>
                  <a:gd name="f605" fmla="val 1180"/>
                  <a:gd name="f606" fmla="val 976"/>
                  <a:gd name="f607" fmla="val 1184"/>
                  <a:gd name="f608" fmla="val 967"/>
                  <a:gd name="f609" fmla="val 959"/>
                  <a:gd name="f610" fmla="val 944"/>
                  <a:gd name="f611" fmla="val 1172"/>
                  <a:gd name="f612" fmla="val 938"/>
                  <a:gd name="f613" fmla="val 1163"/>
                  <a:gd name="f614" fmla="val 929"/>
                  <a:gd name="f615" fmla="val 919"/>
                  <a:gd name="f616" fmla="val 1162"/>
                  <a:gd name="f617" fmla="val 901"/>
                  <a:gd name="f618" fmla="val 891"/>
                  <a:gd name="f619" fmla="val 885"/>
                  <a:gd name="f620" fmla="val 1154"/>
                  <a:gd name="f621" fmla="val 886"/>
                  <a:gd name="f622" fmla="val 1149"/>
                  <a:gd name="f623" fmla="val 888"/>
                  <a:gd name="f624" fmla="val 1145"/>
                  <a:gd name="f625" fmla="val 1144"/>
                  <a:gd name="f626" fmla="val 880"/>
                  <a:gd name="f627" fmla="val 870"/>
                  <a:gd name="f628" fmla="val 1155"/>
                  <a:gd name="f629" fmla="val 866"/>
                  <a:gd name="f630" fmla="val 863"/>
                  <a:gd name="f631" fmla="val 1166"/>
                  <a:gd name="f632" fmla="val 1177"/>
                  <a:gd name="f633" fmla="val 872"/>
                  <a:gd name="f634" fmla="val 1187"/>
                  <a:gd name="f635" fmla="val 873"/>
                  <a:gd name="f636" fmla="val 1196"/>
                  <a:gd name="f637" fmla="val 1199"/>
                  <a:gd name="f638" fmla="val 853"/>
                  <a:gd name="f639" fmla="val 839"/>
                  <a:gd name="f640" fmla="val 809"/>
                  <a:gd name="f641" fmla="val 783"/>
                  <a:gd name="f642" fmla="val 777"/>
                  <a:gd name="f643" fmla="val 768"/>
                  <a:gd name="f644" fmla="val 759"/>
                  <a:gd name="f645" fmla="val 720"/>
                  <a:gd name="f646" fmla="val 713"/>
                  <a:gd name="f647" fmla="val 709"/>
                  <a:gd name="f648" fmla="val 706"/>
                  <a:gd name="f649" fmla="val 701"/>
                  <a:gd name="f650" fmla="val 1235"/>
                  <a:gd name="f651" fmla="val 694"/>
                  <a:gd name="f652" fmla="val 684"/>
                  <a:gd name="f653" fmla="val 674"/>
                  <a:gd name="f654" fmla="val 665"/>
                  <a:gd name="f655" fmla="val 1245"/>
                  <a:gd name="f656" fmla="val 658"/>
                  <a:gd name="f657" fmla="val 1247"/>
                  <a:gd name="f658" fmla="val 1250"/>
                  <a:gd name="f659" fmla="val 653"/>
                  <a:gd name="f660" fmla="val 1259"/>
                  <a:gd name="f661" fmla="val 650"/>
                  <a:gd name="f662" fmla="val 1264"/>
                  <a:gd name="f663" fmla="val 646"/>
                  <a:gd name="f664" fmla="val 1269"/>
                  <a:gd name="f665" fmla="val 641"/>
                  <a:gd name="f666" fmla="val 1271"/>
                  <a:gd name="f667" fmla="val 1278"/>
                  <a:gd name="f668" fmla="val 1288"/>
                  <a:gd name="f669" fmla="val 617"/>
                  <a:gd name="f670" fmla="val 612"/>
                  <a:gd name="f671" fmla="val 610"/>
                  <a:gd name="f672" fmla="val 1287"/>
                  <a:gd name="f673" fmla="val 1283"/>
                  <a:gd name="f674" fmla="val 605"/>
                  <a:gd name="f675" fmla="val 1281"/>
                  <a:gd name="f676" fmla="val 585"/>
                  <a:gd name="f677" fmla="val 1294"/>
                  <a:gd name="f678" fmla="val 557"/>
                  <a:gd name="f679" fmla="val 540"/>
                  <a:gd name="f680" fmla="val 1286"/>
                  <a:gd name="f681" fmla="val 538"/>
                  <a:gd name="f682" fmla="val 533"/>
                  <a:gd name="f683" fmla="val 530"/>
                  <a:gd name="f684" fmla="val 1265"/>
                  <a:gd name="f685" fmla="val 1256"/>
                  <a:gd name="f686" fmla="val 521"/>
                  <a:gd name="f687" fmla="val 1255"/>
                  <a:gd name="f688" fmla="val 507"/>
                  <a:gd name="f689" fmla="val 506"/>
                  <a:gd name="f690" fmla="val 1253"/>
                  <a:gd name="f691" fmla="val 1248"/>
                  <a:gd name="f692" fmla="val 1246"/>
                  <a:gd name="f693" fmla="val 1239"/>
                  <a:gd name="f694" fmla="val 1237"/>
                  <a:gd name="f695" fmla="val 503"/>
                  <a:gd name="f696" fmla="val 496"/>
                  <a:gd name="f697" fmla="val 471"/>
                  <a:gd name="f698" fmla="val 464"/>
                  <a:gd name="f699" fmla="val 1232"/>
                  <a:gd name="f700" fmla="val 446"/>
                  <a:gd name="f701" fmla="val 1226"/>
                  <a:gd name="f702" fmla="val 440"/>
                  <a:gd name="f703" fmla="val 434"/>
                  <a:gd name="f704" fmla="val 426"/>
                  <a:gd name="f705" fmla="val 1234"/>
                  <a:gd name="f706" fmla="val 414"/>
                  <a:gd name="f707" fmla="val 401"/>
                  <a:gd name="f708" fmla="val 396"/>
                  <a:gd name="f709" fmla="val 394"/>
                  <a:gd name="f710" fmla="val 395"/>
                  <a:gd name="f711" fmla="val 1218"/>
                  <a:gd name="f712" fmla="val 392"/>
                  <a:gd name="f713" fmla="val 380"/>
                  <a:gd name="f714" fmla="val 378"/>
                  <a:gd name="f715" fmla="val 379"/>
                  <a:gd name="f716" fmla="val 382"/>
                  <a:gd name="f717" fmla="val 385"/>
                  <a:gd name="f718" fmla="val 386"/>
                  <a:gd name="f719" fmla="val 389"/>
                  <a:gd name="f720" fmla="val 1277"/>
                  <a:gd name="f721" fmla="val 374"/>
                  <a:gd name="f722" fmla="val 1308"/>
                  <a:gd name="f723" fmla="val 368"/>
                  <a:gd name="f724" fmla="val 1317"/>
                  <a:gd name="f725" fmla="val 362"/>
                  <a:gd name="f726" fmla="val 1325"/>
                  <a:gd name="f727" fmla="val 1331"/>
                  <a:gd name="f728" fmla="val 351"/>
                  <a:gd name="f729" fmla="val 1335"/>
                  <a:gd name="f730" fmla="val 342"/>
                  <a:gd name="f731" fmla="val 1339"/>
                  <a:gd name="f732" fmla="val 1342"/>
                  <a:gd name="f733" fmla="val 322"/>
                  <a:gd name="f734" fmla="val 1343"/>
                  <a:gd name="f735" fmla="val 1340"/>
                  <a:gd name="f736" fmla="val 315"/>
                  <a:gd name="f737" fmla="val 1336"/>
                  <a:gd name="f738" fmla="val 1326"/>
                  <a:gd name="f739" fmla="val 1322"/>
                  <a:gd name="f740" fmla="val 320"/>
                  <a:gd name="f741" fmla="val 1311"/>
                  <a:gd name="f742" fmla="val 1298"/>
                  <a:gd name="f743" fmla="val 318"/>
                  <a:gd name="f744" fmla="val 308"/>
                  <a:gd name="f745" fmla="val 295"/>
                  <a:gd name="f746" fmla="val 1303"/>
                  <a:gd name="f747" fmla="val 290"/>
                  <a:gd name="f748" fmla="val 289"/>
                  <a:gd name="f749" fmla="val 1279"/>
                  <a:gd name="f750" fmla="val 291"/>
                  <a:gd name="f751" fmla="val 1275"/>
                  <a:gd name="f752" fmla="val 1270"/>
                  <a:gd name="f753" fmla="val 281"/>
                  <a:gd name="f754" fmla="val 273"/>
                  <a:gd name="f755" fmla="val 266"/>
                  <a:gd name="f756" fmla="val 264"/>
                  <a:gd name="f757" fmla="val 262"/>
                  <a:gd name="f758" fmla="val 260"/>
                  <a:gd name="f759" fmla="val 1240"/>
                  <a:gd name="f760" fmla="val 256"/>
                  <a:gd name="f761" fmla="val 249"/>
                  <a:gd name="f762" fmla="val 240"/>
                  <a:gd name="f763" fmla="val 232"/>
                  <a:gd name="f764" fmla="val 225"/>
                  <a:gd name="f765" fmla="val 220"/>
                  <a:gd name="f766" fmla="val 215"/>
                  <a:gd name="f767" fmla="val 209"/>
                  <a:gd name="f768" fmla="val 1225"/>
                  <a:gd name="f769" fmla="val 195"/>
                  <a:gd name="f770" fmla="val 192"/>
                  <a:gd name="f771" fmla="val 183"/>
                  <a:gd name="f772" fmla="val 173"/>
                  <a:gd name="f773" fmla="val 172"/>
                  <a:gd name="f774" fmla="val 171"/>
                  <a:gd name="f775" fmla="val 1231"/>
                  <a:gd name="f776" fmla="val 168"/>
                  <a:gd name="f777" fmla="val 165"/>
                  <a:gd name="f778" fmla="val 162"/>
                  <a:gd name="f779" fmla="val 176"/>
                  <a:gd name="f780" fmla="val 186"/>
                  <a:gd name="f781" fmla="val 194"/>
                  <a:gd name="f782" fmla="val 202"/>
                  <a:gd name="f783" fmla="val 208"/>
                  <a:gd name="f784" fmla="val 214"/>
                  <a:gd name="f785" fmla="val 1191"/>
                  <a:gd name="f786" fmla="val 227"/>
                  <a:gd name="f787" fmla="val 233"/>
                  <a:gd name="f788" fmla="val 1183"/>
                  <a:gd name="f789" fmla="val 254"/>
                  <a:gd name="f790" fmla="val 286"/>
                  <a:gd name="f791" fmla="val 294"/>
                  <a:gd name="f792" fmla="val 297"/>
                  <a:gd name="f793" fmla="val 1176"/>
                  <a:gd name="f794" fmla="val 1159"/>
                  <a:gd name="f795" fmla="val 298"/>
                  <a:gd name="f796" fmla="val 1143"/>
                  <a:gd name="f797" fmla="val 292"/>
                  <a:gd name="f798" fmla="val 1133"/>
                  <a:gd name="f799" fmla="val 1126"/>
                  <a:gd name="f800" fmla="val 1121"/>
                  <a:gd name="f801" fmla="val 1115"/>
                  <a:gd name="f802" fmla="val 288"/>
                  <a:gd name="f803" fmla="val 1055"/>
                  <a:gd name="f804" fmla="val 303"/>
                  <a:gd name="f805" fmla="val 1029"/>
                  <a:gd name="f806" fmla="val 1020"/>
                  <a:gd name="f807" fmla="val 304"/>
                  <a:gd name="f808" fmla="val 1014"/>
                  <a:gd name="f809" fmla="val 301"/>
                  <a:gd name="f810" fmla="val 1006"/>
                  <a:gd name="f811" fmla="val 955"/>
                  <a:gd name="f812" fmla="val 279"/>
                  <a:gd name="f813" fmla="val 275"/>
                  <a:gd name="f814" fmla="val 265"/>
                  <a:gd name="f815" fmla="val 895"/>
                  <a:gd name="f816" fmla="val 268"/>
                  <a:gd name="f817" fmla="val 879"/>
                  <a:gd name="f818" fmla="val 859"/>
                  <a:gd name="f819" fmla="val 856"/>
                  <a:gd name="f820" fmla="val 852"/>
                  <a:gd name="f821" fmla="val 313"/>
                  <a:gd name="f822" fmla="val 845"/>
                  <a:gd name="f823" fmla="val 333"/>
                  <a:gd name="f824" fmla="val 343"/>
                  <a:gd name="f825" fmla="val 823"/>
                  <a:gd name="f826" fmla="val 354"/>
                  <a:gd name="f827" fmla="val 817"/>
                  <a:gd name="f828" fmla="val 346"/>
                  <a:gd name="f829" fmla="val 770"/>
                  <a:gd name="f830" fmla="val 341"/>
                  <a:gd name="f831" fmla="val 345"/>
                  <a:gd name="f832" fmla="val 763"/>
                  <a:gd name="f833" fmla="val 349"/>
                  <a:gd name="f834" fmla="val 767"/>
                  <a:gd name="f835" fmla="val 771"/>
                  <a:gd name="f836" fmla="val 773"/>
                  <a:gd name="f837" fmla="val 372"/>
                  <a:gd name="f838" fmla="val 765"/>
                  <a:gd name="f839" fmla="val 381"/>
                  <a:gd name="f840" fmla="val 769"/>
                  <a:gd name="f841" fmla="val 388"/>
                  <a:gd name="f842" fmla="val 400"/>
                  <a:gd name="f843" fmla="val 399"/>
                  <a:gd name="f844" fmla="val 761"/>
                  <a:gd name="f845" fmla="val 758"/>
                  <a:gd name="f846" fmla="val 753"/>
                  <a:gd name="f847" fmla="val 749"/>
                  <a:gd name="f848" fmla="val 746"/>
                  <a:gd name="f849" fmla="val 743"/>
                  <a:gd name="f850" fmla="val 737"/>
                  <a:gd name="f851" fmla="val 730"/>
                  <a:gd name="f852" fmla="val 710"/>
                  <a:gd name="f853" fmla="val 699"/>
                  <a:gd name="f854" fmla="val 685"/>
                  <a:gd name="f855" fmla="val 680"/>
                  <a:gd name="f856" fmla="val 675"/>
                  <a:gd name="f857" fmla="val 640"/>
                  <a:gd name="f858" fmla="val 365"/>
                  <a:gd name="f859" fmla="val 632"/>
                  <a:gd name="f860" fmla="val 352"/>
                  <a:gd name="f861" fmla="val 619"/>
                  <a:gd name="f862" fmla="val 338"/>
                  <a:gd name="f863" fmla="val 607"/>
                  <a:gd name="f864" fmla="val 328"/>
                  <a:gd name="f865" fmla="val 595"/>
                  <a:gd name="f866" fmla="val 330"/>
                  <a:gd name="f867" fmla="val 589"/>
                  <a:gd name="f868" fmla="val 334"/>
                  <a:gd name="f869" fmla="val 588"/>
                  <a:gd name="f870" fmla="val 337"/>
                  <a:gd name="f871" fmla="val 581"/>
                  <a:gd name="f872" fmla="val 331"/>
                  <a:gd name="f873" fmla="val 577"/>
                  <a:gd name="f874" fmla="val 564"/>
                  <a:gd name="f875" fmla="val 306"/>
                  <a:gd name="f876" fmla="val 551"/>
                  <a:gd name="f877" fmla="val 543"/>
                  <a:gd name="f878" fmla="val 525"/>
                  <a:gd name="f879" fmla="val 515"/>
                  <a:gd name="f880" fmla="val 508"/>
                  <a:gd name="f881" fmla="val 493"/>
                  <a:gd name="f882" fmla="val 477"/>
                  <a:gd name="f883" fmla="val 462"/>
                  <a:gd name="f884" fmla="val 300"/>
                  <a:gd name="f885" fmla="val 445"/>
                  <a:gd name="f886" fmla="val 436"/>
                  <a:gd name="f887" fmla="val 427"/>
                  <a:gd name="f888" fmla="val 417"/>
                  <a:gd name="f889" fmla="val 433"/>
                  <a:gd name="f890" fmla="val 274"/>
                  <a:gd name="f891" fmla="val 257"/>
                  <a:gd name="f892" fmla="val 253"/>
                  <a:gd name="f893" fmla="val 435"/>
                  <a:gd name="f894" fmla="val 248"/>
                  <a:gd name="f895" fmla="val 411"/>
                  <a:gd name="f896" fmla="val 403"/>
                  <a:gd name="f897" fmla="val 243"/>
                  <a:gd name="f898" fmla="val 402"/>
                  <a:gd name="f899" fmla="val 237"/>
                  <a:gd name="f900" fmla="val 235"/>
                  <a:gd name="f901" fmla="val 409"/>
                  <a:gd name="f902" fmla="val 230"/>
                  <a:gd name="f903" fmla="val 228"/>
                  <a:gd name="f904" fmla="val 405"/>
                  <a:gd name="f905" fmla="val 376"/>
                  <a:gd name="f906" fmla="val 218"/>
                  <a:gd name="f907" fmla="val 211"/>
                  <a:gd name="f908" fmla="val 348"/>
                  <a:gd name="f909" fmla="val 191"/>
                  <a:gd name="f910" fmla="val 190"/>
                  <a:gd name="f911" fmla="val 189"/>
                  <a:gd name="f912" fmla="val 178"/>
                  <a:gd name="f913" fmla="val 339"/>
                  <a:gd name="f914" fmla="val 170"/>
                  <a:gd name="f915" fmla="val 327"/>
                  <a:gd name="f916" fmla="val 174"/>
                  <a:gd name="f917" fmla="val 316"/>
                  <a:gd name="f918" fmla="val 167"/>
                  <a:gd name="f919" fmla="val 161"/>
                  <a:gd name="f920" fmla="val 150"/>
                  <a:gd name="f921" fmla="val 147"/>
                  <a:gd name="f922" fmla="val 142"/>
                  <a:gd name="f923" fmla="val 137"/>
                  <a:gd name="f924" fmla="val 99"/>
                  <a:gd name="f925" fmla="val 85"/>
                  <a:gd name="f926" fmla="val 96"/>
                  <a:gd name="f927" fmla="val 111"/>
                  <a:gd name="f928" fmla="val 112"/>
                  <a:gd name="f929" fmla="val 115"/>
                  <a:gd name="f930" fmla="val 371"/>
                  <a:gd name="f931" fmla="val 377"/>
                  <a:gd name="f932" fmla="val 73"/>
                  <a:gd name="f933" fmla="val 25"/>
                  <a:gd name="f934" fmla="val 22"/>
                  <a:gd name="f935" fmla="val 17"/>
                  <a:gd name="f936" fmla="val 19"/>
                  <a:gd name="f937" fmla="val 20"/>
                  <a:gd name="f938" fmla="val 26"/>
                  <a:gd name="f939" fmla="val 28"/>
                  <a:gd name="f940" fmla="val 356"/>
                  <a:gd name="f941" fmla="val 31"/>
                  <a:gd name="f942" fmla="val 34"/>
                  <a:gd name="f943" fmla="val 35"/>
                  <a:gd name="f944" fmla="val 282"/>
                  <a:gd name="f945" fmla="val 11"/>
                  <a:gd name="f946" fmla="val 7"/>
                  <a:gd name="f947" fmla="val 241"/>
                  <a:gd name="f948" fmla="val 236"/>
                  <a:gd name="f949" fmla="val 231"/>
                  <a:gd name="f950" fmla="val 212"/>
                  <a:gd name="f951" fmla="val 207"/>
                  <a:gd name="f952" fmla="val 5"/>
                  <a:gd name="f953" fmla="val 203"/>
                  <a:gd name="f954" fmla="val 3"/>
                  <a:gd name="f955" fmla="val 200"/>
                  <a:gd name="f956" fmla="val 198"/>
                  <a:gd name="f957" fmla="val 197"/>
                  <a:gd name="f958" fmla="val 187"/>
                  <a:gd name="f959" fmla="val 39"/>
                  <a:gd name="f960" fmla="val 46"/>
                  <a:gd name="f961" fmla="val 50"/>
                  <a:gd name="f962" fmla="val 54"/>
                  <a:gd name="f963" fmla="val 164"/>
                  <a:gd name="f964" fmla="val 166"/>
                  <a:gd name="f965" fmla="val 177"/>
                  <a:gd name="f966" fmla="val 101"/>
                  <a:gd name="f967" fmla="val 179"/>
                  <a:gd name="f968" fmla="val 184"/>
                  <a:gd name="f969" fmla="val 134"/>
                  <a:gd name="f970" fmla="val 135"/>
                  <a:gd name="f971" fmla="val 159"/>
                  <a:gd name="f972" fmla="val 156"/>
                  <a:gd name="f973" fmla="val 140"/>
                  <a:gd name="f974" fmla="val 151"/>
                  <a:gd name="f975" fmla="val 145"/>
                  <a:gd name="f976" fmla="val 136"/>
                  <a:gd name="f977" fmla="val 129"/>
                  <a:gd name="f978" fmla="val 131"/>
                  <a:gd name="f979" fmla="val 160"/>
                  <a:gd name="f980" fmla="val 124"/>
                  <a:gd name="f981" fmla="val 116"/>
                  <a:gd name="f982" fmla="val 104"/>
                  <a:gd name="f983" fmla="val 201"/>
                  <a:gd name="f984" fmla="val 90"/>
                  <a:gd name="f985" fmla="val 55"/>
                  <a:gd name="f986" fmla="val 267"/>
                  <a:gd name="f987" fmla="val 278"/>
                  <a:gd name="f988" fmla="+- 0 0 -90"/>
                  <a:gd name="f989" fmla="*/ f4 1 1304"/>
                  <a:gd name="f990" fmla="*/ f5 1 1344"/>
                  <a:gd name="f991" fmla="+- f8 0 f6"/>
                  <a:gd name="f992" fmla="+- f7 0 f6"/>
                  <a:gd name="f993" fmla="*/ f988 f0 1"/>
                  <a:gd name="f994" fmla="*/ f992 1 1304"/>
                  <a:gd name="f995" fmla="*/ f991 1 1344"/>
                  <a:gd name="f996" fmla="*/ f993 1 f3"/>
                  <a:gd name="f997" fmla="*/ 367 1 f994"/>
                  <a:gd name="f998" fmla="*/ 59 1 f995"/>
                  <a:gd name="f999" fmla="*/ 442 1 f994"/>
                  <a:gd name="f1000" fmla="*/ 139 1 f995"/>
                  <a:gd name="f1001" fmla="*/ 472 1 f994"/>
                  <a:gd name="f1002" fmla="*/ 105 1 f995"/>
                  <a:gd name="f1003" fmla="*/ 520 1 f994"/>
                  <a:gd name="f1004" fmla="*/ 79 1 f995"/>
                  <a:gd name="f1005" fmla="*/ 565 1 f994"/>
                  <a:gd name="f1006" fmla="*/ 91 1 f995"/>
                  <a:gd name="f1007" fmla="*/ 597 1 f994"/>
                  <a:gd name="f1008" fmla="*/ 41 1 f995"/>
                  <a:gd name="f1009" fmla="*/ 659 1 f994"/>
                  <a:gd name="f1010" fmla="*/ 61 1 f995"/>
                  <a:gd name="f1011" fmla="*/ 752 1 f994"/>
                  <a:gd name="f1012" fmla="*/ 58 1 f995"/>
                  <a:gd name="f1013" fmla="*/ 825 1 f994"/>
                  <a:gd name="f1014" fmla="*/ 119 1 f995"/>
                  <a:gd name="f1015" fmla="*/ 869 1 f994"/>
                  <a:gd name="f1016" fmla="*/ 196 1 f995"/>
                  <a:gd name="f1017" fmla="*/ 940 1 f994"/>
                  <a:gd name="f1018" fmla="*/ 246 1 f995"/>
                  <a:gd name="f1019" fmla="*/ 911 1 f994"/>
                  <a:gd name="f1020" fmla="*/ 332 1 f995"/>
                  <a:gd name="f1021" fmla="*/ 962 1 f994"/>
                  <a:gd name="f1022" fmla="*/ 408 1 f995"/>
                  <a:gd name="f1023" fmla="*/ 1032 1 f994"/>
                  <a:gd name="f1024" fmla="*/ 488 1 f995"/>
                  <a:gd name="f1025" fmla="*/ 1107 1 f994"/>
                  <a:gd name="f1026" fmla="*/ 546 1 f995"/>
                  <a:gd name="f1027" fmla="*/ 1211 1 f994"/>
                  <a:gd name="f1028" fmla="*/ 635 1 f995"/>
                  <a:gd name="f1029" fmla="*/ 1276 1 f994"/>
                  <a:gd name="f1030" fmla="*/ 664 1 f995"/>
                  <a:gd name="f1031" fmla="*/ 1290 1 f994"/>
                  <a:gd name="f1032" fmla="*/ 788 1 f995"/>
                  <a:gd name="f1033" fmla="*/ 1209 1 f994"/>
                  <a:gd name="f1034" fmla="*/ 789 1 f995"/>
                  <a:gd name="f1035" fmla="*/ 1171 1 f994"/>
                  <a:gd name="f1036" fmla="*/ 897 1 f995"/>
                  <a:gd name="f1037" fmla="*/ 1048 1 f994"/>
                  <a:gd name="f1038" fmla="*/ 961 1 f995"/>
                  <a:gd name="f1039" fmla="*/ 1072 1 f994"/>
                  <a:gd name="f1040" fmla="*/ 1050 1 f995"/>
                  <a:gd name="f1041" fmla="*/ 1103 1 f994"/>
                  <a:gd name="f1042" fmla="*/ 1147 1 f995"/>
                  <a:gd name="f1043" fmla="*/ 1221 1 f995"/>
                  <a:gd name="f1044" fmla="*/ 1039 1 f994"/>
                  <a:gd name="f1045" fmla="*/ 1209 1 f995"/>
                  <a:gd name="f1046" fmla="*/ 967 1 f994"/>
                  <a:gd name="f1047" fmla="*/ 1186 1 f995"/>
                  <a:gd name="f1048" fmla="*/ 887 1 f994"/>
                  <a:gd name="f1049" fmla="*/ 1162 1 f995"/>
                  <a:gd name="f1050" fmla="*/ 873 1 f994"/>
                  <a:gd name="f1051" fmla="*/ 1192 1 f995"/>
                  <a:gd name="f1052" fmla="*/ 713 1 f994"/>
                  <a:gd name="f1053" fmla="*/ 1216 1 f995"/>
                  <a:gd name="f1054" fmla="*/ 630 1 f994"/>
                  <a:gd name="f1055" fmla="*/ 1278 1 f995"/>
                  <a:gd name="f1056" fmla="*/ 541 1 f994"/>
                  <a:gd name="f1057" fmla="*/ 1294 1 f995"/>
                  <a:gd name="f1058" fmla="*/ 513 1 f994"/>
                  <a:gd name="f1059" fmla="*/ 1243 1 f995"/>
                  <a:gd name="f1060" fmla="*/ 407 1 f994"/>
                  <a:gd name="f1061" fmla="*/ 1235 1 f995"/>
                  <a:gd name="f1062" fmla="*/ 389 1 f994"/>
                  <a:gd name="f1063" fmla="*/ 1249 1 f995"/>
                  <a:gd name="f1064" fmla="*/ 312 1 f994"/>
                  <a:gd name="f1065" fmla="*/ 1343 1 f995"/>
                  <a:gd name="f1066" fmla="*/ 290 1 f994"/>
                  <a:gd name="f1067" fmla="*/ 1300 1 f995"/>
                  <a:gd name="f1068" fmla="*/ 232 1 f994"/>
                  <a:gd name="f1069" fmla="*/ 172 1 f994"/>
                  <a:gd name="f1070" fmla="*/ 1233 1 f995"/>
                  <a:gd name="f1071" fmla="*/ 233 1 f994"/>
                  <a:gd name="f1072" fmla="*/ 1183 1 f995"/>
                  <a:gd name="f1073" fmla="*/ 287 1 f994"/>
                  <a:gd name="f1074" fmla="*/ 1145 1 f995"/>
                  <a:gd name="f1075" fmla="*/ 305 1 f994"/>
                  <a:gd name="f1076" fmla="*/ 1020 1 f995"/>
                  <a:gd name="f1077" fmla="*/ 277 1 f994"/>
                  <a:gd name="f1078" fmla="*/ 859 1 f995"/>
                  <a:gd name="f1079" fmla="*/ 342 1 f994"/>
                  <a:gd name="f1080" fmla="*/ 778 1 f995"/>
                  <a:gd name="f1081" fmla="*/ 385 1 f994"/>
                  <a:gd name="f1082" fmla="*/ 770 1 f995"/>
                  <a:gd name="f1083" fmla="*/ 383 1 f994"/>
                  <a:gd name="f1084" fmla="*/ 720 1 f995"/>
                  <a:gd name="f1085" fmla="*/ 352 1 f994"/>
                  <a:gd name="f1086" fmla="*/ 621 1 f995"/>
                  <a:gd name="f1087" fmla="*/ 337 1 f994"/>
                  <a:gd name="f1088" fmla="*/ 581 1 f995"/>
                  <a:gd name="f1089" fmla="*/ 295 1 f994"/>
                  <a:gd name="f1090" fmla="*/ 485 1 f995"/>
                  <a:gd name="f1091" fmla="*/ 279 1 f994"/>
                  <a:gd name="f1092" fmla="*/ 433 1 f995"/>
                  <a:gd name="f1093" fmla="*/ 410 1 f995"/>
                  <a:gd name="f1094" fmla="*/ 196 1 f994"/>
                  <a:gd name="f1095" fmla="*/ 348 1 f995"/>
                  <a:gd name="f1096" fmla="*/ 174 1 f994"/>
                  <a:gd name="f1097" fmla="*/ 317 1 f995"/>
                  <a:gd name="f1098" fmla="*/ 86 1 f994"/>
                  <a:gd name="f1099" fmla="*/ 327 1 f995"/>
                  <a:gd name="f1100" fmla="*/ 112 1 f994"/>
                  <a:gd name="f1101" fmla="*/ 341 1 f995"/>
                  <a:gd name="f1102" fmla="*/ 78 1 f994"/>
                  <a:gd name="f1103" fmla="*/ 389 1 f995"/>
                  <a:gd name="f1104" fmla="*/ 26 1 f994"/>
                  <a:gd name="f1105" fmla="*/ 378 1 f995"/>
                  <a:gd name="f1106" fmla="*/ 15 1 f994"/>
                  <a:gd name="f1107" fmla="*/ 289 1 f995"/>
                  <a:gd name="f1108" fmla="*/ 0 1 f994"/>
                  <a:gd name="f1109" fmla="*/ 200 1 f995"/>
                  <a:gd name="f1110" fmla="*/ 57 1 f994"/>
                  <a:gd name="f1111" fmla="*/ 163 1 f995"/>
                  <a:gd name="f1112" fmla="*/ 135 1 f994"/>
                  <a:gd name="f1113" fmla="*/ 168 1 f995"/>
                  <a:gd name="f1114" fmla="*/ 176 1 f994"/>
                  <a:gd name="f1115" fmla="*/ 121 1 f995"/>
                  <a:gd name="f1116" fmla="*/ 225 1 f994"/>
                  <a:gd name="f1117" fmla="*/ f7 1 f994"/>
                  <a:gd name="f1118" fmla="*/ 0 1 f995"/>
                  <a:gd name="f1119" fmla="*/ f8 1 f995"/>
                  <a:gd name="f1120" fmla="+- f996 0 f1"/>
                  <a:gd name="f1121" fmla="*/ f1108 f989 1"/>
                  <a:gd name="f1122" fmla="*/ f1117 f989 1"/>
                  <a:gd name="f1123" fmla="*/ f1119 f990 1"/>
                  <a:gd name="f1124" fmla="*/ f1118 f990 1"/>
                  <a:gd name="f1125" fmla="*/ f997 f989 1"/>
                  <a:gd name="f1126" fmla="*/ f998 f990 1"/>
                  <a:gd name="f1127" fmla="*/ f999 f989 1"/>
                  <a:gd name="f1128" fmla="*/ f1000 f990 1"/>
                  <a:gd name="f1129" fmla="*/ f1001 f989 1"/>
                  <a:gd name="f1130" fmla="*/ f1002 f990 1"/>
                  <a:gd name="f1131" fmla="*/ f1003 f989 1"/>
                  <a:gd name="f1132" fmla="*/ f1004 f990 1"/>
                  <a:gd name="f1133" fmla="*/ f1005 f989 1"/>
                  <a:gd name="f1134" fmla="*/ f1006 f990 1"/>
                  <a:gd name="f1135" fmla="*/ f1007 f989 1"/>
                  <a:gd name="f1136" fmla="*/ f1008 f990 1"/>
                  <a:gd name="f1137" fmla="*/ f1009 f989 1"/>
                  <a:gd name="f1138" fmla="*/ f1010 f990 1"/>
                  <a:gd name="f1139" fmla="*/ f1011 f989 1"/>
                  <a:gd name="f1140" fmla="*/ f1012 f990 1"/>
                  <a:gd name="f1141" fmla="*/ f1013 f989 1"/>
                  <a:gd name="f1142" fmla="*/ f1014 f990 1"/>
                  <a:gd name="f1143" fmla="*/ f1015 f989 1"/>
                  <a:gd name="f1144" fmla="*/ f1016 f990 1"/>
                  <a:gd name="f1145" fmla="*/ f1017 f989 1"/>
                  <a:gd name="f1146" fmla="*/ f1018 f990 1"/>
                  <a:gd name="f1147" fmla="*/ f1019 f989 1"/>
                  <a:gd name="f1148" fmla="*/ f1020 f990 1"/>
                  <a:gd name="f1149" fmla="*/ f1021 f989 1"/>
                  <a:gd name="f1150" fmla="*/ f1022 f990 1"/>
                  <a:gd name="f1151" fmla="*/ f1023 f989 1"/>
                  <a:gd name="f1152" fmla="*/ f1024 f990 1"/>
                  <a:gd name="f1153" fmla="*/ f1025 f989 1"/>
                  <a:gd name="f1154" fmla="*/ f1026 f990 1"/>
                  <a:gd name="f1155" fmla="*/ f1027 f989 1"/>
                  <a:gd name="f1156" fmla="*/ f1028 f990 1"/>
                  <a:gd name="f1157" fmla="*/ f1029 f989 1"/>
                  <a:gd name="f1158" fmla="*/ f1030 f990 1"/>
                  <a:gd name="f1159" fmla="*/ f1031 f989 1"/>
                  <a:gd name="f1160" fmla="*/ f1032 f990 1"/>
                  <a:gd name="f1161" fmla="*/ f1033 f989 1"/>
                  <a:gd name="f1162" fmla="*/ f1034 f990 1"/>
                  <a:gd name="f1163" fmla="*/ f1035 f989 1"/>
                  <a:gd name="f1164" fmla="*/ f1036 f990 1"/>
                  <a:gd name="f1165" fmla="*/ f1037 f989 1"/>
                  <a:gd name="f1166" fmla="*/ f1038 f990 1"/>
                  <a:gd name="f1167" fmla="*/ f1039 f989 1"/>
                  <a:gd name="f1168" fmla="*/ f1040 f990 1"/>
                  <a:gd name="f1169" fmla="*/ f1041 f989 1"/>
                  <a:gd name="f1170" fmla="*/ f1042 f990 1"/>
                  <a:gd name="f1171" fmla="*/ f1043 f990 1"/>
                  <a:gd name="f1172" fmla="*/ f1044 f989 1"/>
                  <a:gd name="f1173" fmla="*/ f1045 f990 1"/>
                  <a:gd name="f1174" fmla="*/ f1046 f989 1"/>
                  <a:gd name="f1175" fmla="*/ f1047 f990 1"/>
                  <a:gd name="f1176" fmla="*/ f1048 f989 1"/>
                  <a:gd name="f1177" fmla="*/ f1049 f990 1"/>
                  <a:gd name="f1178" fmla="*/ f1050 f989 1"/>
                  <a:gd name="f1179" fmla="*/ f1051 f990 1"/>
                  <a:gd name="f1180" fmla="*/ f1052 f989 1"/>
                  <a:gd name="f1181" fmla="*/ f1053 f990 1"/>
                  <a:gd name="f1182" fmla="*/ f1054 f989 1"/>
                  <a:gd name="f1183" fmla="*/ f1055 f990 1"/>
                  <a:gd name="f1184" fmla="*/ f1056 f989 1"/>
                  <a:gd name="f1185" fmla="*/ f1057 f990 1"/>
                  <a:gd name="f1186" fmla="*/ f1058 f989 1"/>
                  <a:gd name="f1187" fmla="*/ f1059 f990 1"/>
                  <a:gd name="f1188" fmla="*/ f1060 f989 1"/>
                  <a:gd name="f1189" fmla="*/ f1061 f990 1"/>
                  <a:gd name="f1190" fmla="*/ f1062 f989 1"/>
                  <a:gd name="f1191" fmla="*/ f1063 f990 1"/>
                  <a:gd name="f1192" fmla="*/ f1064 f989 1"/>
                  <a:gd name="f1193" fmla="*/ f1065 f990 1"/>
                  <a:gd name="f1194" fmla="*/ f1066 f989 1"/>
                  <a:gd name="f1195" fmla="*/ f1067 f990 1"/>
                  <a:gd name="f1196" fmla="*/ f1068 f989 1"/>
                  <a:gd name="f1197" fmla="*/ f1069 f989 1"/>
                  <a:gd name="f1198" fmla="*/ f1070 f990 1"/>
                  <a:gd name="f1199" fmla="*/ f1071 f989 1"/>
                  <a:gd name="f1200" fmla="*/ f1072 f990 1"/>
                  <a:gd name="f1201" fmla="*/ f1073 f989 1"/>
                  <a:gd name="f1202" fmla="*/ f1074 f990 1"/>
                  <a:gd name="f1203" fmla="*/ f1075 f989 1"/>
                  <a:gd name="f1204" fmla="*/ f1076 f990 1"/>
                  <a:gd name="f1205" fmla="*/ f1077 f989 1"/>
                  <a:gd name="f1206" fmla="*/ f1078 f990 1"/>
                  <a:gd name="f1207" fmla="*/ f1079 f989 1"/>
                  <a:gd name="f1208" fmla="*/ f1080 f990 1"/>
                  <a:gd name="f1209" fmla="*/ f1081 f989 1"/>
                  <a:gd name="f1210" fmla="*/ f1082 f990 1"/>
                  <a:gd name="f1211" fmla="*/ f1083 f989 1"/>
                  <a:gd name="f1212" fmla="*/ f1084 f990 1"/>
                  <a:gd name="f1213" fmla="*/ f1085 f989 1"/>
                  <a:gd name="f1214" fmla="*/ f1086 f990 1"/>
                  <a:gd name="f1215" fmla="*/ f1087 f989 1"/>
                  <a:gd name="f1216" fmla="*/ f1088 f990 1"/>
                  <a:gd name="f1217" fmla="*/ f1089 f989 1"/>
                  <a:gd name="f1218" fmla="*/ f1090 f990 1"/>
                  <a:gd name="f1219" fmla="*/ f1091 f989 1"/>
                  <a:gd name="f1220" fmla="*/ f1092 f990 1"/>
                  <a:gd name="f1221" fmla="*/ f1093 f990 1"/>
                  <a:gd name="f1222" fmla="*/ f1094 f989 1"/>
                  <a:gd name="f1223" fmla="*/ f1095 f990 1"/>
                  <a:gd name="f1224" fmla="*/ f1096 f989 1"/>
                  <a:gd name="f1225" fmla="*/ f1097 f990 1"/>
                  <a:gd name="f1226" fmla="*/ f1098 f989 1"/>
                  <a:gd name="f1227" fmla="*/ f1099 f990 1"/>
                  <a:gd name="f1228" fmla="*/ f1100 f989 1"/>
                  <a:gd name="f1229" fmla="*/ f1101 f990 1"/>
                  <a:gd name="f1230" fmla="*/ f1102 f989 1"/>
                  <a:gd name="f1231" fmla="*/ f1103 f990 1"/>
                  <a:gd name="f1232" fmla="*/ f1104 f989 1"/>
                  <a:gd name="f1233" fmla="*/ f1105 f990 1"/>
                  <a:gd name="f1234" fmla="*/ f1106 f989 1"/>
                  <a:gd name="f1235" fmla="*/ f1107 f990 1"/>
                  <a:gd name="f1236" fmla="*/ f1109 f990 1"/>
                  <a:gd name="f1237" fmla="*/ f1110 f989 1"/>
                  <a:gd name="f1238" fmla="*/ f1111 f990 1"/>
                  <a:gd name="f1239" fmla="*/ f1112 f989 1"/>
                  <a:gd name="f1240" fmla="*/ f1113 f990 1"/>
                  <a:gd name="f1241" fmla="*/ f1114 f989 1"/>
                  <a:gd name="f1242" fmla="*/ f1115 f990 1"/>
                  <a:gd name="f1243" fmla="*/ f1116 f98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120">
                    <a:pos x="f1125" y="f1126"/>
                  </a:cxn>
                  <a:cxn ang="f1120">
                    <a:pos x="f1127" y="f1128"/>
                  </a:cxn>
                  <a:cxn ang="f1120">
                    <a:pos x="f1129" y="f1130"/>
                  </a:cxn>
                  <a:cxn ang="f1120">
                    <a:pos x="f1131" y="f1132"/>
                  </a:cxn>
                  <a:cxn ang="f1120">
                    <a:pos x="f1133" y="f1134"/>
                  </a:cxn>
                  <a:cxn ang="f1120">
                    <a:pos x="f1135" y="f1136"/>
                  </a:cxn>
                  <a:cxn ang="f1120">
                    <a:pos x="f1137" y="f1138"/>
                  </a:cxn>
                  <a:cxn ang="f1120">
                    <a:pos x="f1139" y="f1140"/>
                  </a:cxn>
                  <a:cxn ang="f1120">
                    <a:pos x="f1141" y="f1142"/>
                  </a:cxn>
                  <a:cxn ang="f1120">
                    <a:pos x="f1143" y="f1144"/>
                  </a:cxn>
                  <a:cxn ang="f1120">
                    <a:pos x="f1145" y="f1146"/>
                  </a:cxn>
                  <a:cxn ang="f1120">
                    <a:pos x="f1147" y="f1148"/>
                  </a:cxn>
                  <a:cxn ang="f1120">
                    <a:pos x="f1149" y="f1150"/>
                  </a:cxn>
                  <a:cxn ang="f1120">
                    <a:pos x="f1151" y="f1152"/>
                  </a:cxn>
                  <a:cxn ang="f1120">
                    <a:pos x="f1153" y="f1154"/>
                  </a:cxn>
                  <a:cxn ang="f1120">
                    <a:pos x="f1155" y="f1156"/>
                  </a:cxn>
                  <a:cxn ang="f1120">
                    <a:pos x="f1157" y="f1158"/>
                  </a:cxn>
                  <a:cxn ang="f1120">
                    <a:pos x="f1159" y="f1160"/>
                  </a:cxn>
                  <a:cxn ang="f1120">
                    <a:pos x="f1161" y="f1162"/>
                  </a:cxn>
                  <a:cxn ang="f1120">
                    <a:pos x="f1163" y="f1164"/>
                  </a:cxn>
                  <a:cxn ang="f1120">
                    <a:pos x="f1165" y="f1166"/>
                  </a:cxn>
                  <a:cxn ang="f1120">
                    <a:pos x="f1167" y="f1168"/>
                  </a:cxn>
                  <a:cxn ang="f1120">
                    <a:pos x="f1169" y="f1170"/>
                  </a:cxn>
                  <a:cxn ang="f1120">
                    <a:pos x="f1153" y="f1171"/>
                  </a:cxn>
                  <a:cxn ang="f1120">
                    <a:pos x="f1172" y="f1173"/>
                  </a:cxn>
                  <a:cxn ang="f1120">
                    <a:pos x="f1174" y="f1175"/>
                  </a:cxn>
                  <a:cxn ang="f1120">
                    <a:pos x="f1176" y="f1177"/>
                  </a:cxn>
                  <a:cxn ang="f1120">
                    <a:pos x="f1178" y="f1179"/>
                  </a:cxn>
                  <a:cxn ang="f1120">
                    <a:pos x="f1180" y="f1181"/>
                  </a:cxn>
                  <a:cxn ang="f1120">
                    <a:pos x="f1182" y="f1183"/>
                  </a:cxn>
                  <a:cxn ang="f1120">
                    <a:pos x="f1184" y="f1185"/>
                  </a:cxn>
                  <a:cxn ang="f1120">
                    <a:pos x="f1186" y="f1187"/>
                  </a:cxn>
                  <a:cxn ang="f1120">
                    <a:pos x="f1188" y="f1189"/>
                  </a:cxn>
                  <a:cxn ang="f1120">
                    <a:pos x="f1190" y="f1191"/>
                  </a:cxn>
                  <a:cxn ang="f1120">
                    <a:pos x="f1192" y="f1193"/>
                  </a:cxn>
                  <a:cxn ang="f1120">
                    <a:pos x="f1194" y="f1195"/>
                  </a:cxn>
                  <a:cxn ang="f1120">
                    <a:pos x="f1196" y="f1189"/>
                  </a:cxn>
                  <a:cxn ang="f1120">
                    <a:pos x="f1197" y="f1198"/>
                  </a:cxn>
                  <a:cxn ang="f1120">
                    <a:pos x="f1199" y="f1200"/>
                  </a:cxn>
                  <a:cxn ang="f1120">
                    <a:pos x="f1201" y="f1202"/>
                  </a:cxn>
                  <a:cxn ang="f1120">
                    <a:pos x="f1203" y="f1204"/>
                  </a:cxn>
                  <a:cxn ang="f1120">
                    <a:pos x="f1205" y="f1206"/>
                  </a:cxn>
                  <a:cxn ang="f1120">
                    <a:pos x="f1207" y="f1208"/>
                  </a:cxn>
                  <a:cxn ang="f1120">
                    <a:pos x="f1209" y="f1210"/>
                  </a:cxn>
                  <a:cxn ang="f1120">
                    <a:pos x="f1211" y="f1212"/>
                  </a:cxn>
                  <a:cxn ang="f1120">
                    <a:pos x="f1213" y="f1214"/>
                  </a:cxn>
                  <a:cxn ang="f1120">
                    <a:pos x="f1215" y="f1216"/>
                  </a:cxn>
                  <a:cxn ang="f1120">
                    <a:pos x="f1217" y="f1218"/>
                  </a:cxn>
                  <a:cxn ang="f1120">
                    <a:pos x="f1219" y="f1220"/>
                  </a:cxn>
                  <a:cxn ang="f1120">
                    <a:pos x="f1196" y="f1221"/>
                  </a:cxn>
                  <a:cxn ang="f1120">
                    <a:pos x="f1222" y="f1223"/>
                  </a:cxn>
                  <a:cxn ang="f1120">
                    <a:pos x="f1224" y="f1225"/>
                  </a:cxn>
                  <a:cxn ang="f1120">
                    <a:pos x="f1226" y="f1227"/>
                  </a:cxn>
                  <a:cxn ang="f1120">
                    <a:pos x="f1228" y="f1229"/>
                  </a:cxn>
                  <a:cxn ang="f1120">
                    <a:pos x="f1230" y="f1231"/>
                  </a:cxn>
                  <a:cxn ang="f1120">
                    <a:pos x="f1232" y="f1233"/>
                  </a:cxn>
                  <a:cxn ang="f1120">
                    <a:pos x="f1234" y="f1235"/>
                  </a:cxn>
                  <a:cxn ang="f1120">
                    <a:pos x="f1121" y="f1236"/>
                  </a:cxn>
                  <a:cxn ang="f1120">
                    <a:pos x="f1237" y="f1238"/>
                  </a:cxn>
                  <a:cxn ang="f1120">
                    <a:pos x="f1239" y="f1240"/>
                  </a:cxn>
                  <a:cxn ang="f1120">
                    <a:pos x="f1241" y="f1242"/>
                  </a:cxn>
                  <a:cxn ang="f1120">
                    <a:pos x="f1243" y="f1140"/>
                  </a:cxn>
                </a:cxnLst>
                <a:rect l="f1121" t="f1124" r="f1122" b="f1123"/>
                <a:pathLst>
                  <a:path w="1304" h="1344">
                    <a:moveTo>
                      <a:pt x="f9" y="f6"/>
                    </a:moveTo>
                    <a:lnTo>
                      <a:pt x="f10" y="f6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" y="f29"/>
                    </a:lnTo>
                    <a:lnTo>
                      <a:pt x="f2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5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69"/>
                    </a:lnTo>
                    <a:lnTo>
                      <a:pt x="f70" y="f69"/>
                    </a:lnTo>
                    <a:lnTo>
                      <a:pt x="f71" y="f72"/>
                    </a:lnTo>
                    <a:lnTo>
                      <a:pt x="f73" y="f61"/>
                    </a:lnTo>
                    <a:lnTo>
                      <a:pt x="f74" y="f59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76"/>
                    </a:lnTo>
                    <a:lnTo>
                      <a:pt x="f80" y="f81"/>
                    </a:lnTo>
                    <a:lnTo>
                      <a:pt x="f82" y="f59"/>
                    </a:lnTo>
                    <a:lnTo>
                      <a:pt x="f83" y="f84"/>
                    </a:lnTo>
                    <a:lnTo>
                      <a:pt x="f85" y="f86"/>
                    </a:lnTo>
                    <a:lnTo>
                      <a:pt x="f87" y="f59"/>
                    </a:lnTo>
                    <a:lnTo>
                      <a:pt x="f88" y="f76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75" y="f95"/>
                    </a:lnTo>
                    <a:lnTo>
                      <a:pt x="f74" y="f96"/>
                    </a:lnTo>
                    <a:lnTo>
                      <a:pt x="f97" y="f98"/>
                    </a:lnTo>
                    <a:lnTo>
                      <a:pt x="f93" y="f99"/>
                    </a:lnTo>
                    <a:lnTo>
                      <a:pt x="f100" y="f48"/>
                    </a:lnTo>
                    <a:lnTo>
                      <a:pt x="f101" y="f102"/>
                    </a:lnTo>
                    <a:lnTo>
                      <a:pt x="f88" y="f103"/>
                    </a:lnTo>
                    <a:lnTo>
                      <a:pt x="f104" y="f40"/>
                    </a:lnTo>
                    <a:lnTo>
                      <a:pt x="f105" y="f106"/>
                    </a:lnTo>
                    <a:lnTo>
                      <a:pt x="f107" y="f40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50"/>
                    </a:lnTo>
                    <a:lnTo>
                      <a:pt x="f113" y="f50"/>
                    </a:lnTo>
                    <a:lnTo>
                      <a:pt x="f114" y="f99"/>
                    </a:lnTo>
                    <a:lnTo>
                      <a:pt x="f115" y="f50"/>
                    </a:lnTo>
                    <a:lnTo>
                      <a:pt x="f116" y="f46"/>
                    </a:lnTo>
                    <a:lnTo>
                      <a:pt x="f117" y="f44"/>
                    </a:lnTo>
                    <a:lnTo>
                      <a:pt x="f118" y="f119"/>
                    </a:lnTo>
                    <a:lnTo>
                      <a:pt x="f120" y="f46"/>
                    </a:lnTo>
                    <a:lnTo>
                      <a:pt x="f121" y="f48"/>
                    </a:lnTo>
                    <a:lnTo>
                      <a:pt x="f121" y="f122"/>
                    </a:lnTo>
                    <a:lnTo>
                      <a:pt x="f123" y="f50"/>
                    </a:lnTo>
                    <a:lnTo>
                      <a:pt x="f123" y="f99"/>
                    </a:lnTo>
                    <a:lnTo>
                      <a:pt x="f124" y="f125"/>
                    </a:lnTo>
                    <a:lnTo>
                      <a:pt x="f126" y="f125"/>
                    </a:lnTo>
                    <a:lnTo>
                      <a:pt x="f127" y="f99"/>
                    </a:lnTo>
                    <a:lnTo>
                      <a:pt x="f128" y="f99"/>
                    </a:lnTo>
                    <a:lnTo>
                      <a:pt x="f129" y="f98"/>
                    </a:lnTo>
                    <a:lnTo>
                      <a:pt x="f130" y="f131"/>
                    </a:lnTo>
                    <a:lnTo>
                      <a:pt x="f129" y="f132"/>
                    </a:lnTo>
                    <a:lnTo>
                      <a:pt x="f129" y="f133"/>
                    </a:lnTo>
                    <a:lnTo>
                      <a:pt x="f130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2"/>
                    </a:lnTo>
                    <a:lnTo>
                      <a:pt x="f144" y="f138"/>
                    </a:lnTo>
                    <a:lnTo>
                      <a:pt x="f145" y="f146"/>
                    </a:ln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22"/>
                    </a:lnTo>
                    <a:lnTo>
                      <a:pt x="f149" y="f119"/>
                    </a:lnTo>
                    <a:lnTo>
                      <a:pt x="f147" y="f152"/>
                    </a:lnTo>
                    <a:lnTo>
                      <a:pt x="f145" y="f153"/>
                    </a:lnTo>
                    <a:lnTo>
                      <a:pt x="f154" y="f155"/>
                    </a:lnTo>
                    <a:lnTo>
                      <a:pt x="f154" y="f156"/>
                    </a:lnTo>
                    <a:lnTo>
                      <a:pt x="f157" y="f158"/>
                    </a:lnTo>
                    <a:lnTo>
                      <a:pt x="f159" y="f22"/>
                    </a:lnTo>
                    <a:lnTo>
                      <a:pt x="f160" y="f161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6" y="f167"/>
                    </a:lnTo>
                    <a:lnTo>
                      <a:pt x="f168" y="f169"/>
                    </a:lnTo>
                    <a:lnTo>
                      <a:pt x="f170" y="f26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lnTo>
                      <a:pt x="f177" y="f178"/>
                    </a:lnTo>
                    <a:lnTo>
                      <a:pt x="f179" y="f180"/>
                    </a:lnTo>
                    <a:lnTo>
                      <a:pt x="f181" y="f32"/>
                    </a:lnTo>
                    <a:lnTo>
                      <a:pt x="f182" y="f152"/>
                    </a:lnTo>
                    <a:lnTo>
                      <a:pt x="f183" y="f103"/>
                    </a:lnTo>
                    <a:lnTo>
                      <a:pt x="f184" y="f119"/>
                    </a:lnTo>
                    <a:lnTo>
                      <a:pt x="f185" y="f102"/>
                    </a:lnTo>
                    <a:lnTo>
                      <a:pt x="f186" y="f103"/>
                    </a:lnTo>
                    <a:lnTo>
                      <a:pt x="f187" y="f106"/>
                    </a:lnTo>
                    <a:lnTo>
                      <a:pt x="f188" y="f38"/>
                    </a:lnTo>
                    <a:lnTo>
                      <a:pt x="f189" y="f190"/>
                    </a:lnTo>
                    <a:lnTo>
                      <a:pt x="f191" y="f152"/>
                    </a:lnTo>
                    <a:lnTo>
                      <a:pt x="f192" y="f193"/>
                    </a:lnTo>
                    <a:lnTo>
                      <a:pt x="f194" y="f195"/>
                    </a:lnTo>
                    <a:lnTo>
                      <a:pt x="f196" y="f32"/>
                    </a:lnTo>
                    <a:lnTo>
                      <a:pt x="f197" y="f195"/>
                    </a:lnTo>
                    <a:lnTo>
                      <a:pt x="f198" y="f193"/>
                    </a:lnTo>
                    <a:lnTo>
                      <a:pt x="f199" y="f200"/>
                    </a:lnTo>
                    <a:lnTo>
                      <a:pt x="f201" y="f200"/>
                    </a:lnTo>
                    <a:lnTo>
                      <a:pt x="f202" y="f193"/>
                    </a:lnTo>
                    <a:lnTo>
                      <a:pt x="f203" y="f204"/>
                    </a:lnTo>
                    <a:lnTo>
                      <a:pt x="f205" y="f153"/>
                    </a:lnTo>
                    <a:lnTo>
                      <a:pt x="f206" y="f36"/>
                    </a:lnTo>
                    <a:lnTo>
                      <a:pt x="f207" y="f190"/>
                    </a:lnTo>
                    <a:lnTo>
                      <a:pt x="f208" y="f109"/>
                    </a:lnTo>
                    <a:lnTo>
                      <a:pt x="f209" y="f119"/>
                    </a:lnTo>
                    <a:lnTo>
                      <a:pt x="f210" y="f122"/>
                    </a:lnTo>
                    <a:lnTo>
                      <a:pt x="f211" y="f212"/>
                    </a:lnTo>
                    <a:lnTo>
                      <a:pt x="f213" y="f54"/>
                    </a:lnTo>
                    <a:lnTo>
                      <a:pt x="f214" y="f132"/>
                    </a:lnTo>
                    <a:lnTo>
                      <a:pt x="f215" y="f56"/>
                    </a:lnTo>
                    <a:lnTo>
                      <a:pt x="f216" y="f217"/>
                    </a:lnTo>
                    <a:lnTo>
                      <a:pt x="f218" y="f92"/>
                    </a:lnTo>
                    <a:lnTo>
                      <a:pt x="f219" y="f220"/>
                    </a:lnTo>
                    <a:lnTo>
                      <a:pt x="f219" y="f221"/>
                    </a:lnTo>
                    <a:lnTo>
                      <a:pt x="f222" y="f223"/>
                    </a:lnTo>
                    <a:lnTo>
                      <a:pt x="f224" y="f81"/>
                    </a:lnTo>
                    <a:lnTo>
                      <a:pt x="f225" y="f226"/>
                    </a:lnTo>
                    <a:lnTo>
                      <a:pt x="f227" y="f65"/>
                    </a:lnTo>
                    <a:lnTo>
                      <a:pt x="f228" y="f67"/>
                    </a:lnTo>
                    <a:lnTo>
                      <a:pt x="f229" y="f230"/>
                    </a:lnTo>
                    <a:lnTo>
                      <a:pt x="f231" y="f232"/>
                    </a:lnTo>
                    <a:lnTo>
                      <a:pt x="f233" y="f234"/>
                    </a:lnTo>
                    <a:lnTo>
                      <a:pt x="f227" y="f235"/>
                    </a:lnTo>
                    <a:lnTo>
                      <a:pt x="f236" y="f237"/>
                    </a:lnTo>
                    <a:lnTo>
                      <a:pt x="f238" y="f239"/>
                    </a:lnTo>
                    <a:lnTo>
                      <a:pt x="f228" y="f240"/>
                    </a:lnTo>
                    <a:lnTo>
                      <a:pt x="f241" y="f242"/>
                    </a:lnTo>
                    <a:lnTo>
                      <a:pt x="f243" y="f244"/>
                    </a:lnTo>
                    <a:lnTo>
                      <a:pt x="f245" y="f246"/>
                    </a:lnTo>
                    <a:lnTo>
                      <a:pt x="f247" y="f248"/>
                    </a:lnTo>
                    <a:lnTo>
                      <a:pt x="f249" y="f250"/>
                    </a:lnTo>
                    <a:lnTo>
                      <a:pt x="f251" y="f252"/>
                    </a:lnTo>
                    <a:lnTo>
                      <a:pt x="f253" y="f254"/>
                    </a:lnTo>
                    <a:lnTo>
                      <a:pt x="f255" y="f256"/>
                    </a:lnTo>
                    <a:lnTo>
                      <a:pt x="f257" y="f258"/>
                    </a:lnTo>
                    <a:lnTo>
                      <a:pt x="f259" y="f260"/>
                    </a:lnTo>
                    <a:lnTo>
                      <a:pt x="f261" y="f262"/>
                    </a:lnTo>
                    <a:lnTo>
                      <a:pt x="f263" y="f262"/>
                    </a:lnTo>
                    <a:lnTo>
                      <a:pt x="f264" y="f265"/>
                    </a:lnTo>
                    <a:lnTo>
                      <a:pt x="f266" y="f267"/>
                    </a:lnTo>
                    <a:lnTo>
                      <a:pt x="f268" y="f269"/>
                    </a:lnTo>
                    <a:lnTo>
                      <a:pt x="f266" y="f270"/>
                    </a:lnTo>
                    <a:lnTo>
                      <a:pt x="f266" y="f271"/>
                    </a:lnTo>
                    <a:lnTo>
                      <a:pt x="f272" y="f273"/>
                    </a:lnTo>
                    <a:lnTo>
                      <a:pt x="f274" y="f275"/>
                    </a:lnTo>
                    <a:lnTo>
                      <a:pt x="f276" y="f277"/>
                    </a:lnTo>
                    <a:lnTo>
                      <a:pt x="f278" y="f279"/>
                    </a:lnTo>
                    <a:lnTo>
                      <a:pt x="f280" y="f281"/>
                    </a:lnTo>
                    <a:lnTo>
                      <a:pt x="f282" y="f283"/>
                    </a:lnTo>
                    <a:lnTo>
                      <a:pt x="f284" y="f285"/>
                    </a:lnTo>
                    <a:lnTo>
                      <a:pt x="f274" y="f286"/>
                    </a:lnTo>
                    <a:lnTo>
                      <a:pt x="f287" y="f288"/>
                    </a:lnTo>
                    <a:lnTo>
                      <a:pt x="f289" y="f290"/>
                    </a:lnTo>
                    <a:lnTo>
                      <a:pt x="f289" y="f291"/>
                    </a:lnTo>
                    <a:lnTo>
                      <a:pt x="f272" y="f292"/>
                    </a:lnTo>
                    <a:lnTo>
                      <a:pt x="f293" y="f294"/>
                    </a:lnTo>
                    <a:lnTo>
                      <a:pt x="f295" y="f296"/>
                    </a:lnTo>
                    <a:lnTo>
                      <a:pt x="f297" y="f298"/>
                    </a:lnTo>
                    <a:lnTo>
                      <a:pt x="f299" y="f300"/>
                    </a:lnTo>
                    <a:lnTo>
                      <a:pt x="f301" y="f302"/>
                    </a:lnTo>
                    <a:lnTo>
                      <a:pt x="f303" y="f304"/>
                    </a:lnTo>
                    <a:lnTo>
                      <a:pt x="f259" y="f19"/>
                    </a:lnTo>
                    <a:lnTo>
                      <a:pt x="f305" y="f306"/>
                    </a:lnTo>
                    <a:lnTo>
                      <a:pt x="f307" y="f308"/>
                    </a:lnTo>
                    <a:lnTo>
                      <a:pt x="f264" y="f309"/>
                    </a:lnTo>
                    <a:lnTo>
                      <a:pt x="f289" y="f310"/>
                    </a:lnTo>
                    <a:lnTo>
                      <a:pt x="f311" y="f23"/>
                    </a:lnTo>
                    <a:lnTo>
                      <a:pt x="f312" y="f313"/>
                    </a:lnTo>
                    <a:lnTo>
                      <a:pt x="f314" y="f315"/>
                    </a:lnTo>
                    <a:lnTo>
                      <a:pt x="f316" y="f317"/>
                    </a:lnTo>
                    <a:lnTo>
                      <a:pt x="f311" y="f31"/>
                    </a:lnTo>
                    <a:lnTo>
                      <a:pt x="f318" y="f319"/>
                    </a:lnTo>
                    <a:lnTo>
                      <a:pt x="f320" y="f35"/>
                    </a:lnTo>
                    <a:lnTo>
                      <a:pt x="f321" y="f322"/>
                    </a:lnTo>
                    <a:lnTo>
                      <a:pt x="f323" y="f324"/>
                    </a:lnTo>
                    <a:lnTo>
                      <a:pt x="f325" y="f326"/>
                    </a:lnTo>
                    <a:lnTo>
                      <a:pt x="f327" y="f328"/>
                    </a:lnTo>
                    <a:lnTo>
                      <a:pt x="f329" y="f330"/>
                    </a:lnTo>
                    <a:lnTo>
                      <a:pt x="f331" y="f332"/>
                    </a:lnTo>
                    <a:lnTo>
                      <a:pt x="f333" y="f334"/>
                    </a:lnTo>
                    <a:lnTo>
                      <a:pt x="f335" y="f51"/>
                    </a:lnTo>
                    <a:lnTo>
                      <a:pt x="f336" y="f337"/>
                    </a:lnTo>
                    <a:lnTo>
                      <a:pt x="f338" y="f339"/>
                    </a:lnTo>
                    <a:lnTo>
                      <a:pt x="f340" y="f341"/>
                    </a:lnTo>
                    <a:lnTo>
                      <a:pt x="f342" y="f343"/>
                    </a:lnTo>
                    <a:lnTo>
                      <a:pt x="f344" y="f345"/>
                    </a:lnTo>
                    <a:lnTo>
                      <a:pt x="f346" y="f347"/>
                    </a:lnTo>
                    <a:lnTo>
                      <a:pt x="f348" y="f97"/>
                    </a:lnTo>
                    <a:lnTo>
                      <a:pt x="f349" y="f350"/>
                    </a:lnTo>
                    <a:lnTo>
                      <a:pt x="f351" y="f82"/>
                    </a:lnTo>
                    <a:lnTo>
                      <a:pt x="f352" y="f353"/>
                    </a:lnTo>
                    <a:lnTo>
                      <a:pt x="f354" y="f85"/>
                    </a:lnTo>
                    <a:lnTo>
                      <a:pt x="f355" y="f88"/>
                    </a:lnTo>
                    <a:lnTo>
                      <a:pt x="f356" y="f88"/>
                    </a:lnTo>
                    <a:lnTo>
                      <a:pt x="f357" y="f358"/>
                    </a:lnTo>
                    <a:lnTo>
                      <a:pt x="f359" y="f360"/>
                    </a:lnTo>
                    <a:lnTo>
                      <a:pt x="f361" y="f362"/>
                    </a:lnTo>
                    <a:lnTo>
                      <a:pt x="f363" y="f358"/>
                    </a:lnTo>
                    <a:lnTo>
                      <a:pt x="f363" y="f87"/>
                    </a:lnTo>
                    <a:lnTo>
                      <a:pt x="f364" y="f353"/>
                    </a:lnTo>
                    <a:lnTo>
                      <a:pt x="f365" y="f366"/>
                    </a:lnTo>
                    <a:lnTo>
                      <a:pt x="f367" y="f89"/>
                    </a:lnTo>
                    <a:lnTo>
                      <a:pt x="f368" y="f101"/>
                    </a:lnTo>
                    <a:lnTo>
                      <a:pt x="f369" y="f101"/>
                    </a:lnTo>
                    <a:lnTo>
                      <a:pt x="f370" y="f83"/>
                    </a:lnTo>
                    <a:lnTo>
                      <a:pt x="f371" y="f85"/>
                    </a:lnTo>
                    <a:lnTo>
                      <a:pt x="f372" y="f373"/>
                    </a:lnTo>
                    <a:lnTo>
                      <a:pt x="f374" y="f375"/>
                    </a:lnTo>
                    <a:lnTo>
                      <a:pt x="f376" y="f377"/>
                    </a:lnTo>
                    <a:lnTo>
                      <a:pt x="f378" y="f379"/>
                    </a:lnTo>
                    <a:lnTo>
                      <a:pt x="f380" y="f381"/>
                    </a:lnTo>
                    <a:lnTo>
                      <a:pt x="f382" y="f383"/>
                    </a:lnTo>
                    <a:lnTo>
                      <a:pt x="f384" y="f385"/>
                    </a:lnTo>
                    <a:lnTo>
                      <a:pt x="f386" y="f387"/>
                    </a:lnTo>
                    <a:lnTo>
                      <a:pt x="f388" y="f137"/>
                    </a:lnTo>
                    <a:lnTo>
                      <a:pt x="f389" y="f137"/>
                    </a:lnTo>
                    <a:lnTo>
                      <a:pt x="f390" y="f391"/>
                    </a:lnTo>
                    <a:lnTo>
                      <a:pt x="f392" y="f393"/>
                    </a:lnTo>
                    <a:lnTo>
                      <a:pt x="f394" y="f395"/>
                    </a:lnTo>
                    <a:lnTo>
                      <a:pt x="f396" y="f149"/>
                    </a:lnTo>
                    <a:lnTo>
                      <a:pt x="f397" y="f398"/>
                    </a:lnTo>
                    <a:lnTo>
                      <a:pt x="f399" y="f400"/>
                    </a:lnTo>
                    <a:lnTo>
                      <a:pt x="f401" y="f402"/>
                    </a:lnTo>
                    <a:lnTo>
                      <a:pt x="f403" y="f404"/>
                    </a:lnTo>
                    <a:lnTo>
                      <a:pt x="f405" y="f170"/>
                    </a:lnTo>
                    <a:lnTo>
                      <a:pt x="f406" y="f407"/>
                    </a:lnTo>
                    <a:lnTo>
                      <a:pt x="f408" y="f409"/>
                    </a:lnTo>
                    <a:lnTo>
                      <a:pt x="f410" y="f407"/>
                    </a:lnTo>
                    <a:lnTo>
                      <a:pt x="f410" y="f411"/>
                    </a:lnTo>
                    <a:lnTo>
                      <a:pt x="f412" y="f168"/>
                    </a:lnTo>
                    <a:lnTo>
                      <a:pt x="f412" y="f164"/>
                    </a:lnTo>
                    <a:lnTo>
                      <a:pt x="f408" y="f413"/>
                    </a:lnTo>
                    <a:lnTo>
                      <a:pt x="f408" y="f162"/>
                    </a:lnTo>
                    <a:lnTo>
                      <a:pt x="f414" y="f415"/>
                    </a:lnTo>
                    <a:lnTo>
                      <a:pt x="f412" y="f416"/>
                    </a:lnTo>
                    <a:lnTo>
                      <a:pt x="f417" y="f402"/>
                    </a:lnTo>
                    <a:lnTo>
                      <a:pt x="f418" y="f162"/>
                    </a:lnTo>
                    <a:lnTo>
                      <a:pt x="f419" y="f168"/>
                    </a:lnTo>
                    <a:lnTo>
                      <a:pt x="f420" y="f421"/>
                    </a:lnTo>
                    <a:lnTo>
                      <a:pt x="f422" y="f423"/>
                    </a:lnTo>
                    <a:lnTo>
                      <a:pt x="f424" y="f425"/>
                    </a:lnTo>
                    <a:lnTo>
                      <a:pt x="f426" y="f427"/>
                    </a:lnTo>
                    <a:lnTo>
                      <a:pt x="f428" y="f427"/>
                    </a:lnTo>
                    <a:lnTo>
                      <a:pt x="f429" y="f430"/>
                    </a:lnTo>
                    <a:lnTo>
                      <a:pt x="f431" y="f185"/>
                    </a:lnTo>
                    <a:lnTo>
                      <a:pt x="f432" y="f187"/>
                    </a:lnTo>
                    <a:lnTo>
                      <a:pt x="f433" y="f434"/>
                    </a:lnTo>
                    <a:lnTo>
                      <a:pt x="f435" y="f436"/>
                    </a:lnTo>
                    <a:lnTo>
                      <a:pt x="f435" y="f437"/>
                    </a:lnTo>
                    <a:lnTo>
                      <a:pt x="f438" y="f439"/>
                    </a:lnTo>
                    <a:lnTo>
                      <a:pt x="f440" y="f441"/>
                    </a:lnTo>
                    <a:lnTo>
                      <a:pt x="f442" y="f443"/>
                    </a:lnTo>
                    <a:lnTo>
                      <a:pt x="f444" y="f199"/>
                    </a:lnTo>
                    <a:lnTo>
                      <a:pt x="f445" y="f446"/>
                    </a:lnTo>
                    <a:lnTo>
                      <a:pt x="f7" y="f447"/>
                    </a:lnTo>
                    <a:lnTo>
                      <a:pt x="f7" y="f448"/>
                    </a:lnTo>
                    <a:lnTo>
                      <a:pt x="f449" y="f450"/>
                    </a:lnTo>
                    <a:lnTo>
                      <a:pt x="f433" y="f451"/>
                    </a:lnTo>
                    <a:lnTo>
                      <a:pt x="f452" y="f453"/>
                    </a:lnTo>
                    <a:lnTo>
                      <a:pt x="f454" y="f455"/>
                    </a:lnTo>
                    <a:lnTo>
                      <a:pt x="f456" y="f457"/>
                    </a:lnTo>
                    <a:lnTo>
                      <a:pt x="f429" y="f458"/>
                    </a:lnTo>
                    <a:lnTo>
                      <a:pt x="f459" y="f460"/>
                    </a:lnTo>
                    <a:lnTo>
                      <a:pt x="f461" y="f462"/>
                    </a:lnTo>
                    <a:lnTo>
                      <a:pt x="f463" y="f460"/>
                    </a:lnTo>
                    <a:lnTo>
                      <a:pt x="f464" y="f465"/>
                    </a:lnTo>
                    <a:lnTo>
                      <a:pt x="f466" y="f211"/>
                    </a:lnTo>
                    <a:lnTo>
                      <a:pt x="f467" y="f457"/>
                    </a:lnTo>
                    <a:lnTo>
                      <a:pt x="f468" y="f469"/>
                    </a:lnTo>
                    <a:lnTo>
                      <a:pt x="f470" y="f471"/>
                    </a:lnTo>
                    <a:lnTo>
                      <a:pt x="f472" y="f210"/>
                    </a:lnTo>
                    <a:lnTo>
                      <a:pt x="f473" y="f474"/>
                    </a:lnTo>
                    <a:lnTo>
                      <a:pt x="f475" y="f476"/>
                    </a:lnTo>
                    <a:lnTo>
                      <a:pt x="f477" y="f476"/>
                    </a:lnTo>
                    <a:lnTo>
                      <a:pt x="f406" y="f474"/>
                    </a:lnTo>
                    <a:lnTo>
                      <a:pt x="f478" y="f479"/>
                    </a:lnTo>
                    <a:lnTo>
                      <a:pt x="f480" y="f465"/>
                    </a:lnTo>
                    <a:lnTo>
                      <a:pt x="f478" y="f462"/>
                    </a:lnTo>
                    <a:lnTo>
                      <a:pt x="f481" y="f482"/>
                    </a:lnTo>
                    <a:lnTo>
                      <a:pt x="f481" y="f483"/>
                    </a:lnTo>
                    <a:lnTo>
                      <a:pt x="f480" y="f484"/>
                    </a:lnTo>
                    <a:lnTo>
                      <a:pt x="f485" y="f486"/>
                    </a:lnTo>
                    <a:lnTo>
                      <a:pt x="f487" y="f488"/>
                    </a:lnTo>
                    <a:lnTo>
                      <a:pt x="f489" y="f238"/>
                    </a:lnTo>
                    <a:lnTo>
                      <a:pt x="f490" y="f231"/>
                    </a:lnTo>
                    <a:lnTo>
                      <a:pt x="f491" y="f492"/>
                    </a:lnTo>
                    <a:lnTo>
                      <a:pt x="f489" y="f493"/>
                    </a:lnTo>
                    <a:lnTo>
                      <a:pt x="f494" y="f495"/>
                    </a:lnTo>
                    <a:lnTo>
                      <a:pt x="f496" y="f497"/>
                    </a:lnTo>
                    <a:lnTo>
                      <a:pt x="f498" y="f499"/>
                    </a:lnTo>
                    <a:lnTo>
                      <a:pt x="f500" y="f501"/>
                    </a:lnTo>
                    <a:lnTo>
                      <a:pt x="f502" y="f503"/>
                    </a:lnTo>
                    <a:lnTo>
                      <a:pt x="f504" y="f257"/>
                    </a:lnTo>
                    <a:lnTo>
                      <a:pt x="f505" y="f506"/>
                    </a:lnTo>
                    <a:lnTo>
                      <a:pt x="f507" y="f303"/>
                    </a:lnTo>
                    <a:lnTo>
                      <a:pt x="f508" y="f509"/>
                    </a:lnTo>
                    <a:lnTo>
                      <a:pt x="f510" y="f307"/>
                    </a:lnTo>
                    <a:lnTo>
                      <a:pt x="f511" y="f264"/>
                    </a:lnTo>
                    <a:lnTo>
                      <a:pt x="f512" y="f513"/>
                    </a:lnTo>
                    <a:lnTo>
                      <a:pt x="f376" y="f312"/>
                    </a:lnTo>
                    <a:lnTo>
                      <a:pt x="f514" y="f278"/>
                    </a:lnTo>
                    <a:lnTo>
                      <a:pt x="f515" y="f321"/>
                    </a:lnTo>
                    <a:lnTo>
                      <a:pt x="f516" y="f517"/>
                    </a:lnTo>
                    <a:lnTo>
                      <a:pt x="f518" y="f519"/>
                    </a:lnTo>
                    <a:lnTo>
                      <a:pt x="f520" y="f521"/>
                    </a:lnTo>
                    <a:lnTo>
                      <a:pt x="f522" y="f523"/>
                    </a:lnTo>
                    <a:lnTo>
                      <a:pt x="f524" y="f525"/>
                    </a:lnTo>
                    <a:lnTo>
                      <a:pt x="f526" y="f335"/>
                    </a:lnTo>
                    <a:lnTo>
                      <a:pt x="f359" y="f338"/>
                    </a:lnTo>
                    <a:lnTo>
                      <a:pt x="f527" y="f528"/>
                    </a:lnTo>
                    <a:lnTo>
                      <a:pt x="f355" y="f529"/>
                    </a:lnTo>
                    <a:lnTo>
                      <a:pt x="f355" y="f346"/>
                    </a:lnTo>
                    <a:lnTo>
                      <a:pt x="f527" y="f530"/>
                    </a:lnTo>
                    <a:lnTo>
                      <a:pt x="f531" y="f532"/>
                    </a:lnTo>
                    <a:lnTo>
                      <a:pt x="f533" y="f534"/>
                    </a:lnTo>
                    <a:lnTo>
                      <a:pt x="f535" y="f536"/>
                    </a:lnTo>
                    <a:lnTo>
                      <a:pt x="f537" y="f538"/>
                    </a:lnTo>
                    <a:lnTo>
                      <a:pt x="f539" y="f540"/>
                    </a:lnTo>
                    <a:lnTo>
                      <a:pt x="f518" y="f533"/>
                    </a:lnTo>
                    <a:lnTo>
                      <a:pt x="f541" y="f526"/>
                    </a:lnTo>
                    <a:lnTo>
                      <a:pt x="f542" y="f543"/>
                    </a:lnTo>
                    <a:lnTo>
                      <a:pt x="f544" y="f545"/>
                    </a:lnTo>
                    <a:lnTo>
                      <a:pt x="f546" y="f547"/>
                    </a:lnTo>
                    <a:lnTo>
                      <a:pt x="f548" y="f518"/>
                    </a:lnTo>
                    <a:lnTo>
                      <a:pt x="f549" y="f550"/>
                    </a:lnTo>
                    <a:lnTo>
                      <a:pt x="f551" y="f552"/>
                    </a:lnTo>
                    <a:lnTo>
                      <a:pt x="f512" y="f378"/>
                    </a:lnTo>
                    <a:lnTo>
                      <a:pt x="f553" y="f554"/>
                    </a:lnTo>
                    <a:lnTo>
                      <a:pt x="f555" y="f380"/>
                    </a:lnTo>
                    <a:lnTo>
                      <a:pt x="f556" y="f557"/>
                    </a:lnTo>
                    <a:lnTo>
                      <a:pt x="f558" y="f386"/>
                    </a:lnTo>
                    <a:lnTo>
                      <a:pt x="f548" y="f508"/>
                    </a:lnTo>
                    <a:lnTo>
                      <a:pt x="f559" y="f560"/>
                    </a:lnTo>
                    <a:lnTo>
                      <a:pt x="f561" y="f562"/>
                    </a:lnTo>
                    <a:lnTo>
                      <a:pt x="f561" y="f505"/>
                    </a:lnTo>
                    <a:lnTo>
                      <a:pt x="f548" y="f563"/>
                    </a:lnTo>
                    <a:lnTo>
                      <a:pt x="f556" y="f563"/>
                    </a:lnTo>
                    <a:lnTo>
                      <a:pt x="f551" y="f505"/>
                    </a:lnTo>
                    <a:lnTo>
                      <a:pt x="f564" y="f565"/>
                    </a:lnTo>
                    <a:lnTo>
                      <a:pt x="f566" y="f567"/>
                    </a:lnTo>
                    <a:lnTo>
                      <a:pt x="f568" y="f565"/>
                    </a:lnTo>
                    <a:lnTo>
                      <a:pt x="f569" y="f563"/>
                    </a:lnTo>
                    <a:lnTo>
                      <a:pt x="f570" y="f571"/>
                    </a:lnTo>
                    <a:lnTo>
                      <a:pt x="f572" y="f573"/>
                    </a:lnTo>
                    <a:lnTo>
                      <a:pt x="f574" y="f500"/>
                    </a:lnTo>
                    <a:lnTo>
                      <a:pt x="f572" y="f575"/>
                    </a:lnTo>
                    <a:lnTo>
                      <a:pt x="f570" y="f397"/>
                    </a:lnTo>
                    <a:lnTo>
                      <a:pt x="f382" y="f576"/>
                    </a:lnTo>
                    <a:lnTo>
                      <a:pt x="f577" y="f487"/>
                    </a:lnTo>
                    <a:lnTo>
                      <a:pt x="f578" y="f489"/>
                    </a:lnTo>
                    <a:lnTo>
                      <a:pt x="f577" y="f414"/>
                    </a:lnTo>
                    <a:lnTo>
                      <a:pt x="f568" y="f477"/>
                    </a:lnTo>
                    <a:lnTo>
                      <a:pt x="f557" y="f579"/>
                    </a:lnTo>
                    <a:lnTo>
                      <a:pt x="f580" y="f581"/>
                    </a:lnTo>
                    <a:lnTo>
                      <a:pt x="f380" y="f582"/>
                    </a:lnTo>
                    <a:lnTo>
                      <a:pt x="f380" y="f583"/>
                    </a:lnTo>
                    <a:lnTo>
                      <a:pt x="f578" y="f419"/>
                    </a:lnTo>
                    <a:lnTo>
                      <a:pt x="f568" y="f584"/>
                    </a:lnTo>
                    <a:lnTo>
                      <a:pt x="f557" y="f585"/>
                    </a:lnTo>
                    <a:lnTo>
                      <a:pt x="f578" y="f586"/>
                    </a:lnTo>
                    <a:lnTo>
                      <a:pt x="f587" y="f588"/>
                    </a:lnTo>
                    <a:lnTo>
                      <a:pt x="f376" y="f588"/>
                    </a:lnTo>
                    <a:lnTo>
                      <a:pt x="f550" y="f589"/>
                    </a:lnTo>
                    <a:lnTo>
                      <a:pt x="f515" y="f585"/>
                    </a:lnTo>
                    <a:lnTo>
                      <a:pt x="f544" y="f590"/>
                    </a:lnTo>
                    <a:lnTo>
                      <a:pt x="f591" y="f418"/>
                    </a:lnTo>
                    <a:lnTo>
                      <a:pt x="f539" y="f579"/>
                    </a:lnTo>
                    <a:lnTo>
                      <a:pt x="f370" y="f592"/>
                    </a:lnTo>
                    <a:lnTo>
                      <a:pt x="f545" y="f410"/>
                    </a:lnTo>
                    <a:lnTo>
                      <a:pt x="f367" y="f408"/>
                    </a:lnTo>
                    <a:lnTo>
                      <a:pt x="f364" y="f406"/>
                    </a:lnTo>
                    <a:lnTo>
                      <a:pt x="f365" y="f487"/>
                    </a:lnTo>
                    <a:lnTo>
                      <a:pt x="f543" y="f593"/>
                    </a:lnTo>
                    <a:lnTo>
                      <a:pt x="f524" y="f594"/>
                    </a:lnTo>
                    <a:lnTo>
                      <a:pt x="f524" y="f595"/>
                    </a:lnTo>
                    <a:lnTo>
                      <a:pt x="f596" y="f394"/>
                    </a:lnTo>
                    <a:lnTo>
                      <a:pt x="f359" y="f597"/>
                    </a:lnTo>
                    <a:lnTo>
                      <a:pt x="f357" y="f598"/>
                    </a:lnTo>
                    <a:lnTo>
                      <a:pt x="f599" y="f573"/>
                    </a:lnTo>
                    <a:lnTo>
                      <a:pt x="f600" y="f502"/>
                    </a:lnTo>
                    <a:lnTo>
                      <a:pt x="f601" y="f502"/>
                    </a:lnTo>
                    <a:lnTo>
                      <a:pt x="f348" y="f573"/>
                    </a:lnTo>
                    <a:lnTo>
                      <a:pt x="f602" y="f598"/>
                    </a:lnTo>
                    <a:lnTo>
                      <a:pt x="f603" y="f597"/>
                    </a:lnTo>
                    <a:lnTo>
                      <a:pt x="f604" y="f605"/>
                    </a:lnTo>
                    <a:lnTo>
                      <a:pt x="f606" y="f607"/>
                    </a:lnTo>
                    <a:lnTo>
                      <a:pt x="f608" y="f595"/>
                    </a:lnTo>
                    <a:lnTo>
                      <a:pt x="f609" y="f401"/>
                    </a:lnTo>
                    <a:lnTo>
                      <a:pt x="f523" y="f399"/>
                    </a:lnTo>
                    <a:lnTo>
                      <a:pt x="f323" y="f396"/>
                    </a:lnTo>
                    <a:lnTo>
                      <a:pt x="f610" y="f611"/>
                    </a:lnTo>
                    <a:lnTo>
                      <a:pt x="f282" y="f598"/>
                    </a:lnTo>
                    <a:lnTo>
                      <a:pt x="f612" y="f613"/>
                    </a:lnTo>
                    <a:lnTo>
                      <a:pt x="f314" y="f390"/>
                    </a:lnTo>
                    <a:lnTo>
                      <a:pt x="f614" y="f390"/>
                    </a:lnTo>
                    <a:lnTo>
                      <a:pt x="f272" y="f613"/>
                    </a:lnTo>
                    <a:lnTo>
                      <a:pt x="f615" y="f502"/>
                    </a:lnTo>
                    <a:lnTo>
                      <a:pt x="f261" y="f613"/>
                    </a:lnTo>
                    <a:lnTo>
                      <a:pt x="f301" y="f616"/>
                    </a:lnTo>
                    <a:lnTo>
                      <a:pt x="f617" y="f616"/>
                    </a:lnTo>
                    <a:lnTo>
                      <a:pt x="f255" y="f502"/>
                    </a:lnTo>
                    <a:lnTo>
                      <a:pt x="f618" y="f502"/>
                    </a:lnTo>
                    <a:lnTo>
                      <a:pt x="f253" y="f616"/>
                    </a:lnTo>
                    <a:lnTo>
                      <a:pt x="f619" y="f504"/>
                    </a:lnTo>
                    <a:lnTo>
                      <a:pt x="f619" y="f620"/>
                    </a:lnTo>
                    <a:lnTo>
                      <a:pt x="f621" y="f622"/>
                    </a:lnTo>
                    <a:lnTo>
                      <a:pt x="f623" y="f624"/>
                    </a:lnTo>
                    <a:lnTo>
                      <a:pt x="f623" y="f625"/>
                    </a:lnTo>
                    <a:lnTo>
                      <a:pt x="f619" y="f624"/>
                    </a:lnTo>
                    <a:lnTo>
                      <a:pt x="f626" y="f562"/>
                    </a:lnTo>
                    <a:lnTo>
                      <a:pt x="f627" y="f628"/>
                    </a:lnTo>
                    <a:lnTo>
                      <a:pt x="f629" y="f504"/>
                    </a:lnTo>
                    <a:lnTo>
                      <a:pt x="f630" y="f616"/>
                    </a:lnTo>
                    <a:lnTo>
                      <a:pt x="f247" y="f631"/>
                    </a:lnTo>
                    <a:lnTo>
                      <a:pt x="f629" y="f500"/>
                    </a:lnTo>
                    <a:lnTo>
                      <a:pt x="f249" y="f632"/>
                    </a:lnTo>
                    <a:lnTo>
                      <a:pt x="f627" y="f397"/>
                    </a:lnTo>
                    <a:lnTo>
                      <a:pt x="f633" y="f634"/>
                    </a:lnTo>
                    <a:lnTo>
                      <a:pt x="f635" y="f403"/>
                    </a:lnTo>
                    <a:lnTo>
                      <a:pt x="f635" y="f636"/>
                    </a:lnTo>
                    <a:lnTo>
                      <a:pt x="f249" y="f637"/>
                    </a:lnTo>
                    <a:lnTo>
                      <a:pt x="f630" y="f405"/>
                    </a:lnTo>
                    <a:lnTo>
                      <a:pt x="f638" y="f405"/>
                    </a:lnTo>
                    <a:lnTo>
                      <a:pt x="f639" y="f637"/>
                    </a:lnTo>
                    <a:lnTo>
                      <a:pt x="f640" y="f637"/>
                    </a:lnTo>
                    <a:lnTo>
                      <a:pt x="f469" y="f405"/>
                    </a:lnTo>
                    <a:lnTo>
                      <a:pt x="f474" y="f487"/>
                    </a:lnTo>
                    <a:lnTo>
                      <a:pt x="f641" y="f489"/>
                    </a:lnTo>
                    <a:lnTo>
                      <a:pt x="f642" y="f406"/>
                    </a:lnTo>
                    <a:lnTo>
                      <a:pt x="f643" y="f412"/>
                    </a:lnTo>
                    <a:lnTo>
                      <a:pt x="f644" y="f410"/>
                    </a:lnTo>
                    <a:lnTo>
                      <a:pt x="f446" y="f412"/>
                    </a:lnTo>
                    <a:lnTo>
                      <a:pt x="f443" y="f408"/>
                    </a:lnTo>
                    <a:lnTo>
                      <a:pt x="f645" y="f412"/>
                    </a:lnTo>
                    <a:lnTo>
                      <a:pt x="f646" y="f417"/>
                    </a:lnTo>
                    <a:lnTo>
                      <a:pt x="f647" y="f582"/>
                    </a:lnTo>
                    <a:lnTo>
                      <a:pt x="f648" y="f590"/>
                    </a:lnTo>
                    <a:lnTo>
                      <a:pt x="f649" y="f650"/>
                    </a:lnTo>
                    <a:lnTo>
                      <a:pt x="f651" y="f586"/>
                    </a:lnTo>
                    <a:lnTo>
                      <a:pt x="f652" y="f467"/>
                    </a:lnTo>
                    <a:lnTo>
                      <a:pt x="f653" y="f467"/>
                    </a:lnTo>
                    <a:lnTo>
                      <a:pt x="f654" y="f655"/>
                    </a:lnTo>
                    <a:lnTo>
                      <a:pt x="f656" y="f657"/>
                    </a:lnTo>
                    <a:lnTo>
                      <a:pt x="f181" y="f658"/>
                    </a:lnTo>
                    <a:lnTo>
                      <a:pt x="f659" y="f422"/>
                    </a:lnTo>
                    <a:lnTo>
                      <a:pt x="f179" y="f660"/>
                    </a:lnTo>
                    <a:lnTo>
                      <a:pt x="f661" y="f662"/>
                    </a:lnTo>
                    <a:lnTo>
                      <a:pt x="f663" y="f664"/>
                    </a:lnTo>
                    <a:lnTo>
                      <a:pt x="f665" y="f666"/>
                    </a:lnTo>
                    <a:lnTo>
                      <a:pt x="f407" y="f459"/>
                    </a:lnTo>
                    <a:lnTo>
                      <a:pt x="f170" y="f667"/>
                    </a:lnTo>
                    <a:lnTo>
                      <a:pt x="f415" y="f668"/>
                    </a:lnTo>
                    <a:lnTo>
                      <a:pt x="f669" y="f452"/>
                    </a:lnTo>
                    <a:lnTo>
                      <a:pt x="f160" y="f442"/>
                    </a:lnTo>
                    <a:lnTo>
                      <a:pt x="f670" y="f442"/>
                    </a:lnTo>
                    <a:lnTo>
                      <a:pt x="f671" y="f432"/>
                    </a:lnTo>
                    <a:lnTo>
                      <a:pt x="f671" y="f672"/>
                    </a:lnTo>
                    <a:lnTo>
                      <a:pt x="f159" y="f673"/>
                    </a:lnTo>
                    <a:lnTo>
                      <a:pt x="f674" y="f429"/>
                    </a:lnTo>
                    <a:lnTo>
                      <a:pt x="f157" y="f667"/>
                    </a:lnTo>
                    <a:lnTo>
                      <a:pt x="f143" y="f675"/>
                    </a:lnTo>
                    <a:lnTo>
                      <a:pt x="f676" y="f454"/>
                    </a:lnTo>
                    <a:lnTo>
                      <a:pt x="f139" y="f452"/>
                    </a:lnTo>
                    <a:lnTo>
                      <a:pt x="f135" y="f677"/>
                    </a:lnTo>
                    <a:lnTo>
                      <a:pt x="f678" y="f444"/>
                    </a:lnTo>
                    <a:lnTo>
                      <a:pt x="f381" y="f444"/>
                    </a:lnTo>
                    <a:lnTo>
                      <a:pt x="f126" y="f677"/>
                    </a:lnTo>
                    <a:lnTo>
                      <a:pt x="f679" y="f440"/>
                    </a:lnTo>
                    <a:lnTo>
                      <a:pt x="f679" y="f680"/>
                    </a:lnTo>
                    <a:lnTo>
                      <a:pt x="f681" y="f429"/>
                    </a:lnTo>
                    <a:lnTo>
                      <a:pt x="f682" y="f666"/>
                    </a:lnTo>
                    <a:lnTo>
                      <a:pt x="f683" y="f684"/>
                    </a:lnTo>
                    <a:lnTo>
                      <a:pt x="f116" y="f660"/>
                    </a:lnTo>
                    <a:lnTo>
                      <a:pt x="f379" y="f685"/>
                    </a:lnTo>
                    <a:lnTo>
                      <a:pt x="f686" y="f687"/>
                    </a:lnTo>
                    <a:lnTo>
                      <a:pt x="f107" y="f687"/>
                    </a:lnTo>
                    <a:lnTo>
                      <a:pt x="f688" y="f422"/>
                    </a:lnTo>
                    <a:lnTo>
                      <a:pt x="f689" y="f690"/>
                    </a:lnTo>
                    <a:lnTo>
                      <a:pt x="f689" y="f658"/>
                    </a:lnTo>
                    <a:lnTo>
                      <a:pt x="f688" y="f691"/>
                    </a:lnTo>
                    <a:lnTo>
                      <a:pt x="f107" y="f692"/>
                    </a:lnTo>
                    <a:lnTo>
                      <a:pt x="f108" y="f655"/>
                    </a:lnTo>
                    <a:lnTo>
                      <a:pt x="f110" y="f467"/>
                    </a:lnTo>
                    <a:lnTo>
                      <a:pt x="f112" y="f586"/>
                    </a:lnTo>
                    <a:lnTo>
                      <a:pt x="f112" y="f693"/>
                    </a:lnTo>
                    <a:lnTo>
                      <a:pt x="f110" y="f694"/>
                    </a:lnTo>
                    <a:lnTo>
                      <a:pt x="f689" y="f694"/>
                    </a:lnTo>
                    <a:lnTo>
                      <a:pt x="f695" y="f585"/>
                    </a:lnTo>
                    <a:lnTo>
                      <a:pt x="f696" y="f693"/>
                    </a:lnTo>
                    <a:lnTo>
                      <a:pt x="f697" y="f693"/>
                    </a:lnTo>
                    <a:lnTo>
                      <a:pt x="f698" y="f694"/>
                    </a:lnTo>
                    <a:lnTo>
                      <a:pt x="f75" y="f699"/>
                    </a:lnTo>
                    <a:lnTo>
                      <a:pt x="f347" y="f590"/>
                    </a:lnTo>
                    <a:lnTo>
                      <a:pt x="f700" y="f701"/>
                    </a:lnTo>
                    <a:lnTo>
                      <a:pt x="f702" y="f701"/>
                    </a:lnTo>
                    <a:lnTo>
                      <a:pt x="f703" y="f590"/>
                    </a:lnTo>
                    <a:lnTo>
                      <a:pt x="f704" y="f705"/>
                    </a:lnTo>
                    <a:lnTo>
                      <a:pt x="f706" y="f468"/>
                    </a:lnTo>
                    <a:lnTo>
                      <a:pt x="f49" y="f650"/>
                    </a:lnTo>
                    <a:lnTo>
                      <a:pt x="f707" y="f650"/>
                    </a:lnTo>
                    <a:lnTo>
                      <a:pt x="f708" y="f584"/>
                    </a:lnTo>
                    <a:lnTo>
                      <a:pt x="f709" y="f590"/>
                    </a:lnTo>
                    <a:lnTo>
                      <a:pt x="f709" y="f418"/>
                    </a:lnTo>
                    <a:lnTo>
                      <a:pt x="f710" y="f711"/>
                    </a:lnTo>
                    <a:lnTo>
                      <a:pt x="f710" y="f417"/>
                    </a:lnTo>
                    <a:lnTo>
                      <a:pt x="f712" y="f477"/>
                    </a:lnTo>
                    <a:lnTo>
                      <a:pt x="f37" y="f477"/>
                    </a:lnTo>
                    <a:lnTo>
                      <a:pt x="f713" y="f592"/>
                    </a:lnTo>
                    <a:lnTo>
                      <a:pt x="f714" y="f579"/>
                    </a:lnTo>
                    <a:lnTo>
                      <a:pt x="f715" y="f475"/>
                    </a:lnTo>
                    <a:lnTo>
                      <a:pt x="f716" y="f473"/>
                    </a:lnTo>
                    <a:lnTo>
                      <a:pt x="f37" y="f590"/>
                    </a:lnTo>
                    <a:lnTo>
                      <a:pt x="f717" y="f699"/>
                    </a:lnTo>
                    <a:lnTo>
                      <a:pt x="f718" y="f693"/>
                    </a:lnTo>
                    <a:lnTo>
                      <a:pt x="f719" y="f420"/>
                    </a:lnTo>
                    <a:lnTo>
                      <a:pt x="f710" y="f424"/>
                    </a:lnTo>
                    <a:lnTo>
                      <a:pt x="f47" y="f461"/>
                    </a:lnTo>
                    <a:lnTo>
                      <a:pt x="f328" y="f720"/>
                    </a:lnTo>
                    <a:lnTo>
                      <a:pt x="f709" y="f431"/>
                    </a:lnTo>
                    <a:lnTo>
                      <a:pt x="f41" y="f442"/>
                    </a:lnTo>
                    <a:lnTo>
                      <a:pt x="f713" y="f445"/>
                    </a:lnTo>
                    <a:lnTo>
                      <a:pt x="f721" y="f722"/>
                    </a:lnTo>
                    <a:lnTo>
                      <a:pt x="f723" y="f724"/>
                    </a:lnTo>
                    <a:lnTo>
                      <a:pt x="f725" y="f726"/>
                    </a:lnTo>
                    <a:lnTo>
                      <a:pt x="f317" y="f727"/>
                    </a:lnTo>
                    <a:lnTo>
                      <a:pt x="f728" y="f729"/>
                    </a:lnTo>
                    <a:lnTo>
                      <a:pt x="f730" y="f731"/>
                    </a:lnTo>
                    <a:lnTo>
                      <a:pt x="f306" y="f732"/>
                    </a:lnTo>
                    <a:lnTo>
                      <a:pt x="f733" y="f734"/>
                    </a:lnTo>
                    <a:lnTo>
                      <a:pt x="f302" y="f8"/>
                    </a:lnTo>
                    <a:lnTo>
                      <a:pt x="f10" y="f734"/>
                    </a:lnTo>
                    <a:lnTo>
                      <a:pt x="f10" y="f735"/>
                    </a:lnTo>
                    <a:lnTo>
                      <a:pt x="f736" y="f737"/>
                    </a:lnTo>
                    <a:lnTo>
                      <a:pt x="f304" y="f727"/>
                    </a:lnTo>
                    <a:lnTo>
                      <a:pt x="f13" y="f738"/>
                    </a:lnTo>
                    <a:lnTo>
                      <a:pt x="f13" y="f739"/>
                    </a:lnTo>
                    <a:lnTo>
                      <a:pt x="f740" y="f724"/>
                    </a:lnTo>
                    <a:lnTo>
                      <a:pt x="f13" y="f741"/>
                    </a:lnTo>
                    <a:lnTo>
                      <a:pt x="f15" y="f7"/>
                    </a:lnTo>
                    <a:lnTo>
                      <a:pt x="f15" y="f742"/>
                    </a:lnTo>
                    <a:lnTo>
                      <a:pt x="f733" y="f438"/>
                    </a:lnTo>
                    <a:lnTo>
                      <a:pt x="f743" y="f438"/>
                    </a:lnTo>
                    <a:lnTo>
                      <a:pt x="f302" y="f435"/>
                    </a:lnTo>
                    <a:lnTo>
                      <a:pt x="f744" y="f449"/>
                    </a:lnTo>
                    <a:lnTo>
                      <a:pt x="f296" y="f7"/>
                    </a:lnTo>
                    <a:lnTo>
                      <a:pt x="f745" y="f746"/>
                    </a:lnTo>
                    <a:lnTo>
                      <a:pt x="f747" y="f445"/>
                    </a:lnTo>
                    <a:lnTo>
                      <a:pt x="f291" y="f444"/>
                    </a:lnTo>
                    <a:lnTo>
                      <a:pt x="f291" y="f431"/>
                    </a:lnTo>
                    <a:lnTo>
                      <a:pt x="f748" y="f749"/>
                    </a:lnTo>
                    <a:lnTo>
                      <a:pt x="f750" y="f751"/>
                    </a:lnTo>
                    <a:lnTo>
                      <a:pt x="f750" y="f752"/>
                    </a:lnTo>
                    <a:lnTo>
                      <a:pt x="f291" y="f684"/>
                    </a:lnTo>
                    <a:lnTo>
                      <a:pt x="f753" y="f424"/>
                    </a:lnTo>
                    <a:lnTo>
                      <a:pt x="f754" y="f685"/>
                    </a:lnTo>
                    <a:lnTo>
                      <a:pt x="f755" y="f422"/>
                    </a:lnTo>
                    <a:lnTo>
                      <a:pt x="f756" y="f658"/>
                    </a:lnTo>
                    <a:lnTo>
                      <a:pt x="f757" y="f692"/>
                    </a:lnTo>
                    <a:lnTo>
                      <a:pt x="f758" y="f759"/>
                    </a:lnTo>
                    <a:lnTo>
                      <a:pt x="f760" y="f468"/>
                    </a:lnTo>
                    <a:lnTo>
                      <a:pt x="f761" y="f705"/>
                    </a:lnTo>
                    <a:lnTo>
                      <a:pt x="f762" y="f705"/>
                    </a:lnTo>
                    <a:lnTo>
                      <a:pt x="f763" y="f650"/>
                    </a:lnTo>
                    <a:lnTo>
                      <a:pt x="f764" y="f468"/>
                    </a:lnTo>
                    <a:lnTo>
                      <a:pt x="f262" y="f468"/>
                    </a:lnTo>
                    <a:lnTo>
                      <a:pt x="f765" y="f584"/>
                    </a:lnTo>
                    <a:lnTo>
                      <a:pt x="f765" y="f473"/>
                    </a:lnTo>
                    <a:lnTo>
                      <a:pt x="f260" y="f581"/>
                    </a:lnTo>
                    <a:lnTo>
                      <a:pt x="f766" y="f417"/>
                    </a:lnTo>
                    <a:lnTo>
                      <a:pt x="f767" y="f592"/>
                    </a:lnTo>
                    <a:lnTo>
                      <a:pt x="f254" y="f581"/>
                    </a:lnTo>
                    <a:lnTo>
                      <a:pt x="f252" y="f768"/>
                    </a:lnTo>
                    <a:lnTo>
                      <a:pt x="f769" y="f699"/>
                    </a:lnTo>
                    <a:lnTo>
                      <a:pt x="f770" y="f694"/>
                    </a:lnTo>
                    <a:lnTo>
                      <a:pt x="f246" y="f693"/>
                    </a:lnTo>
                    <a:lnTo>
                      <a:pt x="f771" y="f759"/>
                    </a:lnTo>
                    <a:lnTo>
                      <a:pt x="f242" y="f585"/>
                    </a:lnTo>
                    <a:lnTo>
                      <a:pt x="f772" y="f468"/>
                    </a:lnTo>
                    <a:lnTo>
                      <a:pt x="f773" y="f584"/>
                    </a:lnTo>
                    <a:lnTo>
                      <a:pt x="f774" y="f775"/>
                    </a:lnTo>
                    <a:lnTo>
                      <a:pt x="f776" y="f472"/>
                    </a:lnTo>
                    <a:lnTo>
                      <a:pt x="f777" y="f473"/>
                    </a:lnTo>
                    <a:lnTo>
                      <a:pt x="f778" y="f418"/>
                    </a:lnTo>
                    <a:lnTo>
                      <a:pt x="f237" y="f475"/>
                    </a:lnTo>
                    <a:lnTo>
                      <a:pt x="f777" y="f592"/>
                    </a:lnTo>
                    <a:lnTo>
                      <a:pt x="f774" y="f412"/>
                    </a:lnTo>
                    <a:lnTo>
                      <a:pt x="f779" y="f414"/>
                    </a:lnTo>
                    <a:lnTo>
                      <a:pt x="f780" y="f406"/>
                    </a:lnTo>
                    <a:lnTo>
                      <a:pt x="f781" y="f491"/>
                    </a:lnTo>
                    <a:lnTo>
                      <a:pt x="f782" y="f478"/>
                    </a:lnTo>
                    <a:lnTo>
                      <a:pt x="f783" y="f494"/>
                    </a:lnTo>
                    <a:lnTo>
                      <a:pt x="f784" y="f785"/>
                    </a:lnTo>
                    <a:lnTo>
                      <a:pt x="f262" y="f401"/>
                    </a:lnTo>
                    <a:lnTo>
                      <a:pt x="f786" y="f399"/>
                    </a:lnTo>
                    <a:lnTo>
                      <a:pt x="f787" y="f788"/>
                    </a:lnTo>
                    <a:lnTo>
                      <a:pt x="f762" y="f634"/>
                    </a:lnTo>
                    <a:lnTo>
                      <a:pt x="f277" y="f594"/>
                    </a:lnTo>
                    <a:lnTo>
                      <a:pt x="f281" y="f594"/>
                    </a:lnTo>
                    <a:lnTo>
                      <a:pt x="f789" y="f634"/>
                    </a:lnTo>
                    <a:lnTo>
                      <a:pt x="f283" y="f607"/>
                    </a:lnTo>
                    <a:lnTo>
                      <a:pt x="f755" y="f397"/>
                    </a:lnTo>
                    <a:lnTo>
                      <a:pt x="f790" y="f397"/>
                    </a:lnTo>
                    <a:lnTo>
                      <a:pt x="f791" y="f498"/>
                    </a:lnTo>
                    <a:lnTo>
                      <a:pt x="f792" y="f793"/>
                    </a:lnTo>
                    <a:lnTo>
                      <a:pt x="f792" y="f794"/>
                    </a:lnTo>
                    <a:lnTo>
                      <a:pt x="f795" y="f505"/>
                    </a:lnTo>
                    <a:lnTo>
                      <a:pt x="f795" y="f622"/>
                    </a:lnTo>
                    <a:lnTo>
                      <a:pt x="f9" y="f565"/>
                    </a:lnTo>
                    <a:lnTo>
                      <a:pt x="f791" y="f567"/>
                    </a:lnTo>
                    <a:lnTo>
                      <a:pt x="f748" y="f567"/>
                    </a:lnTo>
                    <a:lnTo>
                      <a:pt x="f291" y="f624"/>
                    </a:lnTo>
                    <a:lnTo>
                      <a:pt x="f291" y="f625"/>
                    </a:lnTo>
                    <a:lnTo>
                      <a:pt x="f790" y="f796"/>
                    </a:lnTo>
                    <a:lnTo>
                      <a:pt x="f291" y="f560"/>
                    </a:lnTo>
                    <a:lnTo>
                      <a:pt x="f797" y="f798"/>
                    </a:lnTo>
                    <a:lnTo>
                      <a:pt x="f9" y="f799"/>
                    </a:lnTo>
                    <a:lnTo>
                      <a:pt x="f792" y="f800"/>
                    </a:lnTo>
                    <a:lnTo>
                      <a:pt x="f791" y="f801"/>
                    </a:lnTo>
                    <a:lnTo>
                      <a:pt x="f750" y="f380"/>
                    </a:lnTo>
                    <a:lnTo>
                      <a:pt x="f750" y="f378"/>
                    </a:lnTo>
                    <a:lnTo>
                      <a:pt x="f291" y="f515"/>
                    </a:lnTo>
                    <a:lnTo>
                      <a:pt x="f802" y="f591"/>
                    </a:lnTo>
                    <a:lnTo>
                      <a:pt x="f747" y="f803"/>
                    </a:lnTo>
                    <a:lnTo>
                      <a:pt x="f791" y="f535"/>
                    </a:lnTo>
                    <a:lnTo>
                      <a:pt x="f294" y="f533"/>
                    </a:lnTo>
                    <a:lnTo>
                      <a:pt x="f804" y="f805"/>
                    </a:lnTo>
                    <a:lnTo>
                      <a:pt x="f298" y="f806"/>
                    </a:lnTo>
                    <a:lnTo>
                      <a:pt x="f807" y="f808"/>
                    </a:lnTo>
                    <a:lnTo>
                      <a:pt x="f809" y="f810"/>
                    </a:lnTo>
                    <a:lnTo>
                      <a:pt x="f795" y="f602"/>
                    </a:lnTo>
                    <a:lnTo>
                      <a:pt x="f791" y="f528"/>
                    </a:lnTo>
                    <a:lnTo>
                      <a:pt x="f802" y="f811"/>
                    </a:lnTo>
                    <a:lnTo>
                      <a:pt x="f790" y="f519"/>
                    </a:lnTo>
                    <a:lnTo>
                      <a:pt x="f290" y="f320"/>
                    </a:lnTo>
                    <a:lnTo>
                      <a:pt x="f812" y="f316"/>
                    </a:lnTo>
                    <a:lnTo>
                      <a:pt x="f813" y="f264"/>
                    </a:lnTo>
                    <a:lnTo>
                      <a:pt x="f755" y="f503"/>
                    </a:lnTo>
                    <a:lnTo>
                      <a:pt x="f814" y="f815"/>
                    </a:lnTo>
                    <a:lnTo>
                      <a:pt x="f814" y="f618"/>
                    </a:lnTo>
                    <a:lnTo>
                      <a:pt x="f816" y="f619"/>
                    </a:lnTo>
                    <a:lnTo>
                      <a:pt x="f754" y="f817"/>
                    </a:lnTo>
                    <a:lnTo>
                      <a:pt x="f286" y="f627"/>
                    </a:lnTo>
                    <a:lnTo>
                      <a:pt x="f286" y="f818"/>
                    </a:lnTo>
                    <a:lnTo>
                      <a:pt x="f288" y="f819"/>
                    </a:lnTo>
                    <a:lnTo>
                      <a:pt x="f790" y="f241"/>
                    </a:lnTo>
                    <a:lnTo>
                      <a:pt x="f296" y="f820"/>
                    </a:lnTo>
                    <a:lnTo>
                      <a:pt x="f821" y="f231"/>
                    </a:lnTo>
                    <a:lnTo>
                      <a:pt x="f17" y="f822"/>
                    </a:lnTo>
                    <a:lnTo>
                      <a:pt x="f823" y="f225"/>
                    </a:lnTo>
                    <a:lnTo>
                      <a:pt x="f309" y="f486"/>
                    </a:lnTo>
                    <a:lnTo>
                      <a:pt x="f824" y="f218"/>
                    </a:lnTo>
                    <a:lnTo>
                      <a:pt x="f23" y="f484"/>
                    </a:lnTo>
                    <a:lnTo>
                      <a:pt x="f728" y="f214"/>
                    </a:lnTo>
                    <a:lnTo>
                      <a:pt x="f315" y="f825"/>
                    </a:lnTo>
                    <a:lnTo>
                      <a:pt x="f826" y="f827"/>
                    </a:lnTo>
                    <a:lnTo>
                      <a:pt x="f315" y="f640"/>
                    </a:lnTo>
                    <a:lnTo>
                      <a:pt x="f313" y="f211"/>
                    </a:lnTo>
                    <a:lnTo>
                      <a:pt x="f828" y="f453"/>
                    </a:lnTo>
                    <a:lnTo>
                      <a:pt x="f730" y="f206"/>
                    </a:lnTo>
                    <a:lnTo>
                      <a:pt x="f309" y="f829"/>
                    </a:lnTo>
                    <a:lnTo>
                      <a:pt x="f830" y="f448"/>
                    </a:lnTo>
                    <a:lnTo>
                      <a:pt x="f831" y="f832"/>
                    </a:lnTo>
                    <a:lnTo>
                      <a:pt x="f833" y="f448"/>
                    </a:lnTo>
                    <a:lnTo>
                      <a:pt x="f826" y="f834"/>
                    </a:lnTo>
                    <a:lnTo>
                      <a:pt x="f27" y="f835"/>
                    </a:lnTo>
                    <a:lnTo>
                      <a:pt x="f33" y="f836"/>
                    </a:lnTo>
                    <a:lnTo>
                      <a:pt x="f35" y="f836"/>
                    </a:lnTo>
                    <a:lnTo>
                      <a:pt x="f322" y="f835"/>
                    </a:lnTo>
                    <a:lnTo>
                      <a:pt x="f837" y="f838"/>
                    </a:lnTo>
                    <a:lnTo>
                      <a:pt x="f324" y="f203"/>
                    </a:lnTo>
                    <a:lnTo>
                      <a:pt x="f715" y="f203"/>
                    </a:lnTo>
                    <a:lnTo>
                      <a:pt x="f839" y="f832"/>
                    </a:lnTo>
                    <a:lnTo>
                      <a:pt x="f37" y="f838"/>
                    </a:lnTo>
                    <a:lnTo>
                      <a:pt x="f717" y="f840"/>
                    </a:lnTo>
                    <a:lnTo>
                      <a:pt x="f717" y="f829"/>
                    </a:lnTo>
                    <a:lnTo>
                      <a:pt x="f718" y="f205"/>
                    </a:lnTo>
                    <a:lnTo>
                      <a:pt x="f841" y="f205"/>
                    </a:lnTo>
                    <a:lnTo>
                      <a:pt x="f719" y="f835"/>
                    </a:lnTo>
                    <a:lnTo>
                      <a:pt x="f43" y="f829"/>
                    </a:lnTo>
                    <a:lnTo>
                      <a:pt x="f712" y="f829"/>
                    </a:lnTo>
                    <a:lnTo>
                      <a:pt x="f47" y="f834"/>
                    </a:lnTo>
                    <a:lnTo>
                      <a:pt x="f842" y="f832"/>
                    </a:lnTo>
                    <a:lnTo>
                      <a:pt x="f843" y="f844"/>
                    </a:lnTo>
                    <a:lnTo>
                      <a:pt x="f47" y="f845"/>
                    </a:lnTo>
                    <a:lnTo>
                      <a:pt x="f709" y="f846"/>
                    </a:lnTo>
                    <a:lnTo>
                      <a:pt x="f43" y="f847"/>
                    </a:lnTo>
                    <a:lnTo>
                      <a:pt x="f39" y="f848"/>
                    </a:lnTo>
                    <a:lnTo>
                      <a:pt x="f37" y="f849"/>
                    </a:lnTo>
                    <a:lnTo>
                      <a:pt x="f716" y="f850"/>
                    </a:lnTo>
                    <a:lnTo>
                      <a:pt x="f37" y="f851"/>
                    </a:lnTo>
                    <a:lnTo>
                      <a:pt x="f37" y="f645"/>
                    </a:lnTo>
                    <a:lnTo>
                      <a:pt x="f718" y="f852"/>
                    </a:lnTo>
                    <a:lnTo>
                      <a:pt x="f841" y="f853"/>
                    </a:lnTo>
                    <a:lnTo>
                      <a:pt x="f719" y="f189"/>
                    </a:lnTo>
                    <a:lnTo>
                      <a:pt x="f841" y="f854"/>
                    </a:lnTo>
                    <a:lnTo>
                      <a:pt x="f39" y="f855"/>
                    </a:lnTo>
                    <a:lnTo>
                      <a:pt x="f719" y="f856"/>
                    </a:lnTo>
                    <a:lnTo>
                      <a:pt x="f43" y="f185"/>
                    </a:lnTo>
                    <a:lnTo>
                      <a:pt x="f43" y="f184"/>
                    </a:lnTo>
                    <a:lnTo>
                      <a:pt x="f41" y="f427"/>
                    </a:lnTo>
                    <a:lnTo>
                      <a:pt x="f717" y="f656"/>
                    </a:lnTo>
                    <a:lnTo>
                      <a:pt x="f715" y="f421"/>
                    </a:lnTo>
                    <a:lnTo>
                      <a:pt x="f837" y="f857"/>
                    </a:lnTo>
                    <a:lnTo>
                      <a:pt x="f858" y="f859"/>
                    </a:lnTo>
                    <a:lnTo>
                      <a:pt x="f27" y="f413"/>
                    </a:lnTo>
                    <a:lnTo>
                      <a:pt x="f25" y="f415"/>
                    </a:lnTo>
                    <a:lnTo>
                      <a:pt x="f860" y="f402"/>
                    </a:lnTo>
                    <a:lnTo>
                      <a:pt x="f833" y="f402"/>
                    </a:lnTo>
                    <a:lnTo>
                      <a:pt x="f23" y="f416"/>
                    </a:lnTo>
                    <a:lnTo>
                      <a:pt x="f828" y="f416"/>
                    </a:lnTo>
                    <a:lnTo>
                      <a:pt x="f310" y="f861"/>
                    </a:lnTo>
                    <a:lnTo>
                      <a:pt x="f824" y="f669"/>
                    </a:lnTo>
                    <a:lnTo>
                      <a:pt x="f730" y="f160"/>
                    </a:lnTo>
                    <a:lnTo>
                      <a:pt x="f862" y="f863"/>
                    </a:lnTo>
                    <a:lnTo>
                      <a:pt x="f823" y="f149"/>
                    </a:lnTo>
                    <a:lnTo>
                      <a:pt x="f21" y="f144"/>
                    </a:lnTo>
                    <a:lnTo>
                      <a:pt x="f864" y="f865"/>
                    </a:lnTo>
                    <a:lnTo>
                      <a:pt x="f866" y="f395"/>
                    </a:lnTo>
                    <a:lnTo>
                      <a:pt x="f306" y="f867"/>
                    </a:lnTo>
                    <a:lnTo>
                      <a:pt x="f868" y="f869"/>
                    </a:lnTo>
                    <a:lnTo>
                      <a:pt x="f308" y="f141"/>
                    </a:lnTo>
                    <a:lnTo>
                      <a:pt x="f862" y="f393"/>
                    </a:lnTo>
                    <a:lnTo>
                      <a:pt x="f870" y="f871"/>
                    </a:lnTo>
                    <a:lnTo>
                      <a:pt x="f872" y="f873"/>
                    </a:lnTo>
                    <a:lnTo>
                      <a:pt x="f15" y="f137"/>
                    </a:lnTo>
                    <a:lnTo>
                      <a:pt x="f302" y="f874"/>
                    </a:lnTo>
                    <a:lnTo>
                      <a:pt x="f300" y="f678"/>
                    </a:lnTo>
                    <a:lnTo>
                      <a:pt x="f875" y="f876"/>
                    </a:lnTo>
                    <a:lnTo>
                      <a:pt x="f807" y="f877"/>
                    </a:lnTo>
                    <a:lnTo>
                      <a:pt x="f296" y="f123"/>
                    </a:lnTo>
                    <a:lnTo>
                      <a:pt x="f809" y="f117"/>
                    </a:lnTo>
                    <a:lnTo>
                      <a:pt x="f804" y="f878"/>
                    </a:lnTo>
                    <a:lnTo>
                      <a:pt x="f804" y="f686"/>
                    </a:lnTo>
                    <a:lnTo>
                      <a:pt x="f809" y="f879"/>
                    </a:lnTo>
                    <a:lnTo>
                      <a:pt x="f792" y="f880"/>
                    </a:lnTo>
                    <a:lnTo>
                      <a:pt x="f292" y="f375"/>
                    </a:lnTo>
                    <a:lnTo>
                      <a:pt x="f797" y="f881"/>
                    </a:lnTo>
                    <a:lnTo>
                      <a:pt x="f292" y="f87"/>
                    </a:lnTo>
                    <a:lnTo>
                      <a:pt x="f745" y="f85"/>
                    </a:lnTo>
                    <a:lnTo>
                      <a:pt x="f795" y="f353"/>
                    </a:lnTo>
                    <a:lnTo>
                      <a:pt x="f875" y="f101"/>
                    </a:lnTo>
                    <a:lnTo>
                      <a:pt x="f744" y="f882"/>
                    </a:lnTo>
                    <a:lnTo>
                      <a:pt x="f744" y="f91"/>
                    </a:lnTo>
                    <a:lnTo>
                      <a:pt x="f298" y="f350"/>
                    </a:lnTo>
                    <a:lnTo>
                      <a:pt x="f296" y="f883"/>
                    </a:lnTo>
                    <a:lnTo>
                      <a:pt x="f884" y="f97"/>
                    </a:lnTo>
                    <a:lnTo>
                      <a:pt x="f294" y="f347"/>
                    </a:lnTo>
                    <a:lnTo>
                      <a:pt x="f294" y="f885"/>
                    </a:lnTo>
                    <a:lnTo>
                      <a:pt x="f795" y="f886"/>
                    </a:lnTo>
                    <a:lnTo>
                      <a:pt x="f745" y="f887"/>
                    </a:lnTo>
                    <a:lnTo>
                      <a:pt x="f797" y="f337"/>
                    </a:lnTo>
                    <a:lnTo>
                      <a:pt x="f748" y="f888"/>
                    </a:lnTo>
                    <a:lnTo>
                      <a:pt x="f790" y="f55"/>
                    </a:lnTo>
                    <a:lnTo>
                      <a:pt x="f290" y="f704"/>
                    </a:lnTo>
                    <a:lnTo>
                      <a:pt x="f812" y="f889"/>
                    </a:lnTo>
                    <a:lnTo>
                      <a:pt x="f890" y="f341"/>
                    </a:lnTo>
                    <a:lnTo>
                      <a:pt x="f285" y="f702"/>
                    </a:lnTo>
                    <a:lnTo>
                      <a:pt x="f891" y="f702"/>
                    </a:lnTo>
                    <a:lnTo>
                      <a:pt x="f892" y="f341"/>
                    </a:lnTo>
                    <a:lnTo>
                      <a:pt x="f281" y="f893"/>
                    </a:lnTo>
                    <a:lnTo>
                      <a:pt x="f761" y="f339"/>
                    </a:lnTo>
                    <a:lnTo>
                      <a:pt x="f894" y="f55"/>
                    </a:lnTo>
                    <a:lnTo>
                      <a:pt x="f279" y="f895"/>
                    </a:lnTo>
                    <a:lnTo>
                      <a:pt x="f277" y="f896"/>
                    </a:lnTo>
                    <a:lnTo>
                      <a:pt x="f897" y="f842"/>
                    </a:lnTo>
                    <a:lnTo>
                      <a:pt x="f273" y="f707"/>
                    </a:lnTo>
                    <a:lnTo>
                      <a:pt x="f762" y="f898"/>
                    </a:lnTo>
                    <a:lnTo>
                      <a:pt x="f271" y="f330"/>
                    </a:lnTo>
                    <a:lnTo>
                      <a:pt x="f899" y="f49"/>
                    </a:lnTo>
                    <a:lnTo>
                      <a:pt x="f900" y="f901"/>
                    </a:lnTo>
                    <a:lnTo>
                      <a:pt x="f763" y="f334"/>
                    </a:lnTo>
                    <a:lnTo>
                      <a:pt x="f902" y="f334"/>
                    </a:lnTo>
                    <a:lnTo>
                      <a:pt x="f903" y="f901"/>
                    </a:lnTo>
                    <a:lnTo>
                      <a:pt x="f786" y="f904"/>
                    </a:lnTo>
                    <a:lnTo>
                      <a:pt x="f903" y="f843"/>
                    </a:lnTo>
                    <a:lnTo>
                      <a:pt x="f902" y="f45"/>
                    </a:lnTo>
                    <a:lnTo>
                      <a:pt x="f763" y="f718"/>
                    </a:lnTo>
                    <a:lnTo>
                      <a:pt x="f763" y="f839"/>
                    </a:lnTo>
                    <a:lnTo>
                      <a:pt x="f269" y="f905"/>
                    </a:lnTo>
                    <a:lnTo>
                      <a:pt x="f265" y="f322"/>
                    </a:lnTo>
                    <a:lnTo>
                      <a:pt x="f262" y="f319"/>
                    </a:lnTo>
                    <a:lnTo>
                      <a:pt x="f262" y="f317"/>
                    </a:lnTo>
                    <a:lnTo>
                      <a:pt x="f765" y="f313"/>
                    </a:lnTo>
                    <a:lnTo>
                      <a:pt x="f906" y="f831"/>
                    </a:lnTo>
                    <a:lnTo>
                      <a:pt x="f766" y="f730"/>
                    </a:lnTo>
                    <a:lnTo>
                      <a:pt x="f907" y="f730"/>
                    </a:lnTo>
                    <a:lnTo>
                      <a:pt x="f250" y="f908"/>
                    </a:lnTo>
                    <a:lnTo>
                      <a:pt x="f248" y="f908"/>
                    </a:lnTo>
                    <a:lnTo>
                      <a:pt x="f909" y="f828"/>
                    </a:lnTo>
                    <a:lnTo>
                      <a:pt x="f910" y="f310"/>
                    </a:lnTo>
                    <a:lnTo>
                      <a:pt x="f911" y="f824"/>
                    </a:lnTo>
                    <a:lnTo>
                      <a:pt x="f911" y="f730"/>
                    </a:lnTo>
                    <a:lnTo>
                      <a:pt x="f780" y="f730"/>
                    </a:lnTo>
                    <a:lnTo>
                      <a:pt x="f244" y="f310"/>
                    </a:lnTo>
                    <a:lnTo>
                      <a:pt x="f912" y="f908"/>
                    </a:lnTo>
                    <a:lnTo>
                      <a:pt x="f772" y="f833"/>
                    </a:lnTo>
                    <a:lnTo>
                      <a:pt x="f240" y="f908"/>
                    </a:lnTo>
                    <a:lnTo>
                      <a:pt x="f776" y="f831"/>
                    </a:lnTo>
                    <a:lnTo>
                      <a:pt x="f776" y="f913"/>
                    </a:lnTo>
                    <a:lnTo>
                      <a:pt x="f914" y="f823"/>
                    </a:lnTo>
                    <a:lnTo>
                      <a:pt x="f773" y="f915"/>
                    </a:lnTo>
                    <a:lnTo>
                      <a:pt x="f916" y="f13"/>
                    </a:lnTo>
                    <a:lnTo>
                      <a:pt x="f916" y="f11"/>
                    </a:lnTo>
                    <a:lnTo>
                      <a:pt x="f773" y="f917"/>
                    </a:lnTo>
                    <a:lnTo>
                      <a:pt x="f918" y="f11"/>
                    </a:lnTo>
                    <a:lnTo>
                      <a:pt x="f919" y="f304"/>
                    </a:lnTo>
                    <a:lnTo>
                      <a:pt x="f235" y="f733"/>
                    </a:lnTo>
                    <a:lnTo>
                      <a:pt x="f920" y="f17"/>
                    </a:lnTo>
                    <a:lnTo>
                      <a:pt x="f921" y="f17"/>
                    </a:lnTo>
                    <a:lnTo>
                      <a:pt x="f922" y="f13"/>
                    </a:lnTo>
                    <a:lnTo>
                      <a:pt x="f923" y="f11"/>
                    </a:lnTo>
                    <a:lnTo>
                      <a:pt x="f63" y="f302"/>
                    </a:lnTo>
                    <a:lnTo>
                      <a:pt x="f86" y="f302"/>
                    </a:lnTo>
                    <a:lnTo>
                      <a:pt x="f223" y="f736"/>
                    </a:lnTo>
                    <a:lnTo>
                      <a:pt x="f140" y="f917"/>
                    </a:lnTo>
                    <a:lnTo>
                      <a:pt x="f924" y="f304"/>
                    </a:lnTo>
                    <a:lnTo>
                      <a:pt x="f132" y="f13"/>
                    </a:lnTo>
                    <a:lnTo>
                      <a:pt x="f96" y="f17"/>
                    </a:lnTo>
                    <a:lnTo>
                      <a:pt x="f131" y="f915"/>
                    </a:lnTo>
                    <a:lnTo>
                      <a:pt x="f925" y="f21"/>
                    </a:lnTo>
                    <a:lnTo>
                      <a:pt x="f925" y="f306"/>
                    </a:lnTo>
                    <a:lnTo>
                      <a:pt x="f131" y="f868"/>
                    </a:lnTo>
                    <a:lnTo>
                      <a:pt x="f54" y="f308"/>
                    </a:lnTo>
                    <a:lnTo>
                      <a:pt x="f95" y="f870"/>
                    </a:lnTo>
                    <a:lnTo>
                      <a:pt x="f926" y="f913"/>
                    </a:lnTo>
                    <a:lnTo>
                      <a:pt x="f94" y="f824"/>
                    </a:lnTo>
                    <a:lnTo>
                      <a:pt x="f94" y="f828"/>
                    </a:lnTo>
                    <a:lnTo>
                      <a:pt x="f924" y="f23"/>
                    </a:lnTo>
                    <a:lnTo>
                      <a:pt x="f217" y="f23"/>
                    </a:lnTo>
                    <a:lnTo>
                      <a:pt x="f146" y="f828"/>
                    </a:lnTo>
                    <a:lnTo>
                      <a:pt x="f92" y="f831"/>
                    </a:lnTo>
                    <a:lnTo>
                      <a:pt x="f138" y="f824"/>
                    </a:lnTo>
                    <a:lnTo>
                      <a:pt x="f140" y="f730"/>
                    </a:lnTo>
                    <a:lnTo>
                      <a:pt x="f927" y="f830"/>
                    </a:lnTo>
                    <a:lnTo>
                      <a:pt x="f928" y="f830"/>
                    </a:lnTo>
                    <a:lnTo>
                      <a:pt x="f90" y="f730"/>
                    </a:lnTo>
                    <a:lnTo>
                      <a:pt x="f220" y="f310"/>
                    </a:lnTo>
                    <a:lnTo>
                      <a:pt x="f929" y="f313"/>
                    </a:lnTo>
                    <a:lnTo>
                      <a:pt x="f90" y="f319"/>
                    </a:lnTo>
                    <a:lnTo>
                      <a:pt x="f142" y="f322"/>
                    </a:lnTo>
                    <a:lnTo>
                      <a:pt x="f136" y="f930"/>
                    </a:lnTo>
                    <a:lnTo>
                      <a:pt x="f217" y="f930"/>
                    </a:lnTo>
                    <a:lnTo>
                      <a:pt x="f56" y="f837"/>
                    </a:lnTo>
                    <a:lnTo>
                      <a:pt x="f54" y="f930"/>
                    </a:lnTo>
                    <a:lnTo>
                      <a:pt x="f150" y="f930"/>
                    </a:lnTo>
                    <a:lnTo>
                      <a:pt x="f52" y="f837"/>
                    </a:lnTo>
                    <a:lnTo>
                      <a:pt x="f50" y="f721"/>
                    </a:lnTo>
                    <a:lnTo>
                      <a:pt x="f122" y="f931"/>
                    </a:lnTo>
                    <a:lnTo>
                      <a:pt x="f122" y="f713"/>
                    </a:lnTo>
                    <a:lnTo>
                      <a:pt x="f50" y="f326"/>
                    </a:lnTo>
                    <a:lnTo>
                      <a:pt x="f50" y="f719"/>
                    </a:lnTo>
                    <a:lnTo>
                      <a:pt x="f48" y="f45"/>
                    </a:lnTo>
                    <a:lnTo>
                      <a:pt x="f932" y="f328"/>
                    </a:lnTo>
                    <a:lnTo>
                      <a:pt x="f109" y="f47"/>
                    </a:lnTo>
                    <a:lnTo>
                      <a:pt x="f204" y="f47"/>
                    </a:lnTo>
                    <a:lnTo>
                      <a:pt x="f178" y="f843"/>
                    </a:lnTo>
                    <a:lnTo>
                      <a:pt x="f933" y="f843"/>
                    </a:lnTo>
                    <a:lnTo>
                      <a:pt x="f934" y="f708"/>
                    </a:lnTo>
                    <a:lnTo>
                      <a:pt x="f22" y="f41"/>
                    </a:lnTo>
                    <a:lnTo>
                      <a:pt x="f935" y="f39"/>
                    </a:lnTo>
                    <a:lnTo>
                      <a:pt x="f22" y="f326"/>
                    </a:lnTo>
                    <a:lnTo>
                      <a:pt x="f936" y="f716"/>
                    </a:lnTo>
                    <a:lnTo>
                      <a:pt x="f937" y="f839"/>
                    </a:lnTo>
                    <a:lnTo>
                      <a:pt x="f934" y="f713"/>
                    </a:lnTo>
                    <a:lnTo>
                      <a:pt x="f169" y="f715"/>
                    </a:lnTo>
                    <a:lnTo>
                      <a:pt x="f933" y="f715"/>
                    </a:lnTo>
                    <a:lnTo>
                      <a:pt x="f938" y="f714"/>
                    </a:lnTo>
                    <a:lnTo>
                      <a:pt x="f939" y="f714"/>
                    </a:lnTo>
                    <a:lnTo>
                      <a:pt x="f939" y="f905"/>
                    </a:lnTo>
                    <a:lnTo>
                      <a:pt x="f26" y="f721"/>
                    </a:lnTo>
                    <a:lnTo>
                      <a:pt x="f939" y="f930"/>
                    </a:lnTo>
                    <a:lnTo>
                      <a:pt x="f938" y="f319"/>
                    </a:lnTo>
                    <a:lnTo>
                      <a:pt x="f24" y="f27"/>
                    </a:lnTo>
                    <a:lnTo>
                      <a:pt x="f169" y="f940"/>
                    </a:lnTo>
                    <a:lnTo>
                      <a:pt x="f941" y="f908"/>
                    </a:lnTo>
                    <a:lnTo>
                      <a:pt x="f942" y="f309"/>
                    </a:lnTo>
                    <a:lnTo>
                      <a:pt x="f174" y="f306"/>
                    </a:lnTo>
                    <a:lnTo>
                      <a:pt x="f28" y="f915"/>
                    </a:lnTo>
                    <a:lnTo>
                      <a:pt x="f943" y="f733"/>
                    </a:lnTo>
                    <a:lnTo>
                      <a:pt x="f158" y="f744"/>
                    </a:lnTo>
                    <a:lnTo>
                      <a:pt x="f24" y="f296"/>
                    </a:lnTo>
                    <a:lnTo>
                      <a:pt x="f937" y="f745"/>
                    </a:lnTo>
                    <a:lnTo>
                      <a:pt x="f20" y="f748"/>
                    </a:lnTo>
                    <a:lnTo>
                      <a:pt x="f18" y="f944"/>
                    </a:lnTo>
                    <a:lnTo>
                      <a:pt x="f945" y="f286"/>
                    </a:lnTo>
                    <a:lnTo>
                      <a:pt x="f165" y="f285"/>
                    </a:lnTo>
                    <a:lnTo>
                      <a:pt x="f16" y="f283"/>
                    </a:lnTo>
                    <a:lnTo>
                      <a:pt x="f946" y="f281"/>
                    </a:lnTo>
                    <a:lnTo>
                      <a:pt x="f946" y="f947"/>
                    </a:lnTo>
                    <a:lnTo>
                      <a:pt x="f163" y="f948"/>
                    </a:lnTo>
                    <a:lnTo>
                      <a:pt x="f18" y="f949"/>
                    </a:lnTo>
                    <a:lnTo>
                      <a:pt x="f20" y="f764"/>
                    </a:lnTo>
                    <a:lnTo>
                      <a:pt x="f167" y="f906"/>
                    </a:lnTo>
                    <a:lnTo>
                      <a:pt x="f20" y="f950"/>
                    </a:lnTo>
                    <a:lnTo>
                      <a:pt x="f945" y="f951"/>
                    </a:lnTo>
                    <a:lnTo>
                      <a:pt x="f952" y="f953"/>
                    </a:lnTo>
                    <a:lnTo>
                      <a:pt x="f954" y="f782"/>
                    </a:lnTo>
                    <a:lnTo>
                      <a:pt x="f12" y="f955"/>
                    </a:lnTo>
                    <a:lnTo>
                      <a:pt x="f6" y="f955"/>
                    </a:lnTo>
                    <a:lnTo>
                      <a:pt x="f6" y="f956"/>
                    </a:lnTo>
                    <a:lnTo>
                      <a:pt x="f12" y="f957"/>
                    </a:lnTo>
                    <a:lnTo>
                      <a:pt x="f954" y="f769"/>
                    </a:lnTo>
                    <a:lnTo>
                      <a:pt x="f16" y="f958"/>
                    </a:lnTo>
                    <a:lnTo>
                      <a:pt x="f161" y="f3"/>
                    </a:lnTo>
                    <a:lnTo>
                      <a:pt x="f937" y="f916"/>
                    </a:lnTo>
                    <a:lnTo>
                      <a:pt x="f939" y="f773"/>
                    </a:lnTo>
                    <a:lnTo>
                      <a:pt x="f172" y="f772"/>
                    </a:lnTo>
                    <a:lnTo>
                      <a:pt x="f174" y="f242"/>
                    </a:lnTo>
                    <a:lnTo>
                      <a:pt x="f959" y="f912"/>
                    </a:lnTo>
                    <a:lnTo>
                      <a:pt x="f29" y="f912"/>
                    </a:lnTo>
                    <a:lnTo>
                      <a:pt x="f960" y="f779"/>
                    </a:lnTo>
                    <a:lnTo>
                      <a:pt x="f961" y="f772"/>
                    </a:lnTo>
                    <a:lnTo>
                      <a:pt x="f32" y="f918"/>
                    </a:lnTo>
                    <a:lnTo>
                      <a:pt x="f962" y="f963"/>
                    </a:lnTo>
                    <a:lnTo>
                      <a:pt x="f34" y="f239"/>
                    </a:lnTo>
                    <a:lnTo>
                      <a:pt x="f106" y="f239"/>
                    </a:lnTo>
                    <a:lnTo>
                      <a:pt x="f48" y="f963"/>
                    </a:lnTo>
                    <a:lnTo>
                      <a:pt x="f150" y="f964"/>
                    </a:lnTo>
                    <a:lnTo>
                      <a:pt x="f132" y="f240"/>
                    </a:lnTo>
                    <a:lnTo>
                      <a:pt x="f133" y="f916"/>
                    </a:lnTo>
                    <a:lnTo>
                      <a:pt x="f924" y="f965"/>
                    </a:lnTo>
                    <a:lnTo>
                      <a:pt x="f966" y="f967"/>
                    </a:lnTo>
                    <a:lnTo>
                      <a:pt x="f134" y="f771"/>
                    </a:lnTo>
                    <a:lnTo>
                      <a:pt x="f92" y="f968"/>
                    </a:lnTo>
                    <a:lnTo>
                      <a:pt x="f136" y="f780"/>
                    </a:lnTo>
                    <a:lnTo>
                      <a:pt x="f928" y="f780"/>
                    </a:lnTo>
                    <a:lnTo>
                      <a:pt x="f226" y="f968"/>
                    </a:lnTo>
                    <a:lnTo>
                      <a:pt x="f969" y="f244"/>
                    </a:lnTo>
                    <a:lnTo>
                      <a:pt x="f923" y="f912"/>
                    </a:lnTo>
                    <a:lnTo>
                      <a:pt x="f923" y="f772"/>
                    </a:lnTo>
                    <a:lnTo>
                      <a:pt x="f970" y="f776"/>
                    </a:lnTo>
                    <a:lnTo>
                      <a:pt x="f970" y="f239"/>
                    </a:lnTo>
                    <a:lnTo>
                      <a:pt x="f67" y="f971"/>
                    </a:lnTo>
                    <a:lnTo>
                      <a:pt x="f69" y="f972"/>
                    </a:lnTo>
                    <a:lnTo>
                      <a:pt x="f973" y="f974"/>
                    </a:lnTo>
                    <a:lnTo>
                      <a:pt x="f67" y="f975"/>
                    </a:lnTo>
                    <a:lnTo>
                      <a:pt x="f923" y="f67"/>
                    </a:lnTo>
                    <a:lnTo>
                      <a:pt x="f976" y="f65"/>
                    </a:lnTo>
                    <a:lnTo>
                      <a:pt x="f923" y="f977"/>
                    </a:lnTo>
                    <a:lnTo>
                      <a:pt x="f69" y="f86"/>
                    </a:lnTo>
                    <a:lnTo>
                      <a:pt x="f921" y="f86"/>
                    </a:lnTo>
                    <a:lnTo>
                      <a:pt x="f974" y="f977"/>
                    </a:lnTo>
                    <a:lnTo>
                      <a:pt x="f972" y="f978"/>
                    </a:lnTo>
                    <a:lnTo>
                      <a:pt x="f979" y="f978"/>
                    </a:lnTo>
                    <a:lnTo>
                      <a:pt x="f918" y="f226"/>
                    </a:lnTo>
                    <a:lnTo>
                      <a:pt x="f772" y="f980"/>
                    </a:lnTo>
                    <a:lnTo>
                      <a:pt x="f779" y="f76"/>
                    </a:lnTo>
                    <a:lnTo>
                      <a:pt x="f965" y="f57"/>
                    </a:lnTo>
                    <a:lnTo>
                      <a:pt x="f912" y="f981"/>
                    </a:lnTo>
                    <a:lnTo>
                      <a:pt x="f967" y="f928"/>
                    </a:lnTo>
                    <a:lnTo>
                      <a:pt x="f771" y="f138"/>
                    </a:lnTo>
                    <a:lnTo>
                      <a:pt x="f911" y="f982"/>
                    </a:lnTo>
                    <a:lnTo>
                      <a:pt x="f250" y="f217"/>
                    </a:lnTo>
                    <a:lnTo>
                      <a:pt x="f983" y="f926"/>
                    </a:lnTo>
                    <a:lnTo>
                      <a:pt x="f953" y="f984"/>
                    </a:lnTo>
                    <a:lnTo>
                      <a:pt x="f782" y="f150"/>
                    </a:lnTo>
                    <a:lnTo>
                      <a:pt x="f955" y="f48"/>
                    </a:lnTo>
                    <a:lnTo>
                      <a:pt x="f955" y="f190"/>
                    </a:lnTo>
                    <a:lnTo>
                      <a:pt x="f782" y="f193"/>
                    </a:lnTo>
                    <a:lnTo>
                      <a:pt x="f951" y="f985"/>
                    </a:lnTo>
                    <a:lnTo>
                      <a:pt x="f784" y="f962"/>
                    </a:lnTo>
                    <a:lnTo>
                      <a:pt x="f260" y="f985"/>
                    </a:lnTo>
                    <a:lnTo>
                      <a:pt x="f764" y="f193"/>
                    </a:lnTo>
                    <a:lnTo>
                      <a:pt x="f786" y="f193"/>
                    </a:lnTo>
                    <a:lnTo>
                      <a:pt x="f949" y="f34"/>
                    </a:lnTo>
                    <a:lnTo>
                      <a:pt x="f271" y="f962"/>
                    </a:lnTo>
                    <a:lnTo>
                      <a:pt x="f894" y="f180"/>
                    </a:lnTo>
                    <a:lnTo>
                      <a:pt x="f986" y="f943"/>
                    </a:lnTo>
                    <a:lnTo>
                      <a:pt x="f890" y="f158"/>
                    </a:lnTo>
                    <a:lnTo>
                      <a:pt x="f286" y="f936"/>
                    </a:lnTo>
                    <a:lnTo>
                      <a:pt x="f987" y="f20"/>
                    </a:lnTo>
                    <a:lnTo>
                      <a:pt x="f987" y="f952"/>
                    </a:lnTo>
                    <a:lnTo>
                      <a:pt x="f291" y="f12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FB9AAEFB-DDDE-46FF-8B18-DE01E7EC13CD}"/>
                  </a:ext>
                </a:extLst>
              </p:cNvPr>
              <p:cNvSpPr/>
              <p:nvPr/>
            </p:nvSpPr>
            <p:spPr>
              <a:xfrm rot="21447621">
                <a:off x="4196484" y="1899163"/>
                <a:ext cx="362001" cy="437695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638"/>
                  <a:gd name="f8" fmla="val 814"/>
                  <a:gd name="f9" fmla="val 449"/>
                  <a:gd name="f10" fmla="val 461"/>
                  <a:gd name="f11" fmla="val 466"/>
                  <a:gd name="f12" fmla="val 2"/>
                  <a:gd name="f13" fmla="val 469"/>
                  <a:gd name="f14" fmla="val 6"/>
                  <a:gd name="f15" fmla="val 10"/>
                  <a:gd name="f16" fmla="val 467"/>
                  <a:gd name="f17" fmla="val 17"/>
                  <a:gd name="f18" fmla="val 24"/>
                  <a:gd name="f19" fmla="val 473"/>
                  <a:gd name="f20" fmla="val 28"/>
                  <a:gd name="f21" fmla="val 476"/>
                  <a:gd name="f22" fmla="val 30"/>
                  <a:gd name="f23" fmla="val 482"/>
                  <a:gd name="f24" fmla="val 38"/>
                  <a:gd name="f25" fmla="val 486"/>
                  <a:gd name="f26" fmla="val 42"/>
                  <a:gd name="f27" fmla="val 491"/>
                  <a:gd name="f28" fmla="val 43"/>
                  <a:gd name="f29" fmla="val 499"/>
                  <a:gd name="f30" fmla="val 502"/>
                  <a:gd name="f31" fmla="val 44"/>
                  <a:gd name="f32" fmla="val 505"/>
                  <a:gd name="f33" fmla="val 46"/>
                  <a:gd name="f34" fmla="val 506"/>
                  <a:gd name="f35" fmla="val 48"/>
                  <a:gd name="f36" fmla="val 507"/>
                  <a:gd name="f37" fmla="val 51"/>
                  <a:gd name="f38" fmla="val 55"/>
                  <a:gd name="f39" fmla="val 503"/>
                  <a:gd name="f40" fmla="val 62"/>
                  <a:gd name="f41" fmla="val 500"/>
                  <a:gd name="f42" fmla="val 68"/>
                  <a:gd name="f43" fmla="val 74"/>
                  <a:gd name="f44" fmla="val 80"/>
                  <a:gd name="f45" fmla="val 87"/>
                  <a:gd name="f46" fmla="val 518"/>
                  <a:gd name="f47" fmla="val 97"/>
                  <a:gd name="f48" fmla="val 522"/>
                  <a:gd name="f49" fmla="val 99"/>
                  <a:gd name="f50" fmla="val 525"/>
                  <a:gd name="f51" fmla="val 528"/>
                  <a:gd name="f52" fmla="val 100"/>
                  <a:gd name="f53" fmla="val 532"/>
                  <a:gd name="f54" fmla="val 101"/>
                  <a:gd name="f55" fmla="val 536"/>
                  <a:gd name="f56" fmla="val 103"/>
                  <a:gd name="f57" fmla="val 531"/>
                  <a:gd name="f58" fmla="val 110"/>
                  <a:gd name="f59" fmla="val 529"/>
                  <a:gd name="f60" fmla="val 118"/>
                  <a:gd name="f61" fmla="val 530"/>
                  <a:gd name="f62" fmla="val 125"/>
                  <a:gd name="f63" fmla="val 542"/>
                  <a:gd name="f64" fmla="val 143"/>
                  <a:gd name="f65" fmla="val 543"/>
                  <a:gd name="f66" fmla="val 148"/>
                  <a:gd name="f67" fmla="val 155"/>
                  <a:gd name="f68" fmla="val 533"/>
                  <a:gd name="f69" fmla="val 161"/>
                  <a:gd name="f70" fmla="val 167"/>
                  <a:gd name="f71" fmla="val 171"/>
                  <a:gd name="f72" fmla="val 527"/>
                  <a:gd name="f73" fmla="val 172"/>
                  <a:gd name="f74" fmla="val 524"/>
                  <a:gd name="f75" fmla="val 169"/>
                  <a:gd name="f76" fmla="val 523"/>
                  <a:gd name="f77" fmla="val 519"/>
                  <a:gd name="f78" fmla="val 165"/>
                  <a:gd name="f79" fmla="val 516"/>
                  <a:gd name="f80" fmla="val 514"/>
                  <a:gd name="f81" fmla="val 166"/>
                  <a:gd name="f82" fmla="val 511"/>
                  <a:gd name="f83" fmla="val 504"/>
                  <a:gd name="f84" fmla="val 174"/>
                  <a:gd name="f85" fmla="val 178"/>
                  <a:gd name="f86" fmla="val 184"/>
                  <a:gd name="f87" fmla="val 191"/>
                  <a:gd name="f88" fmla="val 197"/>
                  <a:gd name="f89" fmla="val 202"/>
                  <a:gd name="f90" fmla="val 205"/>
                  <a:gd name="f91" fmla="val 208"/>
                  <a:gd name="f92" fmla="val 496"/>
                  <a:gd name="f93" fmla="val 211"/>
                  <a:gd name="f94" fmla="val 493"/>
                  <a:gd name="f95" fmla="val 215"/>
                  <a:gd name="f96" fmla="val 219"/>
                  <a:gd name="f97" fmla="val 495"/>
                  <a:gd name="f98" fmla="val 222"/>
                  <a:gd name="f99" fmla="val 229"/>
                  <a:gd name="f100" fmla="val 513"/>
                  <a:gd name="f101" fmla="val 235"/>
                  <a:gd name="f102" fmla="val 240"/>
                  <a:gd name="f103" fmla="val 509"/>
                  <a:gd name="f104" fmla="val 250"/>
                  <a:gd name="f105" fmla="val 262"/>
                  <a:gd name="f106" fmla="val 265"/>
                  <a:gd name="f107" fmla="val 267"/>
                  <a:gd name="f108" fmla="val 268"/>
                  <a:gd name="f109" fmla="val 270"/>
                  <a:gd name="f110" fmla="val 272"/>
                  <a:gd name="f111" fmla="val 534"/>
                  <a:gd name="f112" fmla="val 274"/>
                  <a:gd name="f113" fmla="val 275"/>
                  <a:gd name="f114" fmla="val 515"/>
                  <a:gd name="f115" fmla="val 277"/>
                  <a:gd name="f116" fmla="val 510"/>
                  <a:gd name="f117" fmla="val 278"/>
                  <a:gd name="f118" fmla="val 281"/>
                  <a:gd name="f119" fmla="val 285"/>
                  <a:gd name="f120" fmla="val 508"/>
                  <a:gd name="f121" fmla="val 287"/>
                  <a:gd name="f122" fmla="val 292"/>
                  <a:gd name="f123" fmla="val 293"/>
                  <a:gd name="f124" fmla="val 294"/>
                  <a:gd name="f125" fmla="val 494"/>
                  <a:gd name="f126" fmla="val 295"/>
                  <a:gd name="f127" fmla="val 487"/>
                  <a:gd name="f128" fmla="val 298"/>
                  <a:gd name="f129" fmla="val 483"/>
                  <a:gd name="f130" fmla="val 301"/>
                  <a:gd name="f131" fmla="val 305"/>
                  <a:gd name="f132" fmla="val 481"/>
                  <a:gd name="f133" fmla="val 307"/>
                  <a:gd name="f134" fmla="val 477"/>
                  <a:gd name="f135" fmla="val 309"/>
                  <a:gd name="f136" fmla="val 472"/>
                  <a:gd name="f137" fmla="val 311"/>
                  <a:gd name="f138" fmla="val 468"/>
                  <a:gd name="f139" fmla="val 312"/>
                  <a:gd name="f140" fmla="val 314"/>
                  <a:gd name="f141" fmla="val 317"/>
                  <a:gd name="f142" fmla="val 322"/>
                  <a:gd name="f143" fmla="val 334"/>
                  <a:gd name="f144" fmla="val 338"/>
                  <a:gd name="f145" fmla="val 471"/>
                  <a:gd name="f146" fmla="val 340"/>
                  <a:gd name="f147" fmla="val 339"/>
                  <a:gd name="f148" fmla="val 337"/>
                  <a:gd name="f149" fmla="val 458"/>
                  <a:gd name="f150" fmla="val 450"/>
                  <a:gd name="f151" fmla="val 347"/>
                  <a:gd name="f152" fmla="val 445"/>
                  <a:gd name="f153" fmla="val 350"/>
                  <a:gd name="f154" fmla="val 441"/>
                  <a:gd name="f155" fmla="val 353"/>
                  <a:gd name="f156" fmla="val 438"/>
                  <a:gd name="f157" fmla="val 356"/>
                  <a:gd name="f158" fmla="val 442"/>
                  <a:gd name="f159" fmla="val 366"/>
                  <a:gd name="f160" fmla="val 448"/>
                  <a:gd name="f161" fmla="val 372"/>
                  <a:gd name="f162" fmla="val 454"/>
                  <a:gd name="f163" fmla="val 377"/>
                  <a:gd name="f164" fmla="val 456"/>
                  <a:gd name="f165" fmla="val 381"/>
                  <a:gd name="f166" fmla="val 459"/>
                  <a:gd name="f167" fmla="val 385"/>
                  <a:gd name="f168" fmla="val 389"/>
                  <a:gd name="f169" fmla="val 478"/>
                  <a:gd name="f170" fmla="val 391"/>
                  <a:gd name="f171" fmla="val 490"/>
                  <a:gd name="f172" fmla="val 388"/>
                  <a:gd name="f173" fmla="val 383"/>
                  <a:gd name="f174" fmla="val 380"/>
                  <a:gd name="f175" fmla="val 376"/>
                  <a:gd name="f176" fmla="val 375"/>
                  <a:gd name="f177" fmla="val 553"/>
                  <a:gd name="f178" fmla="val 378"/>
                  <a:gd name="f179" fmla="val 562"/>
                  <a:gd name="f180" fmla="val 382"/>
                  <a:gd name="f181" fmla="val 568"/>
                  <a:gd name="f182" fmla="val 384"/>
                  <a:gd name="f183" fmla="val 574"/>
                  <a:gd name="f184" fmla="val 580"/>
                  <a:gd name="f185" fmla="val 396"/>
                  <a:gd name="f186" fmla="val 584"/>
                  <a:gd name="f187" fmla="val 405"/>
                  <a:gd name="f188" fmla="val 586"/>
                  <a:gd name="f189" fmla="val 414"/>
                  <a:gd name="f190" fmla="val 585"/>
                  <a:gd name="f191" fmla="val 419"/>
                  <a:gd name="f192" fmla="val 581"/>
                  <a:gd name="f193" fmla="val 427"/>
                  <a:gd name="f194" fmla="val 582"/>
                  <a:gd name="f195" fmla="val 431"/>
                  <a:gd name="f196" fmla="val 436"/>
                  <a:gd name="f197" fmla="val 590"/>
                  <a:gd name="f198" fmla="val 594"/>
                  <a:gd name="f199" fmla="val 462"/>
                  <a:gd name="f200" fmla="val 596"/>
                  <a:gd name="f201" fmla="val 598"/>
                  <a:gd name="f202" fmla="val 602"/>
                  <a:gd name="f203" fmla="val 611"/>
                  <a:gd name="f204" fmla="val 613"/>
                  <a:gd name="f205" fmla="val 485"/>
                  <a:gd name="f206" fmla="val 614"/>
                  <a:gd name="f207" fmla="val 489"/>
                  <a:gd name="f208" fmla="val 610"/>
                  <a:gd name="f209" fmla="val 608"/>
                  <a:gd name="f210" fmla="val 501"/>
                  <a:gd name="f211" fmla="val 604"/>
                  <a:gd name="f212" fmla="val 599"/>
                  <a:gd name="f213" fmla="val 592"/>
                  <a:gd name="f214" fmla="val 588"/>
                  <a:gd name="f215" fmla="val 591"/>
                  <a:gd name="f216" fmla="val 540"/>
                  <a:gd name="f217" fmla="val 548"/>
                  <a:gd name="f218" fmla="val 554"/>
                  <a:gd name="f219" fmla="val 557"/>
                  <a:gd name="f220" fmla="val 559"/>
                  <a:gd name="f221" fmla="val 619"/>
                  <a:gd name="f222" fmla="val 563"/>
                  <a:gd name="f223" fmla="val 627"/>
                  <a:gd name="f224" fmla="val 569"/>
                  <a:gd name="f225" fmla="val 634"/>
                  <a:gd name="f226" fmla="val 576"/>
                  <a:gd name="f227" fmla="val 637"/>
                  <a:gd name="f228" fmla="val 633"/>
                  <a:gd name="f229" fmla="val 587"/>
                  <a:gd name="f230" fmla="val 589"/>
                  <a:gd name="f231" fmla="val 609"/>
                  <a:gd name="f232" fmla="val 607"/>
                  <a:gd name="f233" fmla="val 605"/>
                  <a:gd name="f234" fmla="val 615"/>
                  <a:gd name="f235" fmla="val 606"/>
                  <a:gd name="f236" fmla="val 618"/>
                  <a:gd name="f237" fmla="val 622"/>
                  <a:gd name="f238" fmla="val 621"/>
                  <a:gd name="f239" fmla="val 625"/>
                  <a:gd name="f240" fmla="val 628"/>
                  <a:gd name="f241" fmla="val 630"/>
                  <a:gd name="f242" fmla="val 617"/>
                  <a:gd name="f243" fmla="val 636"/>
                  <a:gd name="f244" fmla="val 643"/>
                  <a:gd name="f245" fmla="val 653"/>
                  <a:gd name="f246" fmla="val 663"/>
                  <a:gd name="f247" fmla="val 612"/>
                  <a:gd name="f248" fmla="val 671"/>
                  <a:gd name="f249" fmla="val 677"/>
                  <a:gd name="f250" fmla="val 681"/>
                  <a:gd name="f251" fmla="val 685"/>
                  <a:gd name="f252" fmla="val 689"/>
                  <a:gd name="f253" fmla="val 693"/>
                  <a:gd name="f254" fmla="val 699"/>
                  <a:gd name="f255" fmla="val 707"/>
                  <a:gd name="f256" fmla="val 718"/>
                  <a:gd name="f257" fmla="val 732"/>
                  <a:gd name="f258" fmla="val 744"/>
                  <a:gd name="f259" fmla="val 583"/>
                  <a:gd name="f260" fmla="val 753"/>
                  <a:gd name="f261" fmla="val 579"/>
                  <a:gd name="f262" fmla="val 760"/>
                  <a:gd name="f263" fmla="val 769"/>
                  <a:gd name="f264" fmla="val 778"/>
                  <a:gd name="f265" fmla="val 565"/>
                  <a:gd name="f266" fmla="val 786"/>
                  <a:gd name="f267" fmla="val 564"/>
                  <a:gd name="f268" fmla="val 791"/>
                  <a:gd name="f269" fmla="val 561"/>
                  <a:gd name="f270" fmla="val 796"/>
                  <a:gd name="f271" fmla="val 558"/>
                  <a:gd name="f272" fmla="val 802"/>
                  <a:gd name="f273" fmla="val 551"/>
                  <a:gd name="f274" fmla="val 807"/>
                  <a:gd name="f275" fmla="val 541"/>
                  <a:gd name="f276" fmla="val 811"/>
                  <a:gd name="f277" fmla="val 809"/>
                  <a:gd name="f278" fmla="val 803"/>
                  <a:gd name="f279" fmla="val 797"/>
                  <a:gd name="f280" fmla="val 785"/>
                  <a:gd name="f281" fmla="val 780"/>
                  <a:gd name="f282" fmla="val 470"/>
                  <a:gd name="f283" fmla="val 463"/>
                  <a:gd name="f284" fmla="val 782"/>
                  <a:gd name="f285" fmla="val 455"/>
                  <a:gd name="f286" fmla="val 781"/>
                  <a:gd name="f287" fmla="val 451"/>
                  <a:gd name="f288" fmla="val 779"/>
                  <a:gd name="f289" fmla="val 447"/>
                  <a:gd name="f290" fmla="val 775"/>
                  <a:gd name="f291" fmla="val 773"/>
                  <a:gd name="f292" fmla="val 771"/>
                  <a:gd name="f293" fmla="val 411"/>
                  <a:gd name="f294" fmla="val 770"/>
                  <a:gd name="f295" fmla="val 400"/>
                  <a:gd name="f296" fmla="val 772"/>
                  <a:gd name="f297" fmla="val 394"/>
                  <a:gd name="f298" fmla="val 774"/>
                  <a:gd name="f299" fmla="val 386"/>
                  <a:gd name="f300" fmla="val 766"/>
                  <a:gd name="f301" fmla="val 764"/>
                  <a:gd name="f302" fmla="val 763"/>
                  <a:gd name="f303" fmla="val 758"/>
                  <a:gd name="f304" fmla="val 358"/>
                  <a:gd name="f305" fmla="val 750"/>
                  <a:gd name="f306" fmla="val 351"/>
                  <a:gd name="f307" fmla="val 741"/>
                  <a:gd name="f308" fmla="val 734"/>
                  <a:gd name="f309" fmla="val 724"/>
                  <a:gd name="f310" fmla="val 343"/>
                  <a:gd name="f311" fmla="val 722"/>
                  <a:gd name="f312" fmla="val 720"/>
                  <a:gd name="f313" fmla="val 330"/>
                  <a:gd name="f314" fmla="val 716"/>
                  <a:gd name="f315" fmla="val 323"/>
                  <a:gd name="f316" fmla="val 715"/>
                  <a:gd name="f317" fmla="val 318"/>
                  <a:gd name="f318" fmla="val 717"/>
                  <a:gd name="f319" fmla="val 721"/>
                  <a:gd name="f320" fmla="val 726"/>
                  <a:gd name="f321" fmla="val 727"/>
                  <a:gd name="f322" fmla="val 310"/>
                  <a:gd name="f323" fmla="val 728"/>
                  <a:gd name="f324" fmla="val 719"/>
                  <a:gd name="f325" fmla="val 711"/>
                  <a:gd name="f326" fmla="val 290"/>
                  <a:gd name="f327" fmla="val 703"/>
                  <a:gd name="f328" fmla="val 696"/>
                  <a:gd name="f329" fmla="val 299"/>
                  <a:gd name="f330" fmla="val 688"/>
                  <a:gd name="f331" fmla="val 304"/>
                  <a:gd name="f332" fmla="val 308"/>
                  <a:gd name="f333" fmla="val 675"/>
                  <a:gd name="f334" fmla="val 668"/>
                  <a:gd name="f335" fmla="val 664"/>
                  <a:gd name="f336" fmla="val 660"/>
                  <a:gd name="f337" fmla="val 657"/>
                  <a:gd name="f338" fmla="val 324"/>
                  <a:gd name="f339" fmla="val 649"/>
                  <a:gd name="f340" fmla="val 319"/>
                  <a:gd name="f341" fmla="val 635"/>
                  <a:gd name="f342" fmla="val 626"/>
                  <a:gd name="f343" fmla="val 620"/>
                  <a:gd name="f344" fmla="val 288"/>
                  <a:gd name="f345" fmla="val 291"/>
                  <a:gd name="f346" fmla="val 300"/>
                  <a:gd name="f347" fmla="val 597"/>
                  <a:gd name="f348" fmla="val 306"/>
                  <a:gd name="f349" fmla="val 573"/>
                  <a:gd name="f350" fmla="val 297"/>
                  <a:gd name="f351" fmla="val 552"/>
                  <a:gd name="f352" fmla="val 289"/>
                  <a:gd name="f353" fmla="val 283"/>
                  <a:gd name="f354" fmla="val 273"/>
                  <a:gd name="f355" fmla="val 555"/>
                  <a:gd name="f356" fmla="val 266"/>
                  <a:gd name="f357" fmla="val 550"/>
                  <a:gd name="f358" fmla="val 257"/>
                  <a:gd name="f359" fmla="val 547"/>
                  <a:gd name="f360" fmla="val 247"/>
                  <a:gd name="f361" fmla="val 238"/>
                  <a:gd name="f362" fmla="val 231"/>
                  <a:gd name="f363" fmla="val 225"/>
                  <a:gd name="f364" fmla="val 218"/>
                  <a:gd name="f365" fmla="val 212"/>
                  <a:gd name="f366" fmla="val 207"/>
                  <a:gd name="f367" fmla="val 199"/>
                  <a:gd name="f368" fmla="val 189"/>
                  <a:gd name="f369" fmla="val 177"/>
                  <a:gd name="f370" fmla="val 537"/>
                  <a:gd name="f371" fmla="val 154"/>
                  <a:gd name="f372" fmla="val 145"/>
                  <a:gd name="f373" fmla="val 136"/>
                  <a:gd name="f374" fmla="val 131"/>
                  <a:gd name="f375" fmla="val 123"/>
                  <a:gd name="f376" fmla="val 560"/>
                  <a:gd name="f377" fmla="val 93"/>
                  <a:gd name="f378" fmla="val 72"/>
                  <a:gd name="f379" fmla="val 49"/>
                  <a:gd name="f380" fmla="val 52"/>
                  <a:gd name="f381" fmla="val 545"/>
                  <a:gd name="f382" fmla="val 54"/>
                  <a:gd name="f383" fmla="val 59"/>
                  <a:gd name="f384" fmla="val 66"/>
                  <a:gd name="f385" fmla="val 69"/>
                  <a:gd name="f386" fmla="val 70"/>
                  <a:gd name="f387" fmla="val 78"/>
                  <a:gd name="f388" fmla="val 497"/>
                  <a:gd name="f389" fmla="val 92"/>
                  <a:gd name="f390" fmla="val 95"/>
                  <a:gd name="f391" fmla="val 94"/>
                  <a:gd name="f392" fmla="val 96"/>
                  <a:gd name="f393" fmla="val 460"/>
                  <a:gd name="f394" fmla="val 453"/>
                  <a:gd name="f395" fmla="val 91"/>
                  <a:gd name="f396" fmla="val 444"/>
                  <a:gd name="f397" fmla="val 85"/>
                  <a:gd name="f398" fmla="val 81"/>
                  <a:gd name="f399" fmla="val 446"/>
                  <a:gd name="f400" fmla="val 73"/>
                  <a:gd name="f401" fmla="val 63"/>
                  <a:gd name="f402" fmla="val 60"/>
                  <a:gd name="f403" fmla="val 428"/>
                  <a:gd name="f404" fmla="val 57"/>
                  <a:gd name="f405" fmla="val 429"/>
                  <a:gd name="f406" fmla="val 47"/>
                  <a:gd name="f407" fmla="val 426"/>
                  <a:gd name="f408" fmla="val 40"/>
                  <a:gd name="f409" fmla="val 418"/>
                  <a:gd name="f410" fmla="val 34"/>
                  <a:gd name="f411" fmla="val 27"/>
                  <a:gd name="f412" fmla="val 402"/>
                  <a:gd name="f413" fmla="val 23"/>
                  <a:gd name="f414" fmla="val 395"/>
                  <a:gd name="f415" fmla="val 22"/>
                  <a:gd name="f416" fmla="val 20"/>
                  <a:gd name="f417" fmla="val 16"/>
                  <a:gd name="f418" fmla="val 12"/>
                  <a:gd name="f419" fmla="val 379"/>
                  <a:gd name="f420" fmla="val 8"/>
                  <a:gd name="f421" fmla="val 4"/>
                  <a:gd name="f422" fmla="val 363"/>
                  <a:gd name="f423" fmla="val 1"/>
                  <a:gd name="f424" fmla="val 345"/>
                  <a:gd name="f425" fmla="val 336"/>
                  <a:gd name="f426" fmla="val 325"/>
                  <a:gd name="f427" fmla="val 3"/>
                  <a:gd name="f428" fmla="val 11"/>
                  <a:gd name="f429" fmla="val 14"/>
                  <a:gd name="f430" fmla="val 19"/>
                  <a:gd name="f431" fmla="val 284"/>
                  <a:gd name="f432" fmla="val 279"/>
                  <a:gd name="f433" fmla="val 276"/>
                  <a:gd name="f434" fmla="val 15"/>
                  <a:gd name="f435" fmla="val 271"/>
                  <a:gd name="f436" fmla="val 18"/>
                  <a:gd name="f437" fmla="val 31"/>
                  <a:gd name="f438" fmla="val 258"/>
                  <a:gd name="f439" fmla="val 39"/>
                  <a:gd name="f440" fmla="val 256"/>
                  <a:gd name="f441" fmla="val 45"/>
                  <a:gd name="f442" fmla="val 254"/>
                  <a:gd name="f443" fmla="val 251"/>
                  <a:gd name="f444" fmla="val 245"/>
                  <a:gd name="f445" fmla="val 233"/>
                  <a:gd name="f446" fmla="val 61"/>
                  <a:gd name="f447" fmla="val 64"/>
                  <a:gd name="f448" fmla="val 65"/>
                  <a:gd name="f449" fmla="val 232"/>
                  <a:gd name="f450" fmla="val 67"/>
                  <a:gd name="f451" fmla="val 236"/>
                  <a:gd name="f452" fmla="val 239"/>
                  <a:gd name="f453" fmla="val 82"/>
                  <a:gd name="f454" fmla="val 230"/>
                  <a:gd name="f455" fmla="val 227"/>
                  <a:gd name="f456" fmla="val 76"/>
                  <a:gd name="f457" fmla="val 216"/>
                  <a:gd name="f458" fmla="val 214"/>
                  <a:gd name="f459" fmla="val 86"/>
                  <a:gd name="f460" fmla="val 98"/>
                  <a:gd name="f461" fmla="val 109"/>
                  <a:gd name="f462" fmla="val 114"/>
                  <a:gd name="f463" fmla="val 120"/>
                  <a:gd name="f464" fmla="val 126"/>
                  <a:gd name="f465" fmla="val 217"/>
                  <a:gd name="f466" fmla="val 134"/>
                  <a:gd name="f467" fmla="val 138"/>
                  <a:gd name="f468" fmla="val 224"/>
                  <a:gd name="f469" fmla="val 139"/>
                  <a:gd name="f470" fmla="val 226"/>
                  <a:gd name="f471" fmla="val 141"/>
                  <a:gd name="f472" fmla="val 142"/>
                  <a:gd name="f473" fmla="val 146"/>
                  <a:gd name="f474" fmla="val 149"/>
                  <a:gd name="f475" fmla="val 153"/>
                  <a:gd name="f476" fmla="val 158"/>
                  <a:gd name="f477" fmla="val 163"/>
                  <a:gd name="f478" fmla="val 175"/>
                  <a:gd name="f479" fmla="val 181"/>
                  <a:gd name="f480" fmla="val 182"/>
                  <a:gd name="f481" fmla="val 203"/>
                  <a:gd name="f482" fmla="val 196"/>
                  <a:gd name="f483" fmla="val 190"/>
                  <a:gd name="f484" fmla="val 185"/>
                  <a:gd name="f485" fmla="val 179"/>
                  <a:gd name="f486" fmla="val 176"/>
                  <a:gd name="f487" fmla="val 186"/>
                  <a:gd name="f488" fmla="val 195"/>
                  <a:gd name="f489" fmla="val 201"/>
                  <a:gd name="f490" fmla="val 183"/>
                  <a:gd name="f491" fmla="val 156"/>
                  <a:gd name="f492" fmla="val 152"/>
                  <a:gd name="f493" fmla="val 150"/>
                  <a:gd name="f494" fmla="val 147"/>
                  <a:gd name="f495" fmla="val 243"/>
                  <a:gd name="f496" fmla="val 137"/>
                  <a:gd name="f497" fmla="val 135"/>
                  <a:gd name="f498" fmla="val 280"/>
                  <a:gd name="f499" fmla="val 121"/>
                  <a:gd name="f500" fmla="val 119"/>
                  <a:gd name="f501" fmla="val 122"/>
                  <a:gd name="f502" fmla="val 327"/>
                  <a:gd name="f503" fmla="val 117"/>
                  <a:gd name="f504" fmla="val 113"/>
                  <a:gd name="f505" fmla="val 108"/>
                  <a:gd name="f506" fmla="val 102"/>
                  <a:gd name="f507" fmla="val 341"/>
                  <a:gd name="f508" fmla="val 352"/>
                  <a:gd name="f509" fmla="val 89"/>
                  <a:gd name="f510" fmla="val 362"/>
                  <a:gd name="f511" fmla="val 71"/>
                  <a:gd name="f512" fmla="val 422"/>
                  <a:gd name="f513" fmla="val 425"/>
                  <a:gd name="f514" fmla="val 424"/>
                  <a:gd name="f515" fmla="val 56"/>
                  <a:gd name="f516" fmla="val 421"/>
                  <a:gd name="f517" fmla="val 53"/>
                  <a:gd name="f518" fmla="val 420"/>
                  <a:gd name="f519" fmla="val 50"/>
                  <a:gd name="f520" fmla="val 432"/>
                  <a:gd name="f521" fmla="val 41"/>
                  <a:gd name="f522" fmla="val 439"/>
                  <a:gd name="f523" fmla="val 443"/>
                  <a:gd name="f524" fmla="val 36"/>
                  <a:gd name="f525" fmla="val 32"/>
                  <a:gd name="f526" fmla="val 21"/>
                  <a:gd name="f527" fmla="val 7"/>
                  <a:gd name="f528" fmla="+- 0 0 -90"/>
                  <a:gd name="f529" fmla="*/ f4 1 638"/>
                  <a:gd name="f530" fmla="*/ f5 1 814"/>
                  <a:gd name="f531" fmla="+- f8 0 f6"/>
                  <a:gd name="f532" fmla="+- f7 0 f6"/>
                  <a:gd name="f533" fmla="*/ f528 f0 1"/>
                  <a:gd name="f534" fmla="*/ f532 1 638"/>
                  <a:gd name="f535" fmla="*/ f531 1 814"/>
                  <a:gd name="f536" fmla="*/ f533 1 f3"/>
                  <a:gd name="f537" fmla="*/ 473 1 f534"/>
                  <a:gd name="f538" fmla="*/ 28 1 f535"/>
                  <a:gd name="f539" fmla="*/ 506 1 f534"/>
                  <a:gd name="f540" fmla="*/ 48 1 f535"/>
                  <a:gd name="f541" fmla="*/ 518 1 f534"/>
                  <a:gd name="f542" fmla="*/ 97 1 f535"/>
                  <a:gd name="f543" fmla="*/ 530 1 f534"/>
                  <a:gd name="f544" fmla="*/ 125 1 f535"/>
                  <a:gd name="f545" fmla="*/ 525 1 f534"/>
                  <a:gd name="f546" fmla="*/ 171 1 f535"/>
                  <a:gd name="f547" fmla="*/ 504 1 f534"/>
                  <a:gd name="f548" fmla="*/ 172 1 f535"/>
                  <a:gd name="f549" fmla="*/ 499 1 f534"/>
                  <a:gd name="f550" fmla="*/ 208 1 f535"/>
                  <a:gd name="f551" fmla="*/ 509 1 f534"/>
                  <a:gd name="f552" fmla="*/ 250 1 f535"/>
                  <a:gd name="f553" fmla="*/ 533 1 f534"/>
                  <a:gd name="f554" fmla="*/ 275 1 f535"/>
                  <a:gd name="f555" fmla="*/ 507 1 f534"/>
                  <a:gd name="f556" fmla="*/ 293 1 f535"/>
                  <a:gd name="f557" fmla="*/ 477 1 f534"/>
                  <a:gd name="f558" fmla="*/ 309 1 f535"/>
                  <a:gd name="f559" fmla="*/ 471 1 f534"/>
                  <a:gd name="f560" fmla="*/ 340 1 f535"/>
                  <a:gd name="f561" fmla="*/ 438 1 f534"/>
                  <a:gd name="f562" fmla="*/ 360 1 f535"/>
                  <a:gd name="f563" fmla="*/ 490 1 f534"/>
                  <a:gd name="f564" fmla="*/ 388 1 f535"/>
                  <a:gd name="f565" fmla="*/ 568 1 f534"/>
                  <a:gd name="f566" fmla="*/ 384 1 f535"/>
                  <a:gd name="f567" fmla="*/ 585 1 f534"/>
                  <a:gd name="f568" fmla="*/ 436 1 f535"/>
                  <a:gd name="f569" fmla="*/ 613 1 f534"/>
                  <a:gd name="f570" fmla="*/ 485 1 f535"/>
                  <a:gd name="f571" fmla="*/ 588 1 f534"/>
                  <a:gd name="f572" fmla="*/ 519 1 f535"/>
                  <a:gd name="f573" fmla="*/ 627 1 f534"/>
                  <a:gd name="f574" fmla="*/ 569 1 f535"/>
                  <a:gd name="f575" fmla="*/ 607 1 f534"/>
                  <a:gd name="f576" fmla="*/ 594 1 f535"/>
                  <a:gd name="f577" fmla="*/ 622 1 f534"/>
                  <a:gd name="f578" fmla="*/ 628 1 f535"/>
                  <a:gd name="f579" fmla="*/ 615 1 f534"/>
                  <a:gd name="f580" fmla="*/ 681 1 f535"/>
                  <a:gd name="f581" fmla="*/ 584 1 f534"/>
                  <a:gd name="f582" fmla="*/ 744 1 f535"/>
                  <a:gd name="f583" fmla="*/ 558 1 f534"/>
                  <a:gd name="f584" fmla="*/ 802 1 f535"/>
                  <a:gd name="f585" fmla="*/ 486 1 f534"/>
                  <a:gd name="f586" fmla="*/ 785 1 f535"/>
                  <a:gd name="f587" fmla="*/ 441 1 f534"/>
                  <a:gd name="f588" fmla="*/ 773 1 f535"/>
                  <a:gd name="f589" fmla="*/ 386 1 f534"/>
                  <a:gd name="f590" fmla="*/ 772 1 f535"/>
                  <a:gd name="f591" fmla="*/ 351 1 f534"/>
                  <a:gd name="f592" fmla="*/ 741 1 f535"/>
                  <a:gd name="f593" fmla="*/ 314 1 f534"/>
                  <a:gd name="f594" fmla="*/ 721 1 f535"/>
                  <a:gd name="f595" fmla="*/ 292 1 f534"/>
                  <a:gd name="f596" fmla="*/ 696 1 f535"/>
                  <a:gd name="f597" fmla="*/ 322 1 f534"/>
                  <a:gd name="f598" fmla="*/ 653 1 f535"/>
                  <a:gd name="f599" fmla="*/ 295 1 f534"/>
                  <a:gd name="f600" fmla="*/ 620 1 f535"/>
                  <a:gd name="f601" fmla="*/ 304 1 f534"/>
                  <a:gd name="f602" fmla="*/ 573 1 f535"/>
                  <a:gd name="f603" fmla="*/ 273 1 f534"/>
                  <a:gd name="f604" fmla="*/ 555 1 f535"/>
                  <a:gd name="f605" fmla="*/ 212 1 f534"/>
                  <a:gd name="f606" fmla="*/ 528 1 f535"/>
                  <a:gd name="f607" fmla="*/ 136 1 f534"/>
                  <a:gd name="f608" fmla="*/ 557 1 f535"/>
                  <a:gd name="f609" fmla="*/ 52 1 f534"/>
                  <a:gd name="f610" fmla="*/ 545 1 f535"/>
                  <a:gd name="f611" fmla="*/ 92 1 f534"/>
                  <a:gd name="f612" fmla="*/ 493 1 f535"/>
                  <a:gd name="f613" fmla="*/ 97 1 f534"/>
                  <a:gd name="f614" fmla="*/ 448 1 f535"/>
                  <a:gd name="f615" fmla="*/ 63 1 f534"/>
                  <a:gd name="f616" fmla="*/ 431 1 f535"/>
                  <a:gd name="f617" fmla="*/ 27 1 f534"/>
                  <a:gd name="f618" fmla="*/ 402 1 f535"/>
                  <a:gd name="f619" fmla="*/ 1 1 f534"/>
                  <a:gd name="f620" fmla="*/ 353 1 f535"/>
                  <a:gd name="f621" fmla="*/ 11 1 f534"/>
                  <a:gd name="f622" fmla="*/ 18 1 f534"/>
                  <a:gd name="f623" fmla="*/ 266 1 f535"/>
                  <a:gd name="f624" fmla="*/ 59 1 f534"/>
                  <a:gd name="f625" fmla="*/ 233 1 f535"/>
                  <a:gd name="f626" fmla="*/ 82 1 f534"/>
                  <a:gd name="f627" fmla="*/ 230 1 f535"/>
                  <a:gd name="f628" fmla="*/ 94 1 f534"/>
                  <a:gd name="f629" fmla="*/ 227 1 f535"/>
                  <a:gd name="f630" fmla="*/ 134 1 f534"/>
                  <a:gd name="f631" fmla="*/ 219 1 f535"/>
                  <a:gd name="f632" fmla="*/ 153 1 f534"/>
                  <a:gd name="f633" fmla="*/ 182 1 f534"/>
                  <a:gd name="f634" fmla="*/ 222 1 f535"/>
                  <a:gd name="f635" fmla="*/ 186 1 f534"/>
                  <a:gd name="f636" fmla="*/ 174 1 f535"/>
                  <a:gd name="f637" fmla="*/ 215 1 f534"/>
                  <a:gd name="f638" fmla="*/ 156 1 f535"/>
                  <a:gd name="f639" fmla="*/ 262 1 f534"/>
                  <a:gd name="f640" fmla="*/ 137 1 f535"/>
                  <a:gd name="f641" fmla="*/ 308 1 f534"/>
                  <a:gd name="f642" fmla="*/ 121 1 f535"/>
                  <a:gd name="f643" fmla="*/ 345 1 f534"/>
                  <a:gd name="f644" fmla="*/ 91 1 f535"/>
                  <a:gd name="f645" fmla="*/ 424 1 f534"/>
                  <a:gd name="f646" fmla="*/ 56 1 f535"/>
                  <a:gd name="f647" fmla="*/ 445 1 f534"/>
                  <a:gd name="f648" fmla="*/ 32 1 f535"/>
                  <a:gd name="f649" fmla="*/ 0 1 f534"/>
                  <a:gd name="f650" fmla="*/ f7 1 f534"/>
                  <a:gd name="f651" fmla="*/ 0 1 f535"/>
                  <a:gd name="f652" fmla="*/ f8 1 f535"/>
                  <a:gd name="f653" fmla="+- f536 0 f1"/>
                  <a:gd name="f654" fmla="*/ f649 f529 1"/>
                  <a:gd name="f655" fmla="*/ f650 f529 1"/>
                  <a:gd name="f656" fmla="*/ f652 f530 1"/>
                  <a:gd name="f657" fmla="*/ f651 f530 1"/>
                  <a:gd name="f658" fmla="*/ f537 f529 1"/>
                  <a:gd name="f659" fmla="*/ f538 f530 1"/>
                  <a:gd name="f660" fmla="*/ f539 f529 1"/>
                  <a:gd name="f661" fmla="*/ f540 f530 1"/>
                  <a:gd name="f662" fmla="*/ f541 f529 1"/>
                  <a:gd name="f663" fmla="*/ f542 f530 1"/>
                  <a:gd name="f664" fmla="*/ f543 f529 1"/>
                  <a:gd name="f665" fmla="*/ f544 f530 1"/>
                  <a:gd name="f666" fmla="*/ f545 f529 1"/>
                  <a:gd name="f667" fmla="*/ f546 f530 1"/>
                  <a:gd name="f668" fmla="*/ f547 f529 1"/>
                  <a:gd name="f669" fmla="*/ f548 f530 1"/>
                  <a:gd name="f670" fmla="*/ f549 f529 1"/>
                  <a:gd name="f671" fmla="*/ f550 f530 1"/>
                  <a:gd name="f672" fmla="*/ f551 f529 1"/>
                  <a:gd name="f673" fmla="*/ f552 f530 1"/>
                  <a:gd name="f674" fmla="*/ f553 f529 1"/>
                  <a:gd name="f675" fmla="*/ f554 f530 1"/>
                  <a:gd name="f676" fmla="*/ f555 f529 1"/>
                  <a:gd name="f677" fmla="*/ f556 f530 1"/>
                  <a:gd name="f678" fmla="*/ f557 f529 1"/>
                  <a:gd name="f679" fmla="*/ f558 f530 1"/>
                  <a:gd name="f680" fmla="*/ f559 f529 1"/>
                  <a:gd name="f681" fmla="*/ f560 f530 1"/>
                  <a:gd name="f682" fmla="*/ f561 f529 1"/>
                  <a:gd name="f683" fmla="*/ f562 f530 1"/>
                  <a:gd name="f684" fmla="*/ f563 f529 1"/>
                  <a:gd name="f685" fmla="*/ f564 f530 1"/>
                  <a:gd name="f686" fmla="*/ f565 f529 1"/>
                  <a:gd name="f687" fmla="*/ f566 f530 1"/>
                  <a:gd name="f688" fmla="*/ f567 f529 1"/>
                  <a:gd name="f689" fmla="*/ f568 f530 1"/>
                  <a:gd name="f690" fmla="*/ f569 f529 1"/>
                  <a:gd name="f691" fmla="*/ f570 f530 1"/>
                  <a:gd name="f692" fmla="*/ f571 f529 1"/>
                  <a:gd name="f693" fmla="*/ f572 f530 1"/>
                  <a:gd name="f694" fmla="*/ f573 f529 1"/>
                  <a:gd name="f695" fmla="*/ f574 f530 1"/>
                  <a:gd name="f696" fmla="*/ f575 f529 1"/>
                  <a:gd name="f697" fmla="*/ f576 f530 1"/>
                  <a:gd name="f698" fmla="*/ f577 f529 1"/>
                  <a:gd name="f699" fmla="*/ f578 f530 1"/>
                  <a:gd name="f700" fmla="*/ f579 f529 1"/>
                  <a:gd name="f701" fmla="*/ f580 f530 1"/>
                  <a:gd name="f702" fmla="*/ f581 f529 1"/>
                  <a:gd name="f703" fmla="*/ f582 f530 1"/>
                  <a:gd name="f704" fmla="*/ f583 f529 1"/>
                  <a:gd name="f705" fmla="*/ f584 f530 1"/>
                  <a:gd name="f706" fmla="*/ f585 f529 1"/>
                  <a:gd name="f707" fmla="*/ f586 f530 1"/>
                  <a:gd name="f708" fmla="*/ f587 f529 1"/>
                  <a:gd name="f709" fmla="*/ f588 f530 1"/>
                  <a:gd name="f710" fmla="*/ f589 f529 1"/>
                  <a:gd name="f711" fmla="*/ f590 f530 1"/>
                  <a:gd name="f712" fmla="*/ f591 f529 1"/>
                  <a:gd name="f713" fmla="*/ f592 f530 1"/>
                  <a:gd name="f714" fmla="*/ f593 f529 1"/>
                  <a:gd name="f715" fmla="*/ f594 f530 1"/>
                  <a:gd name="f716" fmla="*/ f595 f529 1"/>
                  <a:gd name="f717" fmla="*/ f596 f530 1"/>
                  <a:gd name="f718" fmla="*/ f597 f529 1"/>
                  <a:gd name="f719" fmla="*/ f598 f530 1"/>
                  <a:gd name="f720" fmla="*/ f599 f529 1"/>
                  <a:gd name="f721" fmla="*/ f600 f530 1"/>
                  <a:gd name="f722" fmla="*/ f601 f529 1"/>
                  <a:gd name="f723" fmla="*/ f602 f530 1"/>
                  <a:gd name="f724" fmla="*/ f603 f529 1"/>
                  <a:gd name="f725" fmla="*/ f604 f530 1"/>
                  <a:gd name="f726" fmla="*/ f605 f529 1"/>
                  <a:gd name="f727" fmla="*/ f606 f530 1"/>
                  <a:gd name="f728" fmla="*/ f607 f529 1"/>
                  <a:gd name="f729" fmla="*/ f608 f530 1"/>
                  <a:gd name="f730" fmla="*/ f609 f529 1"/>
                  <a:gd name="f731" fmla="*/ f610 f530 1"/>
                  <a:gd name="f732" fmla="*/ f611 f529 1"/>
                  <a:gd name="f733" fmla="*/ f612 f530 1"/>
                  <a:gd name="f734" fmla="*/ f613 f529 1"/>
                  <a:gd name="f735" fmla="*/ f614 f530 1"/>
                  <a:gd name="f736" fmla="*/ f615 f529 1"/>
                  <a:gd name="f737" fmla="*/ f616 f530 1"/>
                  <a:gd name="f738" fmla="*/ f617 f529 1"/>
                  <a:gd name="f739" fmla="*/ f618 f530 1"/>
                  <a:gd name="f740" fmla="*/ f619 f529 1"/>
                  <a:gd name="f741" fmla="*/ f620 f530 1"/>
                  <a:gd name="f742" fmla="*/ f621 f529 1"/>
                  <a:gd name="f743" fmla="*/ f622 f529 1"/>
                  <a:gd name="f744" fmla="*/ f623 f530 1"/>
                  <a:gd name="f745" fmla="*/ f624 f529 1"/>
                  <a:gd name="f746" fmla="*/ f625 f530 1"/>
                  <a:gd name="f747" fmla="*/ f626 f529 1"/>
                  <a:gd name="f748" fmla="*/ f627 f530 1"/>
                  <a:gd name="f749" fmla="*/ f628 f529 1"/>
                  <a:gd name="f750" fmla="*/ f629 f530 1"/>
                  <a:gd name="f751" fmla="*/ f630 f529 1"/>
                  <a:gd name="f752" fmla="*/ f631 f530 1"/>
                  <a:gd name="f753" fmla="*/ f632 f529 1"/>
                  <a:gd name="f754" fmla="*/ f633 f529 1"/>
                  <a:gd name="f755" fmla="*/ f634 f530 1"/>
                  <a:gd name="f756" fmla="*/ f635 f529 1"/>
                  <a:gd name="f757" fmla="*/ f636 f530 1"/>
                  <a:gd name="f758" fmla="*/ f637 f529 1"/>
                  <a:gd name="f759" fmla="*/ f638 f530 1"/>
                  <a:gd name="f760" fmla="*/ f639 f529 1"/>
                  <a:gd name="f761" fmla="*/ f640 f530 1"/>
                  <a:gd name="f762" fmla="*/ f641 f529 1"/>
                  <a:gd name="f763" fmla="*/ f642 f530 1"/>
                  <a:gd name="f764" fmla="*/ f643 f529 1"/>
                  <a:gd name="f765" fmla="*/ f644 f530 1"/>
                  <a:gd name="f766" fmla="*/ f645 f529 1"/>
                  <a:gd name="f767" fmla="*/ f646 f530 1"/>
                  <a:gd name="f768" fmla="*/ f647 f529 1"/>
                  <a:gd name="f769" fmla="*/ f648 f53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53">
                    <a:pos x="f658" y="f659"/>
                  </a:cxn>
                  <a:cxn ang="f653">
                    <a:pos x="f660" y="f661"/>
                  </a:cxn>
                  <a:cxn ang="f653">
                    <a:pos x="f662" y="f663"/>
                  </a:cxn>
                  <a:cxn ang="f653">
                    <a:pos x="f664" y="f665"/>
                  </a:cxn>
                  <a:cxn ang="f653">
                    <a:pos x="f666" y="f667"/>
                  </a:cxn>
                  <a:cxn ang="f653">
                    <a:pos x="f668" y="f669"/>
                  </a:cxn>
                  <a:cxn ang="f653">
                    <a:pos x="f670" y="f671"/>
                  </a:cxn>
                  <a:cxn ang="f653">
                    <a:pos x="f672" y="f673"/>
                  </a:cxn>
                  <a:cxn ang="f653">
                    <a:pos x="f674" y="f675"/>
                  </a:cxn>
                  <a:cxn ang="f653">
                    <a:pos x="f676" y="f677"/>
                  </a:cxn>
                  <a:cxn ang="f653">
                    <a:pos x="f678" y="f679"/>
                  </a:cxn>
                  <a:cxn ang="f653">
                    <a:pos x="f680" y="f681"/>
                  </a:cxn>
                  <a:cxn ang="f653">
                    <a:pos x="f682" y="f683"/>
                  </a:cxn>
                  <a:cxn ang="f653">
                    <a:pos x="f684" y="f685"/>
                  </a:cxn>
                  <a:cxn ang="f653">
                    <a:pos x="f686" y="f687"/>
                  </a:cxn>
                  <a:cxn ang="f653">
                    <a:pos x="f688" y="f689"/>
                  </a:cxn>
                  <a:cxn ang="f653">
                    <a:pos x="f690" y="f691"/>
                  </a:cxn>
                  <a:cxn ang="f653">
                    <a:pos x="f692" y="f693"/>
                  </a:cxn>
                  <a:cxn ang="f653">
                    <a:pos x="f694" y="f695"/>
                  </a:cxn>
                  <a:cxn ang="f653">
                    <a:pos x="f696" y="f697"/>
                  </a:cxn>
                  <a:cxn ang="f653">
                    <a:pos x="f698" y="f699"/>
                  </a:cxn>
                  <a:cxn ang="f653">
                    <a:pos x="f700" y="f701"/>
                  </a:cxn>
                  <a:cxn ang="f653">
                    <a:pos x="f702" y="f703"/>
                  </a:cxn>
                  <a:cxn ang="f653">
                    <a:pos x="f704" y="f705"/>
                  </a:cxn>
                  <a:cxn ang="f653">
                    <a:pos x="f706" y="f707"/>
                  </a:cxn>
                  <a:cxn ang="f653">
                    <a:pos x="f708" y="f709"/>
                  </a:cxn>
                  <a:cxn ang="f653">
                    <a:pos x="f710" y="f711"/>
                  </a:cxn>
                  <a:cxn ang="f653">
                    <a:pos x="f712" y="f713"/>
                  </a:cxn>
                  <a:cxn ang="f653">
                    <a:pos x="f714" y="f715"/>
                  </a:cxn>
                  <a:cxn ang="f653">
                    <a:pos x="f716" y="f717"/>
                  </a:cxn>
                  <a:cxn ang="f653">
                    <a:pos x="f718" y="f719"/>
                  </a:cxn>
                  <a:cxn ang="f653">
                    <a:pos x="f720" y="f721"/>
                  </a:cxn>
                  <a:cxn ang="f653">
                    <a:pos x="f722" y="f723"/>
                  </a:cxn>
                  <a:cxn ang="f653">
                    <a:pos x="f724" y="f725"/>
                  </a:cxn>
                  <a:cxn ang="f653">
                    <a:pos x="f726" y="f727"/>
                  </a:cxn>
                  <a:cxn ang="f653">
                    <a:pos x="f728" y="f729"/>
                  </a:cxn>
                  <a:cxn ang="f653">
                    <a:pos x="f730" y="f731"/>
                  </a:cxn>
                  <a:cxn ang="f653">
                    <a:pos x="f732" y="f733"/>
                  </a:cxn>
                  <a:cxn ang="f653">
                    <a:pos x="f734" y="f735"/>
                  </a:cxn>
                  <a:cxn ang="f653">
                    <a:pos x="f736" y="f737"/>
                  </a:cxn>
                  <a:cxn ang="f653">
                    <a:pos x="f738" y="f739"/>
                  </a:cxn>
                  <a:cxn ang="f653">
                    <a:pos x="f740" y="f741"/>
                  </a:cxn>
                  <a:cxn ang="f653">
                    <a:pos x="f742" y="f677"/>
                  </a:cxn>
                  <a:cxn ang="f653">
                    <a:pos x="f743" y="f744"/>
                  </a:cxn>
                  <a:cxn ang="f653">
                    <a:pos x="f745" y="f746"/>
                  </a:cxn>
                  <a:cxn ang="f653">
                    <a:pos x="f747" y="f748"/>
                  </a:cxn>
                  <a:cxn ang="f653">
                    <a:pos x="f749" y="f750"/>
                  </a:cxn>
                  <a:cxn ang="f653">
                    <a:pos x="f751" y="f752"/>
                  </a:cxn>
                  <a:cxn ang="f653">
                    <a:pos x="f753" y="f750"/>
                  </a:cxn>
                  <a:cxn ang="f653">
                    <a:pos x="f754" y="f755"/>
                  </a:cxn>
                  <a:cxn ang="f653">
                    <a:pos x="f756" y="f757"/>
                  </a:cxn>
                  <a:cxn ang="f653">
                    <a:pos x="f758" y="f759"/>
                  </a:cxn>
                  <a:cxn ang="f653">
                    <a:pos x="f760" y="f761"/>
                  </a:cxn>
                  <a:cxn ang="f653">
                    <a:pos x="f762" y="f763"/>
                  </a:cxn>
                  <a:cxn ang="f653">
                    <a:pos x="f764" y="f765"/>
                  </a:cxn>
                  <a:cxn ang="f653">
                    <a:pos x="f766" y="f767"/>
                  </a:cxn>
                  <a:cxn ang="f653">
                    <a:pos x="f768" y="f769"/>
                  </a:cxn>
                </a:cxnLst>
                <a:rect l="f654" t="f657" r="f655" b="f656"/>
                <a:pathLst>
                  <a:path w="638" h="814">
                    <a:moveTo>
                      <a:pt x="f9" y="f6"/>
                    </a:moveTo>
                    <a:lnTo>
                      <a:pt x="f10" y="f6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3" y="f15"/>
                    </a:lnTo>
                    <a:lnTo>
                      <a:pt x="f16" y="f17"/>
                    </a:lnTo>
                    <a:lnTo>
                      <a:pt x="f13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28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4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1" y="f43"/>
                    </a:lnTo>
                    <a:lnTo>
                      <a:pt x="f30" y="f44"/>
                    </a:lnTo>
                    <a:lnTo>
                      <a:pt x="f36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49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55" y="f67"/>
                    </a:lnTo>
                    <a:lnTo>
                      <a:pt x="f68" y="f69"/>
                    </a:lnTo>
                    <a:lnTo>
                      <a:pt x="f57" y="f70"/>
                    </a:lnTo>
                    <a:lnTo>
                      <a:pt x="f59" y="f71"/>
                    </a:lnTo>
                    <a:lnTo>
                      <a:pt x="f72" y="f73"/>
                    </a:lnTo>
                    <a:lnTo>
                      <a:pt x="f50" y="f71"/>
                    </a:lnTo>
                    <a:lnTo>
                      <a:pt x="f74" y="f75"/>
                    </a:lnTo>
                    <a:lnTo>
                      <a:pt x="f76" y="f70"/>
                    </a:lnTo>
                    <a:lnTo>
                      <a:pt x="f77" y="f78"/>
                    </a:lnTo>
                    <a:lnTo>
                      <a:pt x="f79" y="f78"/>
                    </a:lnTo>
                    <a:lnTo>
                      <a:pt x="f80" y="f81"/>
                    </a:lnTo>
                    <a:lnTo>
                      <a:pt x="f82" y="f70"/>
                    </a:lnTo>
                    <a:lnTo>
                      <a:pt x="f36" y="f75"/>
                    </a:lnTo>
                    <a:lnTo>
                      <a:pt x="f83" y="f73"/>
                    </a:lnTo>
                    <a:lnTo>
                      <a:pt x="f83" y="f84"/>
                    </a:lnTo>
                    <a:lnTo>
                      <a:pt x="f39" y="f85"/>
                    </a:lnTo>
                    <a:lnTo>
                      <a:pt x="f39" y="f86"/>
                    </a:lnTo>
                    <a:lnTo>
                      <a:pt x="f83" y="f87"/>
                    </a:lnTo>
                    <a:lnTo>
                      <a:pt x="f32" y="f88"/>
                    </a:lnTo>
                    <a:lnTo>
                      <a:pt x="f32" y="f89"/>
                    </a:lnTo>
                    <a:lnTo>
                      <a:pt x="f39" y="f90"/>
                    </a:lnTo>
                    <a:lnTo>
                      <a:pt x="f29" y="f91"/>
                    </a:lnTo>
                    <a:lnTo>
                      <a:pt x="f92" y="f93"/>
                    </a:lnTo>
                    <a:lnTo>
                      <a:pt x="f94" y="f95"/>
                    </a:lnTo>
                    <a:lnTo>
                      <a:pt x="f94" y="f96"/>
                    </a:lnTo>
                    <a:lnTo>
                      <a:pt x="f97" y="f98"/>
                    </a:lnTo>
                    <a:lnTo>
                      <a:pt x="f36" y="f99"/>
                    </a:lnTo>
                    <a:lnTo>
                      <a:pt x="f100" y="f101"/>
                    </a:lnTo>
                    <a:lnTo>
                      <a:pt x="f80" y="f102"/>
                    </a:lnTo>
                    <a:lnTo>
                      <a:pt x="f103" y="f104"/>
                    </a:lnTo>
                    <a:lnTo>
                      <a:pt x="f32" y="f105"/>
                    </a:lnTo>
                    <a:lnTo>
                      <a:pt x="f34" y="f106"/>
                    </a:lnTo>
                    <a:lnTo>
                      <a:pt x="f103" y="f107"/>
                    </a:lnTo>
                    <a:lnTo>
                      <a:pt x="f79" y="f108"/>
                    </a:lnTo>
                    <a:lnTo>
                      <a:pt x="f76" y="f109"/>
                    </a:lnTo>
                    <a:lnTo>
                      <a:pt x="f61" y="f110"/>
                    </a:lnTo>
                    <a:lnTo>
                      <a:pt x="f111" y="f112"/>
                    </a:lnTo>
                    <a:lnTo>
                      <a:pt x="f68" y="f113"/>
                    </a:lnTo>
                    <a:lnTo>
                      <a:pt x="f51" y="f113"/>
                    </a:lnTo>
                    <a:lnTo>
                      <a:pt x="f114" y="f115"/>
                    </a:lnTo>
                    <a:lnTo>
                      <a:pt x="f116" y="f117"/>
                    </a:lnTo>
                    <a:lnTo>
                      <a:pt x="f36" y="f118"/>
                    </a:lnTo>
                    <a:lnTo>
                      <a:pt x="f36" y="f119"/>
                    </a:lnTo>
                    <a:lnTo>
                      <a:pt x="f120" y="f121"/>
                    </a:lnTo>
                    <a:lnTo>
                      <a:pt x="f120" y="f122"/>
                    </a:lnTo>
                    <a:lnTo>
                      <a:pt x="f36" y="f123"/>
                    </a:lnTo>
                    <a:lnTo>
                      <a:pt x="f32" y="f123"/>
                    </a:lnTo>
                    <a:lnTo>
                      <a:pt x="f30" y="f124"/>
                    </a:lnTo>
                    <a:lnTo>
                      <a:pt x="f125" y="f126"/>
                    </a:lnTo>
                    <a:lnTo>
                      <a:pt x="f127" y="f128"/>
                    </a:lnTo>
                    <a:lnTo>
                      <a:pt x="f129" y="f130"/>
                    </a:lnTo>
                    <a:lnTo>
                      <a:pt x="f23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1" y="f140"/>
                    </a:lnTo>
                    <a:lnTo>
                      <a:pt x="f16" y="f141"/>
                    </a:lnTo>
                    <a:lnTo>
                      <a:pt x="f13" y="f142"/>
                    </a:lnTo>
                    <a:lnTo>
                      <a:pt x="f19" y="f143"/>
                    </a:lnTo>
                    <a:lnTo>
                      <a:pt x="f19" y="f144"/>
                    </a:lnTo>
                    <a:lnTo>
                      <a:pt x="f145" y="f146"/>
                    </a:lnTo>
                    <a:lnTo>
                      <a:pt x="f11" y="f147"/>
                    </a:lnTo>
                    <a:lnTo>
                      <a:pt x="f10" y="f148"/>
                    </a:lnTo>
                    <a:lnTo>
                      <a:pt x="f149" y="f148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6" y="f2"/>
                    </a:lnTo>
                    <a:lnTo>
                      <a:pt x="f158" y="f159"/>
                    </a:lnTo>
                    <a:lnTo>
                      <a:pt x="f160" y="f161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6" y="f167"/>
                    </a:lnTo>
                    <a:lnTo>
                      <a:pt x="f16" y="f168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32" y="f173"/>
                    </a:lnTo>
                    <a:lnTo>
                      <a:pt x="f79" y="f174"/>
                    </a:lnTo>
                    <a:lnTo>
                      <a:pt x="f50" y="f175"/>
                    </a:lnTo>
                    <a:lnTo>
                      <a:pt x="f68" y="f176"/>
                    </a:lnTo>
                    <a:lnTo>
                      <a:pt x="f63" y="f175"/>
                    </a:lnTo>
                    <a:lnTo>
                      <a:pt x="f177" y="f178"/>
                    </a:lnTo>
                    <a:lnTo>
                      <a:pt x="f179" y="f180"/>
                    </a:lnTo>
                    <a:lnTo>
                      <a:pt x="f181" y="f182"/>
                    </a:lnTo>
                    <a:lnTo>
                      <a:pt x="f183" y="f172"/>
                    </a:lnTo>
                    <a:lnTo>
                      <a:pt x="f184" y="f185"/>
                    </a:lnTo>
                    <a:lnTo>
                      <a:pt x="f186" y="f187"/>
                    </a:lnTo>
                    <a:lnTo>
                      <a:pt x="f188" y="f189"/>
                    </a:lnTo>
                    <a:lnTo>
                      <a:pt x="f190" y="f191"/>
                    </a:lnTo>
                    <a:lnTo>
                      <a:pt x="f192" y="f193"/>
                    </a:lnTo>
                    <a:lnTo>
                      <a:pt x="f194" y="f195"/>
                    </a:lnTo>
                    <a:lnTo>
                      <a:pt x="f190" y="f196"/>
                    </a:lnTo>
                    <a:lnTo>
                      <a:pt x="f197" y="f158"/>
                    </a:lnTo>
                    <a:lnTo>
                      <a:pt x="f198" y="f150"/>
                    </a:lnTo>
                    <a:lnTo>
                      <a:pt x="f198" y="f199"/>
                    </a:lnTo>
                    <a:lnTo>
                      <a:pt x="f200" y="f21"/>
                    </a:lnTo>
                    <a:lnTo>
                      <a:pt x="f201" y="f132"/>
                    </a:lnTo>
                    <a:lnTo>
                      <a:pt x="f202" y="f129"/>
                    </a:lnTo>
                    <a:lnTo>
                      <a:pt x="f203" y="f129"/>
                    </a:lnTo>
                    <a:lnTo>
                      <a:pt x="f204" y="f205"/>
                    </a:lnTo>
                    <a:lnTo>
                      <a:pt x="f206" y="f127"/>
                    </a:lnTo>
                    <a:lnTo>
                      <a:pt x="f204" y="f207"/>
                    </a:lnTo>
                    <a:lnTo>
                      <a:pt x="f208" y="f92"/>
                    </a:lnTo>
                    <a:lnTo>
                      <a:pt x="f209" y="f210"/>
                    </a:lnTo>
                    <a:lnTo>
                      <a:pt x="f211" y="f32"/>
                    </a:lnTo>
                    <a:lnTo>
                      <a:pt x="f212" y="f120"/>
                    </a:lnTo>
                    <a:lnTo>
                      <a:pt x="f213" y="f100"/>
                    </a:lnTo>
                    <a:lnTo>
                      <a:pt x="f214" y="f77"/>
                    </a:lnTo>
                    <a:lnTo>
                      <a:pt x="f188" y="f50"/>
                    </a:lnTo>
                    <a:lnTo>
                      <a:pt x="f215" y="f216"/>
                    </a:lnTo>
                    <a:lnTo>
                      <a:pt x="f198" y="f217"/>
                    </a:lnTo>
                    <a:lnTo>
                      <a:pt x="f212" y="f218"/>
                    </a:lnTo>
                    <a:lnTo>
                      <a:pt x="f211" y="f219"/>
                    </a:lnTo>
                    <a:lnTo>
                      <a:pt x="f203" y="f220"/>
                    </a:lnTo>
                    <a:lnTo>
                      <a:pt x="f221" y="f222"/>
                    </a:lnTo>
                    <a:lnTo>
                      <a:pt x="f223" y="f224"/>
                    </a:lnTo>
                    <a:lnTo>
                      <a:pt x="f225" y="f226"/>
                    </a:lnTo>
                    <a:lnTo>
                      <a:pt x="f7" y="f194"/>
                    </a:lnTo>
                    <a:lnTo>
                      <a:pt x="f227" y="f190"/>
                    </a:lnTo>
                    <a:lnTo>
                      <a:pt x="f228" y="f229"/>
                    </a:lnTo>
                    <a:lnTo>
                      <a:pt x="f223" y="f230"/>
                    </a:lnTo>
                    <a:lnTo>
                      <a:pt x="f204" y="f215"/>
                    </a:lnTo>
                    <a:lnTo>
                      <a:pt x="f231" y="f213"/>
                    </a:lnTo>
                    <a:lnTo>
                      <a:pt x="f232" y="f198"/>
                    </a:lnTo>
                    <a:lnTo>
                      <a:pt x="f232" y="f201"/>
                    </a:lnTo>
                    <a:lnTo>
                      <a:pt x="f233" y="f211"/>
                    </a:lnTo>
                    <a:lnTo>
                      <a:pt x="f211" y="f208"/>
                    </a:lnTo>
                    <a:lnTo>
                      <a:pt x="f211" y="f234"/>
                    </a:lnTo>
                    <a:lnTo>
                      <a:pt x="f235" y="f236"/>
                    </a:lnTo>
                    <a:lnTo>
                      <a:pt x="f236" y="f237"/>
                    </a:lnTo>
                    <a:lnTo>
                      <a:pt x="f238" y="f239"/>
                    </a:lnTo>
                    <a:lnTo>
                      <a:pt x="f237" y="f240"/>
                    </a:lnTo>
                    <a:lnTo>
                      <a:pt x="f238" y="f241"/>
                    </a:lnTo>
                    <a:lnTo>
                      <a:pt x="f242" y="f243"/>
                    </a:lnTo>
                    <a:lnTo>
                      <a:pt x="f204" y="f244"/>
                    </a:lnTo>
                    <a:lnTo>
                      <a:pt x="f231" y="f245"/>
                    </a:lnTo>
                    <a:lnTo>
                      <a:pt x="f231" y="f246"/>
                    </a:lnTo>
                    <a:lnTo>
                      <a:pt x="f247" y="f248"/>
                    </a:lnTo>
                    <a:lnTo>
                      <a:pt x="f206" y="f249"/>
                    </a:lnTo>
                    <a:lnTo>
                      <a:pt x="f234" y="f250"/>
                    </a:lnTo>
                    <a:lnTo>
                      <a:pt x="f203" y="f251"/>
                    </a:lnTo>
                    <a:lnTo>
                      <a:pt x="f211" y="f252"/>
                    </a:lnTo>
                    <a:lnTo>
                      <a:pt x="f200" y="f253"/>
                    </a:lnTo>
                    <a:lnTo>
                      <a:pt x="f197" y="f254"/>
                    </a:lnTo>
                    <a:lnTo>
                      <a:pt x="f229" y="f255"/>
                    </a:lnTo>
                    <a:lnTo>
                      <a:pt x="f188" y="f256"/>
                    </a:lnTo>
                    <a:lnTo>
                      <a:pt x="f190" y="f257"/>
                    </a:lnTo>
                    <a:lnTo>
                      <a:pt x="f186" y="f258"/>
                    </a:lnTo>
                    <a:lnTo>
                      <a:pt x="f259" y="f260"/>
                    </a:lnTo>
                    <a:lnTo>
                      <a:pt x="f261" y="f262"/>
                    </a:lnTo>
                    <a:lnTo>
                      <a:pt x="f183" y="f263"/>
                    </a:lnTo>
                    <a:lnTo>
                      <a:pt x="f181" y="f264"/>
                    </a:lnTo>
                    <a:lnTo>
                      <a:pt x="f265" y="f266"/>
                    </a:lnTo>
                    <a:lnTo>
                      <a:pt x="f267" y="f268"/>
                    </a:lnTo>
                    <a:lnTo>
                      <a:pt x="f269" y="f270"/>
                    </a:lnTo>
                    <a:lnTo>
                      <a:pt x="f271" y="f272"/>
                    </a:lnTo>
                    <a:lnTo>
                      <a:pt x="f273" y="f274"/>
                    </a:lnTo>
                    <a:lnTo>
                      <a:pt x="f275" y="f276"/>
                    </a:lnTo>
                    <a:lnTo>
                      <a:pt x="f72" y="f8"/>
                    </a:lnTo>
                    <a:lnTo>
                      <a:pt x="f46" y="f277"/>
                    </a:lnTo>
                    <a:lnTo>
                      <a:pt x="f36" y="f278"/>
                    </a:lnTo>
                    <a:lnTo>
                      <a:pt x="f29" y="f279"/>
                    </a:lnTo>
                    <a:lnTo>
                      <a:pt x="f94" y="f268"/>
                    </a:lnTo>
                    <a:lnTo>
                      <a:pt x="f25" y="f280"/>
                    </a:lnTo>
                    <a:lnTo>
                      <a:pt x="f169" y="f281"/>
                    </a:lnTo>
                    <a:lnTo>
                      <a:pt x="f282" y="f264"/>
                    </a:lnTo>
                    <a:lnTo>
                      <a:pt x="f283" y="f281"/>
                    </a:lnTo>
                    <a:lnTo>
                      <a:pt x="f149" y="f284"/>
                    </a:lnTo>
                    <a:lnTo>
                      <a:pt x="f285" y="f286"/>
                    </a:lnTo>
                    <a:lnTo>
                      <a:pt x="f287" y="f288"/>
                    </a:lnTo>
                    <a:lnTo>
                      <a:pt x="f289" y="f290"/>
                    </a:lnTo>
                    <a:lnTo>
                      <a:pt x="f154" y="f291"/>
                    </a:lnTo>
                    <a:lnTo>
                      <a:pt x="f195" y="f292"/>
                    </a:lnTo>
                    <a:lnTo>
                      <a:pt x="f191" y="f263"/>
                    </a:lnTo>
                    <a:lnTo>
                      <a:pt x="f293" y="f263"/>
                    </a:lnTo>
                    <a:lnTo>
                      <a:pt x="f187" y="f294"/>
                    </a:lnTo>
                    <a:lnTo>
                      <a:pt x="f295" y="f296"/>
                    </a:lnTo>
                    <a:lnTo>
                      <a:pt x="f297" y="f298"/>
                    </a:lnTo>
                    <a:lnTo>
                      <a:pt x="f168" y="f298"/>
                    </a:lnTo>
                    <a:lnTo>
                      <a:pt x="f299" y="f296"/>
                    </a:lnTo>
                    <a:lnTo>
                      <a:pt x="f182" y="f263"/>
                    </a:lnTo>
                    <a:lnTo>
                      <a:pt x="f173" y="f300"/>
                    </a:lnTo>
                    <a:lnTo>
                      <a:pt x="f165" y="f301"/>
                    </a:lnTo>
                    <a:lnTo>
                      <a:pt x="f178" y="f301"/>
                    </a:lnTo>
                    <a:lnTo>
                      <a:pt x="f161" y="f302"/>
                    </a:lnTo>
                    <a:lnTo>
                      <a:pt x="f159" y="f303"/>
                    </a:lnTo>
                    <a:lnTo>
                      <a:pt x="f304" y="f305"/>
                    </a:lnTo>
                    <a:lnTo>
                      <a:pt x="f306" y="f307"/>
                    </a:lnTo>
                    <a:lnTo>
                      <a:pt x="f151" y="f308"/>
                    </a:lnTo>
                    <a:lnTo>
                      <a:pt x="f151" y="f309"/>
                    </a:lnTo>
                    <a:lnTo>
                      <a:pt x="f310" y="f311"/>
                    </a:lnTo>
                    <a:lnTo>
                      <a:pt x="f148" y="f312"/>
                    </a:lnTo>
                    <a:lnTo>
                      <a:pt x="f313" y="f314"/>
                    </a:lnTo>
                    <a:lnTo>
                      <a:pt x="f315" y="f316"/>
                    </a:lnTo>
                    <a:lnTo>
                      <a:pt x="f317" y="f318"/>
                    </a:lnTo>
                    <a:lnTo>
                      <a:pt x="f140" y="f319"/>
                    </a:lnTo>
                    <a:lnTo>
                      <a:pt x="f137" y="f320"/>
                    </a:lnTo>
                    <a:lnTo>
                      <a:pt x="f137" y="f321"/>
                    </a:lnTo>
                    <a:lnTo>
                      <a:pt x="f322" y="f321"/>
                    </a:lnTo>
                    <a:lnTo>
                      <a:pt x="f322" y="f323"/>
                    </a:lnTo>
                    <a:lnTo>
                      <a:pt x="f130" y="f324"/>
                    </a:lnTo>
                    <a:lnTo>
                      <a:pt x="f124" y="f325"/>
                    </a:lnTo>
                    <a:lnTo>
                      <a:pt x="f326" y="f327"/>
                    </a:lnTo>
                    <a:lnTo>
                      <a:pt x="f122" y="f328"/>
                    </a:lnTo>
                    <a:lnTo>
                      <a:pt x="f329" y="f330"/>
                    </a:lnTo>
                    <a:lnTo>
                      <a:pt x="f331" y="f250"/>
                    </a:lnTo>
                    <a:lnTo>
                      <a:pt x="f332" y="f333"/>
                    </a:lnTo>
                    <a:lnTo>
                      <a:pt x="f135" y="f334"/>
                    </a:lnTo>
                    <a:lnTo>
                      <a:pt x="f322" y="f335"/>
                    </a:lnTo>
                    <a:lnTo>
                      <a:pt x="f140" y="f336"/>
                    </a:lnTo>
                    <a:lnTo>
                      <a:pt x="f317" y="f337"/>
                    </a:lnTo>
                    <a:lnTo>
                      <a:pt x="f142" y="f245"/>
                    </a:lnTo>
                    <a:lnTo>
                      <a:pt x="f338" y="f339"/>
                    </a:lnTo>
                    <a:lnTo>
                      <a:pt x="f315" y="f244"/>
                    </a:lnTo>
                    <a:lnTo>
                      <a:pt x="f340" y="f7"/>
                    </a:lnTo>
                    <a:lnTo>
                      <a:pt x="f140" y="f341"/>
                    </a:lnTo>
                    <a:lnTo>
                      <a:pt x="f135" y="f228"/>
                    </a:lnTo>
                    <a:lnTo>
                      <a:pt x="f331" y="f241"/>
                    </a:lnTo>
                    <a:lnTo>
                      <a:pt x="f329" y="f342"/>
                    </a:lnTo>
                    <a:lnTo>
                      <a:pt x="f126" y="f343"/>
                    </a:lnTo>
                    <a:lnTo>
                      <a:pt x="f344" y="f204"/>
                    </a:lnTo>
                    <a:lnTo>
                      <a:pt x="f344" y="f231"/>
                    </a:lnTo>
                    <a:lnTo>
                      <a:pt x="f345" y="f233"/>
                    </a:lnTo>
                    <a:lnTo>
                      <a:pt x="f346" y="f347"/>
                    </a:lnTo>
                    <a:lnTo>
                      <a:pt x="f348" y="f197"/>
                    </a:lnTo>
                    <a:lnTo>
                      <a:pt x="f332" y="f186"/>
                    </a:lnTo>
                    <a:lnTo>
                      <a:pt x="f133" y="f184"/>
                    </a:lnTo>
                    <a:lnTo>
                      <a:pt x="f331" y="f349"/>
                    </a:lnTo>
                    <a:lnTo>
                      <a:pt x="f130" y="f265"/>
                    </a:lnTo>
                    <a:lnTo>
                      <a:pt x="f350" y="f271"/>
                    </a:lnTo>
                    <a:lnTo>
                      <a:pt x="f123" y="f351"/>
                    </a:lnTo>
                    <a:lnTo>
                      <a:pt x="f345" y="f273"/>
                    </a:lnTo>
                    <a:lnTo>
                      <a:pt x="f352" y="f177"/>
                    </a:lnTo>
                    <a:lnTo>
                      <a:pt x="f353" y="f219"/>
                    </a:lnTo>
                    <a:lnTo>
                      <a:pt x="f117" y="f219"/>
                    </a:lnTo>
                    <a:lnTo>
                      <a:pt x="f354" y="f355"/>
                    </a:lnTo>
                    <a:lnTo>
                      <a:pt x="f356" y="f357"/>
                    </a:lnTo>
                    <a:lnTo>
                      <a:pt x="f358" y="f359"/>
                    </a:lnTo>
                    <a:lnTo>
                      <a:pt x="f360" y="f63"/>
                    </a:lnTo>
                    <a:lnTo>
                      <a:pt x="f361" y="f55"/>
                    </a:lnTo>
                    <a:lnTo>
                      <a:pt x="f362" y="f53"/>
                    </a:lnTo>
                    <a:lnTo>
                      <a:pt x="f363" y="f53"/>
                    </a:lnTo>
                    <a:lnTo>
                      <a:pt x="f364" y="f57"/>
                    </a:lnTo>
                    <a:lnTo>
                      <a:pt x="f365" y="f51"/>
                    </a:lnTo>
                    <a:lnTo>
                      <a:pt x="f366" y="f72"/>
                    </a:lnTo>
                    <a:lnTo>
                      <a:pt x="f367" y="f59"/>
                    </a:lnTo>
                    <a:lnTo>
                      <a:pt x="f368" y="f53"/>
                    </a:lnTo>
                    <a:lnTo>
                      <a:pt x="f369" y="f370"/>
                    </a:lnTo>
                    <a:lnTo>
                      <a:pt x="f78" y="f65"/>
                    </a:lnTo>
                    <a:lnTo>
                      <a:pt x="f371" y="f217"/>
                    </a:lnTo>
                    <a:lnTo>
                      <a:pt x="f372" y="f177"/>
                    </a:lnTo>
                    <a:lnTo>
                      <a:pt x="f373" y="f219"/>
                    </a:lnTo>
                    <a:lnTo>
                      <a:pt x="f374" y="f271"/>
                    </a:lnTo>
                    <a:lnTo>
                      <a:pt x="f375" y="f220"/>
                    </a:lnTo>
                    <a:lnTo>
                      <a:pt x="f58" y="f376"/>
                    </a:lnTo>
                    <a:lnTo>
                      <a:pt x="f377" y="f179"/>
                    </a:lnTo>
                    <a:lnTo>
                      <a:pt x="f378" y="f222"/>
                    </a:lnTo>
                    <a:lnTo>
                      <a:pt x="f379" y="f179"/>
                    </a:lnTo>
                    <a:lnTo>
                      <a:pt x="f37" y="f218"/>
                    </a:lnTo>
                    <a:lnTo>
                      <a:pt x="f380" y="f381"/>
                    </a:lnTo>
                    <a:lnTo>
                      <a:pt x="f382" y="f55"/>
                    </a:lnTo>
                    <a:lnTo>
                      <a:pt x="f383" y="f51"/>
                    </a:lnTo>
                    <a:lnTo>
                      <a:pt x="f384" y="f46"/>
                    </a:lnTo>
                    <a:lnTo>
                      <a:pt x="f385" y="f103"/>
                    </a:lnTo>
                    <a:lnTo>
                      <a:pt x="f386" y="f39"/>
                    </a:lnTo>
                    <a:lnTo>
                      <a:pt x="f378" y="f41"/>
                    </a:lnTo>
                    <a:lnTo>
                      <a:pt x="f387" y="f388"/>
                    </a:lnTo>
                    <a:lnTo>
                      <a:pt x="f389" y="f94"/>
                    </a:lnTo>
                    <a:lnTo>
                      <a:pt x="f390" y="f27"/>
                    </a:lnTo>
                    <a:lnTo>
                      <a:pt x="f390" y="f23"/>
                    </a:lnTo>
                    <a:lnTo>
                      <a:pt x="f391" y="f169"/>
                    </a:lnTo>
                    <a:lnTo>
                      <a:pt x="f390" y="f19"/>
                    </a:lnTo>
                    <a:lnTo>
                      <a:pt x="f47" y="f16"/>
                    </a:lnTo>
                    <a:lnTo>
                      <a:pt x="f392" y="f393"/>
                    </a:lnTo>
                    <a:lnTo>
                      <a:pt x="f392" y="f394"/>
                    </a:lnTo>
                    <a:lnTo>
                      <a:pt x="f47" y="f160"/>
                    </a:lnTo>
                    <a:lnTo>
                      <a:pt x="f392" y="f152"/>
                    </a:lnTo>
                    <a:lnTo>
                      <a:pt x="f395" y="f396"/>
                    </a:lnTo>
                    <a:lnTo>
                      <a:pt x="f397" y="f396"/>
                    </a:lnTo>
                    <a:lnTo>
                      <a:pt x="f398" y="f399"/>
                    </a:lnTo>
                    <a:lnTo>
                      <a:pt x="f387" y="f289"/>
                    </a:lnTo>
                    <a:lnTo>
                      <a:pt x="f400" y="f396"/>
                    </a:lnTo>
                    <a:lnTo>
                      <a:pt x="f42" y="f156"/>
                    </a:lnTo>
                    <a:lnTo>
                      <a:pt x="f401" y="f195"/>
                    </a:lnTo>
                    <a:lnTo>
                      <a:pt x="f402" y="f403"/>
                    </a:lnTo>
                    <a:lnTo>
                      <a:pt x="f404" y="f403"/>
                    </a:lnTo>
                    <a:lnTo>
                      <a:pt x="f382" y="f405"/>
                    </a:lnTo>
                    <a:lnTo>
                      <a:pt x="f37" y="f405"/>
                    </a:lnTo>
                    <a:lnTo>
                      <a:pt x="f406" y="f407"/>
                    </a:lnTo>
                    <a:lnTo>
                      <a:pt x="f408" y="f409"/>
                    </a:lnTo>
                    <a:lnTo>
                      <a:pt x="f410" y="f293"/>
                    </a:lnTo>
                    <a:lnTo>
                      <a:pt x="f411" y="f412"/>
                    </a:lnTo>
                    <a:lnTo>
                      <a:pt x="f413" y="f414"/>
                    </a:lnTo>
                    <a:lnTo>
                      <a:pt x="f415" y="f168"/>
                    </a:lnTo>
                    <a:lnTo>
                      <a:pt x="f416" y="f182"/>
                    </a:lnTo>
                    <a:lnTo>
                      <a:pt x="f417" y="f180"/>
                    </a:lnTo>
                    <a:lnTo>
                      <a:pt x="f418" y="f419"/>
                    </a:lnTo>
                    <a:lnTo>
                      <a:pt x="f420" y="f161"/>
                    </a:lnTo>
                    <a:lnTo>
                      <a:pt x="f421" y="f422"/>
                    </a:lnTo>
                    <a:lnTo>
                      <a:pt x="f423" y="f155"/>
                    </a:lnTo>
                    <a:lnTo>
                      <a:pt x="f6" y="f424"/>
                    </a:lnTo>
                    <a:lnTo>
                      <a:pt x="f6" y="f425"/>
                    </a:lnTo>
                    <a:lnTo>
                      <a:pt x="f423" y="f426"/>
                    </a:lnTo>
                    <a:lnTo>
                      <a:pt x="f427" y="f140"/>
                    </a:lnTo>
                    <a:lnTo>
                      <a:pt x="f421" y="f348"/>
                    </a:lnTo>
                    <a:lnTo>
                      <a:pt x="f421" y="f329"/>
                    </a:lnTo>
                    <a:lnTo>
                      <a:pt x="f420" y="f126"/>
                    </a:lnTo>
                    <a:lnTo>
                      <a:pt x="f428" y="f123"/>
                    </a:lnTo>
                    <a:lnTo>
                      <a:pt x="f429" y="f326"/>
                    </a:lnTo>
                    <a:lnTo>
                      <a:pt x="f430" y="f121"/>
                    </a:lnTo>
                    <a:lnTo>
                      <a:pt x="f415" y="f431"/>
                    </a:lnTo>
                    <a:lnTo>
                      <a:pt x="f415" y="f118"/>
                    </a:lnTo>
                    <a:lnTo>
                      <a:pt x="f430" y="f432"/>
                    </a:lnTo>
                    <a:lnTo>
                      <a:pt x="f417" y="f433"/>
                    </a:lnTo>
                    <a:lnTo>
                      <a:pt x="f434" y="f435"/>
                    </a:lnTo>
                    <a:lnTo>
                      <a:pt x="f436" y="f356"/>
                    </a:lnTo>
                    <a:lnTo>
                      <a:pt x="f413" y="f105"/>
                    </a:lnTo>
                    <a:lnTo>
                      <a:pt x="f437" y="f438"/>
                    </a:lnTo>
                    <a:lnTo>
                      <a:pt x="f439" y="f440"/>
                    </a:lnTo>
                    <a:lnTo>
                      <a:pt x="f441" y="f442"/>
                    </a:lnTo>
                    <a:lnTo>
                      <a:pt x="f379" y="f443"/>
                    </a:lnTo>
                    <a:lnTo>
                      <a:pt x="f380" y="f444"/>
                    </a:lnTo>
                    <a:lnTo>
                      <a:pt x="f38" y="f361"/>
                    </a:lnTo>
                    <a:lnTo>
                      <a:pt x="f383" y="f445"/>
                    </a:lnTo>
                    <a:lnTo>
                      <a:pt x="f446" y="f362"/>
                    </a:lnTo>
                    <a:lnTo>
                      <a:pt x="f447" y="f362"/>
                    </a:lnTo>
                    <a:lnTo>
                      <a:pt x="f448" y="f449"/>
                    </a:lnTo>
                    <a:lnTo>
                      <a:pt x="f448" y="f445"/>
                    </a:lnTo>
                    <a:lnTo>
                      <a:pt x="f384" y="f101"/>
                    </a:lnTo>
                    <a:lnTo>
                      <a:pt x="f450" y="f451"/>
                    </a:lnTo>
                    <a:lnTo>
                      <a:pt x="f400" y="f452"/>
                    </a:lnTo>
                    <a:lnTo>
                      <a:pt x="f453" y="f454"/>
                    </a:lnTo>
                    <a:lnTo>
                      <a:pt x="f453" y="f455"/>
                    </a:lnTo>
                    <a:lnTo>
                      <a:pt x="f456" y="f98"/>
                    </a:lnTo>
                    <a:lnTo>
                      <a:pt x="f387" y="f457"/>
                    </a:lnTo>
                    <a:lnTo>
                      <a:pt x="f387" y="f458"/>
                    </a:lnTo>
                    <a:lnTo>
                      <a:pt x="f44" y="f365"/>
                    </a:lnTo>
                    <a:lnTo>
                      <a:pt x="f453" y="f365"/>
                    </a:lnTo>
                    <a:lnTo>
                      <a:pt x="f459" y="f95"/>
                    </a:lnTo>
                    <a:lnTo>
                      <a:pt x="f391" y="f455"/>
                    </a:lnTo>
                    <a:lnTo>
                      <a:pt x="f460" y="f454"/>
                    </a:lnTo>
                    <a:lnTo>
                      <a:pt x="f56" y="f454"/>
                    </a:lnTo>
                    <a:lnTo>
                      <a:pt x="f461" y="f455"/>
                    </a:lnTo>
                    <a:lnTo>
                      <a:pt x="f462" y="f98"/>
                    </a:lnTo>
                    <a:lnTo>
                      <a:pt x="f463" y="f364"/>
                    </a:lnTo>
                    <a:lnTo>
                      <a:pt x="f464" y="f457"/>
                    </a:lnTo>
                    <a:lnTo>
                      <a:pt x="f374" y="f465"/>
                    </a:lnTo>
                    <a:lnTo>
                      <a:pt x="f466" y="f96"/>
                    </a:lnTo>
                    <a:lnTo>
                      <a:pt x="f373" y="f98"/>
                    </a:lnTo>
                    <a:lnTo>
                      <a:pt x="f467" y="f468"/>
                    </a:lnTo>
                    <a:lnTo>
                      <a:pt x="f469" y="f470"/>
                    </a:lnTo>
                    <a:lnTo>
                      <a:pt x="f471" y="f455"/>
                    </a:lnTo>
                    <a:lnTo>
                      <a:pt x="f472" y="f455"/>
                    </a:lnTo>
                    <a:lnTo>
                      <a:pt x="f473" y="f470"/>
                    </a:lnTo>
                    <a:lnTo>
                      <a:pt x="f474" y="f363"/>
                    </a:lnTo>
                    <a:lnTo>
                      <a:pt x="f475" y="f455"/>
                    </a:lnTo>
                    <a:lnTo>
                      <a:pt x="f476" y="f454"/>
                    </a:lnTo>
                    <a:lnTo>
                      <a:pt x="f477" y="f449"/>
                    </a:lnTo>
                    <a:lnTo>
                      <a:pt x="f75" y="f449"/>
                    </a:lnTo>
                    <a:lnTo>
                      <a:pt x="f478" y="f454"/>
                    </a:lnTo>
                    <a:lnTo>
                      <a:pt x="f3" y="f454"/>
                    </a:lnTo>
                    <a:lnTo>
                      <a:pt x="f479" y="f99"/>
                    </a:lnTo>
                    <a:lnTo>
                      <a:pt x="f480" y="f99"/>
                    </a:lnTo>
                    <a:lnTo>
                      <a:pt x="f480" y="f98"/>
                    </a:lnTo>
                    <a:lnTo>
                      <a:pt x="f3" y="f365"/>
                    </a:lnTo>
                    <a:lnTo>
                      <a:pt x="f369" y="f481"/>
                    </a:lnTo>
                    <a:lnTo>
                      <a:pt x="f478" y="f482"/>
                    </a:lnTo>
                    <a:lnTo>
                      <a:pt x="f478" y="f483"/>
                    </a:lnTo>
                    <a:lnTo>
                      <a:pt x="f369" y="f484"/>
                    </a:lnTo>
                    <a:lnTo>
                      <a:pt x="f485" y="f485"/>
                    </a:lnTo>
                    <a:lnTo>
                      <a:pt x="f480" y="f486"/>
                    </a:lnTo>
                    <a:lnTo>
                      <a:pt x="f487" y="f84"/>
                    </a:lnTo>
                    <a:lnTo>
                      <a:pt x="f483" y="f478"/>
                    </a:lnTo>
                    <a:lnTo>
                      <a:pt x="f488" y="f85"/>
                    </a:lnTo>
                    <a:lnTo>
                      <a:pt x="f489" y="f479"/>
                    </a:lnTo>
                    <a:lnTo>
                      <a:pt x="f366" y="f490"/>
                    </a:lnTo>
                    <a:lnTo>
                      <a:pt x="f93" y="f86"/>
                    </a:lnTo>
                    <a:lnTo>
                      <a:pt x="f458" y="f480"/>
                    </a:lnTo>
                    <a:lnTo>
                      <a:pt x="f95" y="f486"/>
                    </a:lnTo>
                    <a:lnTo>
                      <a:pt x="f95" y="f491"/>
                    </a:lnTo>
                    <a:lnTo>
                      <a:pt x="f465" y="f492"/>
                    </a:lnTo>
                    <a:lnTo>
                      <a:pt x="f468" y="f493"/>
                    </a:lnTo>
                    <a:lnTo>
                      <a:pt x="f445" y="f494"/>
                    </a:lnTo>
                    <a:lnTo>
                      <a:pt x="f495" y="f64"/>
                    </a:lnTo>
                    <a:lnTo>
                      <a:pt x="f104" y="f496"/>
                    </a:lnTo>
                    <a:lnTo>
                      <a:pt x="f442" y="f466"/>
                    </a:lnTo>
                    <a:lnTo>
                      <a:pt x="f438" y="f497"/>
                    </a:lnTo>
                    <a:lnTo>
                      <a:pt x="f105" y="f496"/>
                    </a:lnTo>
                    <a:lnTo>
                      <a:pt x="f108" y="f467"/>
                    </a:lnTo>
                    <a:lnTo>
                      <a:pt x="f354" y="f373"/>
                    </a:lnTo>
                    <a:lnTo>
                      <a:pt x="f498" y="f374"/>
                    </a:lnTo>
                    <a:lnTo>
                      <a:pt x="f431" y="f62"/>
                    </a:lnTo>
                    <a:lnTo>
                      <a:pt x="f344" y="f499"/>
                    </a:lnTo>
                    <a:lnTo>
                      <a:pt x="f123" y="f60"/>
                    </a:lnTo>
                    <a:lnTo>
                      <a:pt x="f329" y="f500"/>
                    </a:lnTo>
                    <a:lnTo>
                      <a:pt x="f332" y="f499"/>
                    </a:lnTo>
                    <a:lnTo>
                      <a:pt x="f317" y="f501"/>
                    </a:lnTo>
                    <a:lnTo>
                      <a:pt x="f502" y="f499"/>
                    </a:lnTo>
                    <a:lnTo>
                      <a:pt x="f143" y="f503"/>
                    </a:lnTo>
                    <a:lnTo>
                      <a:pt x="f148" y="f504"/>
                    </a:lnTo>
                    <a:lnTo>
                      <a:pt x="f144" y="f505"/>
                    </a:lnTo>
                    <a:lnTo>
                      <a:pt x="f147" y="f506"/>
                    </a:lnTo>
                    <a:lnTo>
                      <a:pt x="f507" y="f392"/>
                    </a:lnTo>
                    <a:lnTo>
                      <a:pt x="f424" y="f395"/>
                    </a:lnTo>
                    <a:lnTo>
                      <a:pt x="f508" y="f509"/>
                    </a:lnTo>
                    <a:lnTo>
                      <a:pt x="f510" y="f509"/>
                    </a:lnTo>
                    <a:lnTo>
                      <a:pt x="f176" y="f459"/>
                    </a:lnTo>
                    <a:lnTo>
                      <a:pt x="f412" y="f456"/>
                    </a:lnTo>
                    <a:lnTo>
                      <a:pt x="f189" y="f511"/>
                    </a:lnTo>
                    <a:lnTo>
                      <a:pt x="f512" y="f384"/>
                    </a:lnTo>
                    <a:lnTo>
                      <a:pt x="f513" y="f446"/>
                    </a:lnTo>
                    <a:lnTo>
                      <a:pt x="f514" y="f515"/>
                    </a:lnTo>
                    <a:lnTo>
                      <a:pt x="f516" y="f517"/>
                    </a:lnTo>
                    <a:lnTo>
                      <a:pt x="f518" y="f519"/>
                    </a:lnTo>
                    <a:lnTo>
                      <a:pt x="f518" y="f406"/>
                    </a:lnTo>
                    <a:lnTo>
                      <a:pt x="f514" y="f31"/>
                    </a:lnTo>
                    <a:lnTo>
                      <a:pt x="f520" y="f521"/>
                    </a:lnTo>
                    <a:lnTo>
                      <a:pt x="f522" y="f24"/>
                    </a:lnTo>
                    <a:lnTo>
                      <a:pt x="f523" y="f524"/>
                    </a:lnTo>
                    <a:lnTo>
                      <a:pt x="f152" y="f525"/>
                    </a:lnTo>
                    <a:lnTo>
                      <a:pt x="f152" y="f20"/>
                    </a:lnTo>
                    <a:lnTo>
                      <a:pt x="f396" y="f526"/>
                    </a:lnTo>
                    <a:lnTo>
                      <a:pt x="f396" y="f527"/>
                    </a:lnTo>
                    <a:lnTo>
                      <a:pt x="f399" y="f12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628DFCF5-7311-4A32-8700-C5EE0DE68206}"/>
                  </a:ext>
                </a:extLst>
              </p:cNvPr>
              <p:cNvSpPr/>
              <p:nvPr/>
            </p:nvSpPr>
            <p:spPr>
              <a:xfrm rot="21447621">
                <a:off x="4229218" y="2185754"/>
                <a:ext cx="156600" cy="11614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76"/>
                  <a:gd name="f7" fmla="val 216"/>
                  <a:gd name="f8" fmla="val 159"/>
                  <a:gd name="f9" fmla="val 164"/>
                  <a:gd name="f10" fmla="val 1"/>
                  <a:gd name="f11" fmla="val 170"/>
                  <a:gd name="f12" fmla="val 4"/>
                  <a:gd name="f13" fmla="val 177"/>
                  <a:gd name="f14" fmla="val 5"/>
                  <a:gd name="f15" fmla="val 183"/>
                  <a:gd name="f16" fmla="val 190"/>
                  <a:gd name="f17" fmla="val 9"/>
                  <a:gd name="f18" fmla="val 199"/>
                  <a:gd name="f19" fmla="val 15"/>
                  <a:gd name="f20" fmla="val 209"/>
                  <a:gd name="f21" fmla="val 20"/>
                  <a:gd name="f22" fmla="val 218"/>
                  <a:gd name="f23" fmla="val 23"/>
                  <a:gd name="f24" fmla="val 225"/>
                  <a:gd name="f25" fmla="val 28"/>
                  <a:gd name="f26" fmla="val 230"/>
                  <a:gd name="f27" fmla="val 30"/>
                  <a:gd name="f28" fmla="val 235"/>
                  <a:gd name="f29" fmla="val 241"/>
                  <a:gd name="f30" fmla="val 26"/>
                  <a:gd name="f31" fmla="val 243"/>
                  <a:gd name="f32" fmla="val 24"/>
                  <a:gd name="f33" fmla="val 245"/>
                  <a:gd name="f34" fmla="val 25"/>
                  <a:gd name="f35" fmla="val 249"/>
                  <a:gd name="f36" fmla="val 31"/>
                  <a:gd name="f37" fmla="val 253"/>
                  <a:gd name="f38" fmla="val 38"/>
                  <a:gd name="f39" fmla="val 256"/>
                  <a:gd name="f40" fmla="val 46"/>
                  <a:gd name="f41" fmla="val 259"/>
                  <a:gd name="f42" fmla="val 53"/>
                  <a:gd name="f43" fmla="val 260"/>
                  <a:gd name="f44" fmla="val 57"/>
                  <a:gd name="f45" fmla="val 258"/>
                  <a:gd name="f46" fmla="val 63"/>
                  <a:gd name="f47" fmla="val 252"/>
                  <a:gd name="f48" fmla="val 70"/>
                  <a:gd name="f49" fmla="val 78"/>
                  <a:gd name="f50" fmla="val 240"/>
                  <a:gd name="f51" fmla="val 82"/>
                  <a:gd name="f52" fmla="val 86"/>
                  <a:gd name="f53" fmla="val 247"/>
                  <a:gd name="f54" fmla="val 93"/>
                  <a:gd name="f55" fmla="val 251"/>
                  <a:gd name="f56" fmla="val 99"/>
                  <a:gd name="f57" fmla="val 103"/>
                  <a:gd name="f58" fmla="val 261"/>
                  <a:gd name="f59" fmla="val 106"/>
                  <a:gd name="f60" fmla="val 266"/>
                  <a:gd name="f61" fmla="val 108"/>
                  <a:gd name="f62" fmla="val 271"/>
                  <a:gd name="f63" fmla="val 111"/>
                  <a:gd name="f64" fmla="val 275"/>
                  <a:gd name="f65" fmla="val 116"/>
                  <a:gd name="f66" fmla="val 122"/>
                  <a:gd name="f67" fmla="val 274"/>
                  <a:gd name="f68" fmla="val 126"/>
                  <a:gd name="f69" fmla="val 270"/>
                  <a:gd name="f70" fmla="val 130"/>
                  <a:gd name="f71" fmla="val 133"/>
                  <a:gd name="f72" fmla="val 262"/>
                  <a:gd name="f73" fmla="val 137"/>
                  <a:gd name="f74" fmla="val 141"/>
                  <a:gd name="f75" fmla="val 148"/>
                  <a:gd name="f76" fmla="val 154"/>
                  <a:gd name="f77" fmla="val 161"/>
                  <a:gd name="f78" fmla="val 244"/>
                  <a:gd name="f79" fmla="val 169"/>
                  <a:gd name="f80" fmla="val 242"/>
                  <a:gd name="f81" fmla="val 176"/>
                  <a:gd name="f82" fmla="val 246"/>
                  <a:gd name="f83" fmla="val 184"/>
                  <a:gd name="f84" fmla="val 192"/>
                  <a:gd name="f85" fmla="val 201"/>
                  <a:gd name="f86" fmla="val 206"/>
                  <a:gd name="f87" fmla="val 211"/>
                  <a:gd name="f88" fmla="val 239"/>
                  <a:gd name="f89" fmla="val 214"/>
                  <a:gd name="f90" fmla="val 215"/>
                  <a:gd name="f91" fmla="val 231"/>
                  <a:gd name="f92" fmla="val 227"/>
                  <a:gd name="f93" fmla="val 212"/>
                  <a:gd name="f94" fmla="val 222"/>
                  <a:gd name="f95" fmla="val 213"/>
                  <a:gd name="f96" fmla="val 208"/>
                  <a:gd name="f97" fmla="val 205"/>
                  <a:gd name="f98" fmla="val 204"/>
                  <a:gd name="f99" fmla="val 203"/>
                  <a:gd name="f100" fmla="val 198"/>
                  <a:gd name="f101" fmla="val 202"/>
                  <a:gd name="f102" fmla="val 194"/>
                  <a:gd name="f103" fmla="val 200"/>
                  <a:gd name="f104" fmla="val 191"/>
                  <a:gd name="f105" fmla="val 189"/>
                  <a:gd name="f106" fmla="val 188"/>
                  <a:gd name="f107" fmla="val 207"/>
                  <a:gd name="f108" fmla="val 187"/>
                  <a:gd name="f109" fmla="val 185"/>
                  <a:gd name="f110" fmla="val 182"/>
                  <a:gd name="f111" fmla="val 179"/>
                  <a:gd name="f112" fmla="val 193"/>
                  <a:gd name="f113" fmla="val 175"/>
                  <a:gd name="f114" fmla="val 186"/>
                  <a:gd name="f115" fmla="val 172"/>
                  <a:gd name="f116" fmla="val 165"/>
                  <a:gd name="f117" fmla="val 174"/>
                  <a:gd name="f118" fmla="val 157"/>
                  <a:gd name="f119" fmla="val 171"/>
                  <a:gd name="f120" fmla="val 149"/>
                  <a:gd name="f121" fmla="val 146"/>
                  <a:gd name="f122" fmla="val 173"/>
                  <a:gd name="f123" fmla="val 142"/>
                  <a:gd name="f124" fmla="val 138"/>
                  <a:gd name="f125" fmla="val 136"/>
                  <a:gd name="f126" fmla="val 168"/>
                  <a:gd name="f127" fmla="val 131"/>
                  <a:gd name="f128" fmla="val 129"/>
                  <a:gd name="f129" fmla="val 132"/>
                  <a:gd name="f130" fmla="val 128"/>
                  <a:gd name="f131" fmla="val 102"/>
                  <a:gd name="f132" fmla="val 98"/>
                  <a:gd name="f133" fmla="val 178"/>
                  <a:gd name="f134" fmla="val 97"/>
                  <a:gd name="f135" fmla="val 96"/>
                  <a:gd name="f136" fmla="val 167"/>
                  <a:gd name="f137" fmla="val 81"/>
                  <a:gd name="f138" fmla="val 156"/>
                  <a:gd name="f139" fmla="val 80"/>
                  <a:gd name="f140" fmla="val 147"/>
                  <a:gd name="f141" fmla="val 79"/>
                  <a:gd name="f142" fmla="val 76"/>
                  <a:gd name="f143" fmla="val 64"/>
                  <a:gd name="f144" fmla="val 124"/>
                  <a:gd name="f145" fmla="val 59"/>
                  <a:gd name="f146" fmla="val 110"/>
                  <a:gd name="f147" fmla="val 60"/>
                  <a:gd name="f148" fmla="val 104"/>
                  <a:gd name="f149" fmla="val 58"/>
                  <a:gd name="f150" fmla="val 50"/>
                  <a:gd name="f151" fmla="val 90"/>
                  <a:gd name="f152" fmla="val 48"/>
                  <a:gd name="f153" fmla="val 21"/>
                  <a:gd name="f154" fmla="val 16"/>
                  <a:gd name="f155" fmla="val 10"/>
                  <a:gd name="f156" fmla="val 2"/>
                  <a:gd name="f157" fmla="val 55"/>
                  <a:gd name="f158" fmla="val 49"/>
                  <a:gd name="f159" fmla="val 42"/>
                  <a:gd name="f160" fmla="val 35"/>
                  <a:gd name="f161" fmla="val 36"/>
                  <a:gd name="f162" fmla="val 45"/>
                  <a:gd name="f163" fmla="val 62"/>
                  <a:gd name="f164" fmla="val 33"/>
                  <a:gd name="f165" fmla="val 75"/>
                  <a:gd name="f166" fmla="val 32"/>
                  <a:gd name="f167" fmla="val 83"/>
                  <a:gd name="f168" fmla="val 88"/>
                  <a:gd name="f169" fmla="val 117"/>
                  <a:gd name="f170" fmla="val 151"/>
                  <a:gd name="f171" fmla="+- 0 0 -90"/>
                  <a:gd name="f172" fmla="*/ f3 1 276"/>
                  <a:gd name="f173" fmla="*/ f4 1 216"/>
                  <a:gd name="f174" fmla="+- f7 0 f5"/>
                  <a:gd name="f175" fmla="+- f6 0 f5"/>
                  <a:gd name="f176" fmla="*/ f171 f0 1"/>
                  <a:gd name="f177" fmla="*/ f175 1 276"/>
                  <a:gd name="f178" fmla="*/ f174 1 216"/>
                  <a:gd name="f179" fmla="*/ f176 1 f2"/>
                  <a:gd name="f180" fmla="*/ 170 1 f177"/>
                  <a:gd name="f181" fmla="*/ 4 1 f178"/>
                  <a:gd name="f182" fmla="*/ 190 1 f177"/>
                  <a:gd name="f183" fmla="*/ 9 1 f178"/>
                  <a:gd name="f184" fmla="*/ 218 1 f177"/>
                  <a:gd name="f185" fmla="*/ 23 1 f178"/>
                  <a:gd name="f186" fmla="*/ 235 1 f177"/>
                  <a:gd name="f187" fmla="*/ 30 1 f178"/>
                  <a:gd name="f188" fmla="*/ 245 1 f177"/>
                  <a:gd name="f189" fmla="*/ 25 1 f178"/>
                  <a:gd name="f190" fmla="*/ 256 1 f177"/>
                  <a:gd name="f191" fmla="*/ 46 1 f178"/>
                  <a:gd name="f192" fmla="*/ 258 1 f177"/>
                  <a:gd name="f193" fmla="*/ 63 1 f178"/>
                  <a:gd name="f194" fmla="*/ 240 1 f177"/>
                  <a:gd name="f195" fmla="*/ 82 1 f178"/>
                  <a:gd name="f196" fmla="*/ 251 1 f177"/>
                  <a:gd name="f197" fmla="*/ 99 1 f178"/>
                  <a:gd name="f198" fmla="*/ 266 1 f177"/>
                  <a:gd name="f199" fmla="*/ 108 1 f178"/>
                  <a:gd name="f200" fmla="*/ 276 1 f177"/>
                  <a:gd name="f201" fmla="*/ 122 1 f178"/>
                  <a:gd name="f202" fmla="*/ 133 1 f178"/>
                  <a:gd name="f203" fmla="*/ 260 1 f177"/>
                  <a:gd name="f204" fmla="*/ 148 1 f178"/>
                  <a:gd name="f205" fmla="*/ 244 1 f177"/>
                  <a:gd name="f206" fmla="*/ 169 1 f178"/>
                  <a:gd name="f207" fmla="*/ 253 1 f177"/>
                  <a:gd name="f208" fmla="*/ 192 1 f178"/>
                  <a:gd name="f209" fmla="*/ 247 1 f177"/>
                  <a:gd name="f210" fmla="*/ 211 1 f178"/>
                  <a:gd name="f211" fmla="*/ 231 1 f177"/>
                  <a:gd name="f212" fmla="*/ 214 1 f178"/>
                  <a:gd name="f213" fmla="*/ 214 1 f177"/>
                  <a:gd name="f214" fmla="*/ 213 1 f178"/>
                  <a:gd name="f215" fmla="*/ 204 1 f177"/>
                  <a:gd name="f216" fmla="*/ 212 1 f178"/>
                  <a:gd name="f217" fmla="*/ 198 1 f177"/>
                  <a:gd name="f218" fmla="*/ 202 1 f178"/>
                  <a:gd name="f219" fmla="*/ 191 1 f177"/>
                  <a:gd name="f220" fmla="*/ 188 1 f177"/>
                  <a:gd name="f221" fmla="*/ 209 1 f178"/>
                  <a:gd name="f222" fmla="*/ 184 1 f177"/>
                  <a:gd name="f223" fmla="*/ 216 1 f178"/>
                  <a:gd name="f224" fmla="*/ 177 1 f177"/>
                  <a:gd name="f225" fmla="*/ 201 1 f178"/>
                  <a:gd name="f226" fmla="*/ 172 1 f177"/>
                  <a:gd name="f227" fmla="*/ 179 1 f178"/>
                  <a:gd name="f228" fmla="*/ 149 1 f177"/>
                  <a:gd name="f229" fmla="*/ 172 1 f178"/>
                  <a:gd name="f230" fmla="*/ 138 1 f177"/>
                  <a:gd name="f231" fmla="*/ 129 1 f177"/>
                  <a:gd name="f232" fmla="*/ 170 1 f178"/>
                  <a:gd name="f233" fmla="*/ 132 1 f177"/>
                  <a:gd name="f234" fmla="*/ 187 1 f178"/>
                  <a:gd name="f235" fmla="*/ 99 1 f177"/>
                  <a:gd name="f236" fmla="*/ 97 1 f177"/>
                  <a:gd name="f237" fmla="*/ 86 1 f177"/>
                  <a:gd name="f238" fmla="*/ 161 1 f178"/>
                  <a:gd name="f239" fmla="*/ 79 1 f177"/>
                  <a:gd name="f240" fmla="*/ 141 1 f178"/>
                  <a:gd name="f241" fmla="*/ 59 1 f177"/>
                  <a:gd name="f242" fmla="*/ 116 1 f178"/>
                  <a:gd name="f243" fmla="*/ 60 1 f177"/>
                  <a:gd name="f244" fmla="*/ 48 1 f177"/>
                  <a:gd name="f245" fmla="*/ 86 1 f178"/>
                  <a:gd name="f246" fmla="*/ 38 1 f177"/>
                  <a:gd name="f247" fmla="*/ 70 1 f178"/>
                  <a:gd name="f248" fmla="*/ 16 1 f177"/>
                  <a:gd name="f249" fmla="*/ 59 1 f178"/>
                  <a:gd name="f250" fmla="*/ 2 1 f177"/>
                  <a:gd name="f251" fmla="*/ 55 1 f178"/>
                  <a:gd name="f252" fmla="*/ 1 1 f177"/>
                  <a:gd name="f253" fmla="*/ 35 1 f178"/>
                  <a:gd name="f254" fmla="*/ 62 1 f177"/>
                  <a:gd name="f255" fmla="*/ 33 1 f178"/>
                  <a:gd name="f256" fmla="*/ 88 1 f177"/>
                  <a:gd name="f257" fmla="*/ 117 1 f177"/>
                  <a:gd name="f258" fmla="*/ 16 1 f178"/>
                  <a:gd name="f259" fmla="*/ 151 1 f177"/>
                  <a:gd name="f260" fmla="*/ 2 1 f178"/>
                  <a:gd name="f261" fmla="*/ 0 1 f177"/>
                  <a:gd name="f262" fmla="*/ f6 1 f177"/>
                  <a:gd name="f263" fmla="*/ 0 1 f178"/>
                  <a:gd name="f264" fmla="*/ f7 1 f178"/>
                  <a:gd name="f265" fmla="+- f179 0 f1"/>
                  <a:gd name="f266" fmla="*/ f261 f172 1"/>
                  <a:gd name="f267" fmla="*/ f262 f172 1"/>
                  <a:gd name="f268" fmla="*/ f264 f173 1"/>
                  <a:gd name="f269" fmla="*/ f263 f173 1"/>
                  <a:gd name="f270" fmla="*/ f180 f172 1"/>
                  <a:gd name="f271" fmla="*/ f181 f173 1"/>
                  <a:gd name="f272" fmla="*/ f182 f172 1"/>
                  <a:gd name="f273" fmla="*/ f183 f173 1"/>
                  <a:gd name="f274" fmla="*/ f184 f172 1"/>
                  <a:gd name="f275" fmla="*/ f185 f173 1"/>
                  <a:gd name="f276" fmla="*/ f186 f172 1"/>
                  <a:gd name="f277" fmla="*/ f187 f173 1"/>
                  <a:gd name="f278" fmla="*/ f188 f172 1"/>
                  <a:gd name="f279" fmla="*/ f189 f173 1"/>
                  <a:gd name="f280" fmla="*/ f190 f172 1"/>
                  <a:gd name="f281" fmla="*/ f191 f173 1"/>
                  <a:gd name="f282" fmla="*/ f192 f172 1"/>
                  <a:gd name="f283" fmla="*/ f193 f173 1"/>
                  <a:gd name="f284" fmla="*/ f194 f172 1"/>
                  <a:gd name="f285" fmla="*/ f195 f173 1"/>
                  <a:gd name="f286" fmla="*/ f196 f172 1"/>
                  <a:gd name="f287" fmla="*/ f197 f173 1"/>
                  <a:gd name="f288" fmla="*/ f198 f172 1"/>
                  <a:gd name="f289" fmla="*/ f199 f173 1"/>
                  <a:gd name="f290" fmla="*/ f200 f172 1"/>
                  <a:gd name="f291" fmla="*/ f201 f173 1"/>
                  <a:gd name="f292" fmla="*/ f202 f173 1"/>
                  <a:gd name="f293" fmla="*/ f203 f172 1"/>
                  <a:gd name="f294" fmla="*/ f204 f173 1"/>
                  <a:gd name="f295" fmla="*/ f205 f172 1"/>
                  <a:gd name="f296" fmla="*/ f206 f173 1"/>
                  <a:gd name="f297" fmla="*/ f207 f172 1"/>
                  <a:gd name="f298" fmla="*/ f208 f173 1"/>
                  <a:gd name="f299" fmla="*/ f209 f172 1"/>
                  <a:gd name="f300" fmla="*/ f210 f173 1"/>
                  <a:gd name="f301" fmla="*/ f211 f172 1"/>
                  <a:gd name="f302" fmla="*/ f212 f173 1"/>
                  <a:gd name="f303" fmla="*/ f213 f172 1"/>
                  <a:gd name="f304" fmla="*/ f214 f173 1"/>
                  <a:gd name="f305" fmla="*/ f215 f172 1"/>
                  <a:gd name="f306" fmla="*/ f216 f173 1"/>
                  <a:gd name="f307" fmla="*/ f217 f172 1"/>
                  <a:gd name="f308" fmla="*/ f218 f173 1"/>
                  <a:gd name="f309" fmla="*/ f219 f172 1"/>
                  <a:gd name="f310" fmla="*/ f220 f172 1"/>
                  <a:gd name="f311" fmla="*/ f221 f173 1"/>
                  <a:gd name="f312" fmla="*/ f222 f172 1"/>
                  <a:gd name="f313" fmla="*/ f223 f173 1"/>
                  <a:gd name="f314" fmla="*/ f224 f172 1"/>
                  <a:gd name="f315" fmla="*/ f225 f173 1"/>
                  <a:gd name="f316" fmla="*/ f226 f172 1"/>
                  <a:gd name="f317" fmla="*/ f227 f173 1"/>
                  <a:gd name="f318" fmla="*/ f228 f172 1"/>
                  <a:gd name="f319" fmla="*/ f229 f173 1"/>
                  <a:gd name="f320" fmla="*/ f230 f172 1"/>
                  <a:gd name="f321" fmla="*/ f231 f172 1"/>
                  <a:gd name="f322" fmla="*/ f232 f173 1"/>
                  <a:gd name="f323" fmla="*/ f233 f172 1"/>
                  <a:gd name="f324" fmla="*/ f234 f173 1"/>
                  <a:gd name="f325" fmla="*/ f235 f172 1"/>
                  <a:gd name="f326" fmla="*/ f236 f172 1"/>
                  <a:gd name="f327" fmla="*/ f237 f172 1"/>
                  <a:gd name="f328" fmla="*/ f238 f173 1"/>
                  <a:gd name="f329" fmla="*/ f239 f172 1"/>
                  <a:gd name="f330" fmla="*/ f240 f173 1"/>
                  <a:gd name="f331" fmla="*/ f241 f172 1"/>
                  <a:gd name="f332" fmla="*/ f242 f173 1"/>
                  <a:gd name="f333" fmla="*/ f243 f172 1"/>
                  <a:gd name="f334" fmla="*/ f244 f172 1"/>
                  <a:gd name="f335" fmla="*/ f245 f173 1"/>
                  <a:gd name="f336" fmla="*/ f246 f172 1"/>
                  <a:gd name="f337" fmla="*/ f247 f173 1"/>
                  <a:gd name="f338" fmla="*/ f248 f172 1"/>
                  <a:gd name="f339" fmla="*/ f249 f173 1"/>
                  <a:gd name="f340" fmla="*/ f250 f172 1"/>
                  <a:gd name="f341" fmla="*/ f251 f173 1"/>
                  <a:gd name="f342" fmla="*/ f252 f172 1"/>
                  <a:gd name="f343" fmla="*/ f253 f173 1"/>
                  <a:gd name="f344" fmla="*/ f254 f172 1"/>
                  <a:gd name="f345" fmla="*/ f255 f173 1"/>
                  <a:gd name="f346" fmla="*/ f256 f172 1"/>
                  <a:gd name="f347" fmla="*/ f257 f172 1"/>
                  <a:gd name="f348" fmla="*/ f258 f173 1"/>
                  <a:gd name="f349" fmla="*/ f259 f172 1"/>
                  <a:gd name="f350" fmla="*/ f260 f173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65">
                    <a:pos x="f270" y="f271"/>
                  </a:cxn>
                  <a:cxn ang="f265">
                    <a:pos x="f272" y="f273"/>
                  </a:cxn>
                  <a:cxn ang="f265">
                    <a:pos x="f274" y="f275"/>
                  </a:cxn>
                  <a:cxn ang="f265">
                    <a:pos x="f276" y="f277"/>
                  </a:cxn>
                  <a:cxn ang="f265">
                    <a:pos x="f278" y="f279"/>
                  </a:cxn>
                  <a:cxn ang="f265">
                    <a:pos x="f280" y="f281"/>
                  </a:cxn>
                  <a:cxn ang="f265">
                    <a:pos x="f282" y="f283"/>
                  </a:cxn>
                  <a:cxn ang="f265">
                    <a:pos x="f284" y="f285"/>
                  </a:cxn>
                  <a:cxn ang="f265">
                    <a:pos x="f286" y="f287"/>
                  </a:cxn>
                  <a:cxn ang="f265">
                    <a:pos x="f288" y="f289"/>
                  </a:cxn>
                  <a:cxn ang="f265">
                    <a:pos x="f290" y="f291"/>
                  </a:cxn>
                  <a:cxn ang="f265">
                    <a:pos x="f288" y="f292"/>
                  </a:cxn>
                  <a:cxn ang="f265">
                    <a:pos x="f293" y="f294"/>
                  </a:cxn>
                  <a:cxn ang="f265">
                    <a:pos x="f295" y="f296"/>
                  </a:cxn>
                  <a:cxn ang="f265">
                    <a:pos x="f297" y="f298"/>
                  </a:cxn>
                  <a:cxn ang="f265">
                    <a:pos x="f299" y="f300"/>
                  </a:cxn>
                  <a:cxn ang="f265">
                    <a:pos x="f301" y="f302"/>
                  </a:cxn>
                  <a:cxn ang="f265">
                    <a:pos x="f303" y="f304"/>
                  </a:cxn>
                  <a:cxn ang="f265">
                    <a:pos x="f305" y="f306"/>
                  </a:cxn>
                  <a:cxn ang="f265">
                    <a:pos x="f307" y="f308"/>
                  </a:cxn>
                  <a:cxn ang="f265">
                    <a:pos x="f309" y="f308"/>
                  </a:cxn>
                  <a:cxn ang="f265">
                    <a:pos x="f310" y="f311"/>
                  </a:cxn>
                  <a:cxn ang="f265">
                    <a:pos x="f312" y="f313"/>
                  </a:cxn>
                  <a:cxn ang="f265">
                    <a:pos x="f314" y="f315"/>
                  </a:cxn>
                  <a:cxn ang="f265">
                    <a:pos x="f316" y="f317"/>
                  </a:cxn>
                  <a:cxn ang="f265">
                    <a:pos x="f318" y="f319"/>
                  </a:cxn>
                  <a:cxn ang="f265">
                    <a:pos x="f320" y="f296"/>
                  </a:cxn>
                  <a:cxn ang="f265">
                    <a:pos x="f321" y="f322"/>
                  </a:cxn>
                  <a:cxn ang="f265">
                    <a:pos x="f323" y="f324"/>
                  </a:cxn>
                  <a:cxn ang="f265">
                    <a:pos x="f325" y="f324"/>
                  </a:cxn>
                  <a:cxn ang="f265">
                    <a:pos x="f326" y="f319"/>
                  </a:cxn>
                  <a:cxn ang="f265">
                    <a:pos x="f327" y="f328"/>
                  </a:cxn>
                  <a:cxn ang="f265">
                    <a:pos x="f329" y="f330"/>
                  </a:cxn>
                  <a:cxn ang="f265">
                    <a:pos x="f331" y="f332"/>
                  </a:cxn>
                  <a:cxn ang="f265">
                    <a:pos x="f333" y="f287"/>
                  </a:cxn>
                  <a:cxn ang="f265">
                    <a:pos x="f334" y="f335"/>
                  </a:cxn>
                  <a:cxn ang="f265">
                    <a:pos x="f336" y="f337"/>
                  </a:cxn>
                  <a:cxn ang="f265">
                    <a:pos x="f338" y="f339"/>
                  </a:cxn>
                  <a:cxn ang="f265">
                    <a:pos x="f340" y="f341"/>
                  </a:cxn>
                  <a:cxn ang="f265">
                    <a:pos x="f342" y="f343"/>
                  </a:cxn>
                  <a:cxn ang="f265">
                    <a:pos x="f344" y="f345"/>
                  </a:cxn>
                  <a:cxn ang="f265">
                    <a:pos x="f346" y="f277"/>
                  </a:cxn>
                  <a:cxn ang="f265">
                    <a:pos x="f347" y="f348"/>
                  </a:cxn>
                  <a:cxn ang="f265">
                    <a:pos x="f349" y="f350"/>
                  </a:cxn>
                </a:cxnLst>
                <a:rect l="f266" t="f269" r="f267" b="f268"/>
                <a:pathLst>
                  <a:path w="276" h="216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4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7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31" y="f49"/>
                    </a:lnTo>
                    <a:lnTo>
                      <a:pt x="f50" y="f51"/>
                    </a:lnTo>
                    <a:lnTo>
                      <a:pt x="f50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39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6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60" y="f71"/>
                    </a:lnTo>
                    <a:lnTo>
                      <a:pt x="f72" y="f73"/>
                    </a:lnTo>
                    <a:lnTo>
                      <a:pt x="f58" y="f74"/>
                    </a:lnTo>
                    <a:lnTo>
                      <a:pt x="f43" y="f75"/>
                    </a:lnTo>
                    <a:lnTo>
                      <a:pt x="f39" y="f76"/>
                    </a:lnTo>
                    <a:lnTo>
                      <a:pt x="f55" y="f77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37" y="f84"/>
                    </a:lnTo>
                    <a:lnTo>
                      <a:pt x="f72" y="f85"/>
                    </a:lnTo>
                    <a:lnTo>
                      <a:pt x="f39" y="f86"/>
                    </a:lnTo>
                    <a:lnTo>
                      <a:pt x="f53" y="f87"/>
                    </a:lnTo>
                    <a:lnTo>
                      <a:pt x="f88" y="f89"/>
                    </a:lnTo>
                    <a:lnTo>
                      <a:pt x="f28" y="f90"/>
                    </a:lnTo>
                    <a:lnTo>
                      <a:pt x="f91" y="f89"/>
                    </a:lnTo>
                    <a:lnTo>
                      <a:pt x="f92" y="f93"/>
                    </a:lnTo>
                    <a:lnTo>
                      <a:pt x="f94" y="f93"/>
                    </a:lnTo>
                    <a:lnTo>
                      <a:pt x="f89" y="f95"/>
                    </a:lnTo>
                    <a:lnTo>
                      <a:pt x="f96" y="f89"/>
                    </a:lnTo>
                    <a:lnTo>
                      <a:pt x="f97" y="f95"/>
                    </a:lnTo>
                    <a:lnTo>
                      <a:pt x="f98" y="f93"/>
                    </a:lnTo>
                    <a:lnTo>
                      <a:pt x="f99" y="f20"/>
                    </a:lnTo>
                    <a:lnTo>
                      <a:pt x="f85" y="f86"/>
                    </a:lnTo>
                    <a:lnTo>
                      <a:pt x="f100" y="f101"/>
                    </a:lnTo>
                    <a:lnTo>
                      <a:pt x="f102" y="f103"/>
                    </a:lnTo>
                    <a:lnTo>
                      <a:pt x="f84" y="f85"/>
                    </a:lnTo>
                    <a:lnTo>
                      <a:pt x="f104" y="f101"/>
                    </a:lnTo>
                    <a:lnTo>
                      <a:pt x="f105" y="f97"/>
                    </a:lnTo>
                    <a:lnTo>
                      <a:pt x="f106" y="f107"/>
                    </a:lnTo>
                    <a:lnTo>
                      <a:pt x="f106" y="f20"/>
                    </a:lnTo>
                    <a:lnTo>
                      <a:pt x="f108" y="f93"/>
                    </a:lnTo>
                    <a:lnTo>
                      <a:pt x="f109" y="f89"/>
                    </a:lnTo>
                    <a:lnTo>
                      <a:pt x="f83" y="f7"/>
                    </a:lnTo>
                    <a:lnTo>
                      <a:pt x="f110" y="f90"/>
                    </a:lnTo>
                    <a:lnTo>
                      <a:pt x="f111" y="f20"/>
                    </a:lnTo>
                    <a:lnTo>
                      <a:pt x="f13" y="f85"/>
                    </a:lnTo>
                    <a:lnTo>
                      <a:pt x="f81" y="f112"/>
                    </a:lnTo>
                    <a:lnTo>
                      <a:pt x="f113" y="f114"/>
                    </a:lnTo>
                    <a:lnTo>
                      <a:pt x="f115" y="f111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20" y="f115"/>
                    </a:lnTo>
                    <a:lnTo>
                      <a:pt x="f121" y="f122"/>
                    </a:lnTo>
                    <a:lnTo>
                      <a:pt x="f123" y="f122"/>
                    </a:lnTo>
                    <a:lnTo>
                      <a:pt x="f124" y="f79"/>
                    </a:lnTo>
                    <a:lnTo>
                      <a:pt x="f125" y="f126"/>
                    </a:lnTo>
                    <a:lnTo>
                      <a:pt x="f127" y="f126"/>
                    </a:lnTo>
                    <a:lnTo>
                      <a:pt x="f128" y="f11"/>
                    </a:lnTo>
                    <a:lnTo>
                      <a:pt x="f128" y="f117"/>
                    </a:lnTo>
                    <a:lnTo>
                      <a:pt x="f129" y="f15"/>
                    </a:lnTo>
                    <a:lnTo>
                      <a:pt x="f129" y="f108"/>
                    </a:lnTo>
                    <a:lnTo>
                      <a:pt x="f130" y="f105"/>
                    </a:lnTo>
                    <a:lnTo>
                      <a:pt x="f131" y="f105"/>
                    </a:lnTo>
                    <a:lnTo>
                      <a:pt x="f56" y="f108"/>
                    </a:lnTo>
                    <a:lnTo>
                      <a:pt x="f132" y="f15"/>
                    </a:lnTo>
                    <a:lnTo>
                      <a:pt x="f132" y="f133"/>
                    </a:lnTo>
                    <a:lnTo>
                      <a:pt x="f134" y="f115"/>
                    </a:lnTo>
                    <a:lnTo>
                      <a:pt x="f135" y="f136"/>
                    </a:lnTo>
                    <a:lnTo>
                      <a:pt x="f54" y="f116"/>
                    </a:lnTo>
                    <a:lnTo>
                      <a:pt x="f52" y="f77"/>
                    </a:lnTo>
                    <a:lnTo>
                      <a:pt x="f137" y="f138"/>
                    </a:lnTo>
                    <a:lnTo>
                      <a:pt x="f139" y="f140"/>
                    </a:lnTo>
                    <a:lnTo>
                      <a:pt x="f141" y="f74"/>
                    </a:lnTo>
                    <a:lnTo>
                      <a:pt x="f142" y="f125"/>
                    </a:lnTo>
                    <a:lnTo>
                      <a:pt x="f143" y="f144"/>
                    </a:lnTo>
                    <a:lnTo>
                      <a:pt x="f145" y="f65"/>
                    </a:lnTo>
                    <a:lnTo>
                      <a:pt x="f145" y="f146"/>
                    </a:lnTo>
                    <a:lnTo>
                      <a:pt x="f147" y="f148"/>
                    </a:lnTo>
                    <a:lnTo>
                      <a:pt x="f147" y="f56"/>
                    </a:lnTo>
                    <a:lnTo>
                      <a:pt x="f149" y="f135"/>
                    </a:lnTo>
                    <a:lnTo>
                      <a:pt x="f150" y="f151"/>
                    </a:lnTo>
                    <a:lnTo>
                      <a:pt x="f152" y="f52"/>
                    </a:lnTo>
                    <a:lnTo>
                      <a:pt x="f150" y="f49"/>
                    </a:lnTo>
                    <a:lnTo>
                      <a:pt x="f152" y="f142"/>
                    </a:lnTo>
                    <a:lnTo>
                      <a:pt x="f38" y="f48"/>
                    </a:lnTo>
                    <a:lnTo>
                      <a:pt x="f30" y="f147"/>
                    </a:lnTo>
                    <a:lnTo>
                      <a:pt x="f153" y="f149"/>
                    </a:lnTo>
                    <a:lnTo>
                      <a:pt x="f154" y="f145"/>
                    </a:lnTo>
                    <a:lnTo>
                      <a:pt x="f155" y="f147"/>
                    </a:lnTo>
                    <a:lnTo>
                      <a:pt x="f14" y="f147"/>
                    </a:lnTo>
                    <a:lnTo>
                      <a:pt x="f156" y="f157"/>
                    </a:lnTo>
                    <a:lnTo>
                      <a:pt x="f5" y="f158"/>
                    </a:lnTo>
                    <a:lnTo>
                      <a:pt x="f5" y="f159"/>
                    </a:lnTo>
                    <a:lnTo>
                      <a:pt x="f10" y="f160"/>
                    </a:lnTo>
                    <a:lnTo>
                      <a:pt x="f32" y="f161"/>
                    </a:lnTo>
                    <a:lnTo>
                      <a:pt x="f162" y="f160"/>
                    </a:lnTo>
                    <a:lnTo>
                      <a:pt x="f163" y="f164"/>
                    </a:lnTo>
                    <a:lnTo>
                      <a:pt x="f165" y="f166"/>
                    </a:lnTo>
                    <a:lnTo>
                      <a:pt x="f167" y="f36"/>
                    </a:lnTo>
                    <a:lnTo>
                      <a:pt x="f168" y="f27"/>
                    </a:lnTo>
                    <a:lnTo>
                      <a:pt x="f134" y="f30"/>
                    </a:lnTo>
                    <a:lnTo>
                      <a:pt x="f59" y="f153"/>
                    </a:lnTo>
                    <a:lnTo>
                      <a:pt x="f169" y="f154"/>
                    </a:lnTo>
                    <a:lnTo>
                      <a:pt x="f128" y="f155"/>
                    </a:lnTo>
                    <a:lnTo>
                      <a:pt x="f74" y="f14"/>
                    </a:lnTo>
                    <a:lnTo>
                      <a:pt x="f170" y="f156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0D2AE8CF-7FFD-4AFB-AF63-719140736D15}"/>
                  </a:ext>
                </a:extLst>
              </p:cNvPr>
              <p:cNvSpPr/>
              <p:nvPr/>
            </p:nvSpPr>
            <p:spPr>
              <a:xfrm rot="21447621">
                <a:off x="4157932" y="1548418"/>
                <a:ext cx="528248" cy="473183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931"/>
                  <a:gd name="f8" fmla="val 880"/>
                  <a:gd name="f9" fmla="val 727"/>
                  <a:gd name="f10" fmla="val 734"/>
                  <a:gd name="f11" fmla="val 3"/>
                  <a:gd name="f12" fmla="val 739"/>
                  <a:gd name="f13" fmla="val 8"/>
                  <a:gd name="f14" fmla="val 741"/>
                  <a:gd name="f15" fmla="val 13"/>
                  <a:gd name="f16" fmla="val 19"/>
                  <a:gd name="f17" fmla="val 742"/>
                  <a:gd name="f18" fmla="val 27"/>
                  <a:gd name="f19" fmla="val 744"/>
                  <a:gd name="f20" fmla="val 35"/>
                  <a:gd name="f21" fmla="val 746"/>
                  <a:gd name="f22" fmla="val 44"/>
                  <a:gd name="f23" fmla="val 749"/>
                  <a:gd name="f24" fmla="val 50"/>
                  <a:gd name="f25" fmla="val 753"/>
                  <a:gd name="f26" fmla="val 52"/>
                  <a:gd name="f27" fmla="val 759"/>
                  <a:gd name="f28" fmla="val 781"/>
                  <a:gd name="f29" fmla="val 793"/>
                  <a:gd name="f30" fmla="val 48"/>
                  <a:gd name="f31" fmla="val 803"/>
                  <a:gd name="f32" fmla="val 45"/>
                  <a:gd name="f33" fmla="val 809"/>
                  <a:gd name="f34" fmla="val 41"/>
                  <a:gd name="f35" fmla="val 813"/>
                  <a:gd name="f36" fmla="val 817"/>
                  <a:gd name="f37" fmla="val 823"/>
                  <a:gd name="f38" fmla="val 830"/>
                  <a:gd name="f39" fmla="val 836"/>
                  <a:gd name="f40" fmla="val 9"/>
                  <a:gd name="f41" fmla="val 842"/>
                  <a:gd name="f42" fmla="val 10"/>
                  <a:gd name="f43" fmla="val 846"/>
                  <a:gd name="f44" fmla="val 14"/>
                  <a:gd name="f45" fmla="val 847"/>
                  <a:gd name="f46" fmla="val 22"/>
                  <a:gd name="f47" fmla="val 31"/>
                  <a:gd name="f48" fmla="val 42"/>
                  <a:gd name="f49" fmla="val 844"/>
                  <a:gd name="f50" fmla="val 841"/>
                  <a:gd name="f51" fmla="val 59"/>
                  <a:gd name="f52" fmla="val 837"/>
                  <a:gd name="f53" fmla="val 65"/>
                  <a:gd name="f54" fmla="val 831"/>
                  <a:gd name="f55" fmla="val 69"/>
                  <a:gd name="f56" fmla="val 825"/>
                  <a:gd name="f57" fmla="val 71"/>
                  <a:gd name="f58" fmla="val 820"/>
                  <a:gd name="f59" fmla="val 72"/>
                  <a:gd name="f60" fmla="val 816"/>
                  <a:gd name="f61" fmla="val 73"/>
                  <a:gd name="f62" fmla="val 815"/>
                  <a:gd name="f63" fmla="val 75"/>
                  <a:gd name="f64" fmla="val 89"/>
                  <a:gd name="f65" fmla="val 98"/>
                  <a:gd name="f66" fmla="val 819"/>
                  <a:gd name="f67" fmla="val 106"/>
                  <a:gd name="f68" fmla="val 824"/>
                  <a:gd name="f69" fmla="val 112"/>
                  <a:gd name="f70" fmla="val 828"/>
                  <a:gd name="f71" fmla="val 117"/>
                  <a:gd name="f72" fmla="val 122"/>
                  <a:gd name="f73" fmla="val 126"/>
                  <a:gd name="f74" fmla="val 827"/>
                  <a:gd name="f75" fmla="val 128"/>
                  <a:gd name="f76" fmla="val 132"/>
                  <a:gd name="f77" fmla="val 814"/>
                  <a:gd name="f78" fmla="val 134"/>
                  <a:gd name="f79" fmla="val 137"/>
                  <a:gd name="f80" fmla="val 145"/>
                  <a:gd name="f81" fmla="val 812"/>
                  <a:gd name="f82" fmla="val 150"/>
                  <a:gd name="f83" fmla="val 155"/>
                  <a:gd name="f84" fmla="val 158"/>
                  <a:gd name="f85" fmla="val 159"/>
                  <a:gd name="f86" fmla="val 826"/>
                  <a:gd name="f87" fmla="val 160"/>
                  <a:gd name="f88" fmla="val 843"/>
                  <a:gd name="f89" fmla="val 161"/>
                  <a:gd name="f90" fmla="val 163"/>
                  <a:gd name="f91" fmla="val 849"/>
                  <a:gd name="f92" fmla="val 167"/>
                  <a:gd name="f93" fmla="val 855"/>
                  <a:gd name="f94" fmla="val 173"/>
                  <a:gd name="f95" fmla="val 860"/>
                  <a:gd name="f96" fmla="val 179"/>
                  <a:gd name="f97" fmla="val 862"/>
                  <a:gd name="f98" fmla="val 185"/>
                  <a:gd name="f99" fmla="val 861"/>
                  <a:gd name="f100" fmla="val 190"/>
                  <a:gd name="f101" fmla="val 195"/>
                  <a:gd name="f102" fmla="val 200"/>
                  <a:gd name="f103" fmla="val 205"/>
                  <a:gd name="f104" fmla="val 211"/>
                  <a:gd name="f105" fmla="val 859"/>
                  <a:gd name="f106" fmla="val 217"/>
                  <a:gd name="f107" fmla="val 858"/>
                  <a:gd name="f108" fmla="val 222"/>
                  <a:gd name="f109" fmla="val 226"/>
                  <a:gd name="f110" fmla="val 867"/>
                  <a:gd name="f111" fmla="val 227"/>
                  <a:gd name="f112" fmla="val 872"/>
                  <a:gd name="f113" fmla="val 877"/>
                  <a:gd name="f114" fmla="val 224"/>
                  <a:gd name="f115" fmla="val 882"/>
                  <a:gd name="f116" fmla="val 225"/>
                  <a:gd name="f117" fmla="val 883"/>
                  <a:gd name="f118" fmla="val 228"/>
                  <a:gd name="f119" fmla="val 233"/>
                  <a:gd name="f120" fmla="val 881"/>
                  <a:gd name="f121" fmla="val 239"/>
                  <a:gd name="f122" fmla="val 879"/>
                  <a:gd name="f123" fmla="val 244"/>
                  <a:gd name="f124" fmla="val 248"/>
                  <a:gd name="f125" fmla="val 250"/>
                  <a:gd name="f126" fmla="val 890"/>
                  <a:gd name="f127" fmla="val 253"/>
                  <a:gd name="f128" fmla="val 896"/>
                  <a:gd name="f129" fmla="val 258"/>
                  <a:gd name="f130" fmla="val 900"/>
                  <a:gd name="f131" fmla="val 264"/>
                  <a:gd name="f132" fmla="val 270"/>
                  <a:gd name="f133" fmla="val 901"/>
                  <a:gd name="f134" fmla="val 272"/>
                  <a:gd name="f135" fmla="val 906"/>
                  <a:gd name="f136" fmla="val 273"/>
                  <a:gd name="f137" fmla="val 926"/>
                  <a:gd name="f138" fmla="val 930"/>
                  <a:gd name="f139" fmla="val 274"/>
                  <a:gd name="f140" fmla="val 275"/>
                  <a:gd name="f141" fmla="val 279"/>
                  <a:gd name="f142" fmla="val 287"/>
                  <a:gd name="f143" fmla="val 929"/>
                  <a:gd name="f144" fmla="val 296"/>
                  <a:gd name="f145" fmla="val 305"/>
                  <a:gd name="f146" fmla="val 927"/>
                  <a:gd name="f147" fmla="val 312"/>
                  <a:gd name="f148" fmla="val 924"/>
                  <a:gd name="f149" fmla="val 317"/>
                  <a:gd name="f150" fmla="val 918"/>
                  <a:gd name="f151" fmla="val 322"/>
                  <a:gd name="f152" fmla="val 914"/>
                  <a:gd name="f153" fmla="val 329"/>
                  <a:gd name="f154" fmla="val 911"/>
                  <a:gd name="f155" fmla="val 337"/>
                  <a:gd name="f156" fmla="val 910"/>
                  <a:gd name="f157" fmla="val 343"/>
                  <a:gd name="f158" fmla="val 363"/>
                  <a:gd name="f159" fmla="val 909"/>
                  <a:gd name="f160" fmla="val 369"/>
                  <a:gd name="f161" fmla="val 905"/>
                  <a:gd name="f162" fmla="val 373"/>
                  <a:gd name="f163" fmla="val 376"/>
                  <a:gd name="f164" fmla="val 380"/>
                  <a:gd name="f165" fmla="val 902"/>
                  <a:gd name="f166" fmla="val 386"/>
                  <a:gd name="f167" fmla="val 903"/>
                  <a:gd name="f168" fmla="val 394"/>
                  <a:gd name="f169" fmla="val 401"/>
                  <a:gd name="f170" fmla="val 894"/>
                  <a:gd name="f171" fmla="val 410"/>
                  <a:gd name="f172" fmla="val 876"/>
                  <a:gd name="f173" fmla="val 426"/>
                  <a:gd name="f174" fmla="val 868"/>
                  <a:gd name="f175" fmla="val 432"/>
                  <a:gd name="f176" fmla="val 863"/>
                  <a:gd name="f177" fmla="val 436"/>
                  <a:gd name="f178" fmla="val 439"/>
                  <a:gd name="f179" fmla="val 851"/>
                  <a:gd name="f180" fmla="val 442"/>
                  <a:gd name="f181" fmla="val 443"/>
                  <a:gd name="f182" fmla="val 838"/>
                  <a:gd name="f183" fmla="val 834"/>
                  <a:gd name="f184" fmla="val 429"/>
                  <a:gd name="f185" fmla="val 422"/>
                  <a:gd name="f186" fmla="val 808"/>
                  <a:gd name="f187" fmla="val 419"/>
                  <a:gd name="f188" fmla="val 801"/>
                  <a:gd name="f189" fmla="val 420"/>
                  <a:gd name="f190" fmla="val 794"/>
                  <a:gd name="f191" fmla="val 789"/>
                  <a:gd name="f192" fmla="val 786"/>
                  <a:gd name="f193" fmla="val 446"/>
                  <a:gd name="f194" fmla="val 453"/>
                  <a:gd name="f195" fmla="val 458"/>
                  <a:gd name="f196" fmla="val 791"/>
                  <a:gd name="f197" fmla="val 463"/>
                  <a:gd name="f198" fmla="val 785"/>
                  <a:gd name="f199" fmla="val 465"/>
                  <a:gd name="f200" fmla="val 775"/>
                  <a:gd name="f201" fmla="val 466"/>
                  <a:gd name="f202" fmla="val 766"/>
                  <a:gd name="f203" fmla="val 467"/>
                  <a:gd name="f204" fmla="val 754"/>
                  <a:gd name="f205" fmla="val 468"/>
                  <a:gd name="f206" fmla="val 471"/>
                  <a:gd name="f207" fmla="val 732"/>
                  <a:gd name="f208" fmla="val 473"/>
                  <a:gd name="f209" fmla="val 726"/>
                  <a:gd name="f210" fmla="val 475"/>
                  <a:gd name="f211" fmla="val 723"/>
                  <a:gd name="f212" fmla="val 478"/>
                  <a:gd name="f213" fmla="val 719"/>
                  <a:gd name="f214" fmla="val 483"/>
                  <a:gd name="f215" fmla="val 713"/>
                  <a:gd name="f216" fmla="val 489"/>
                  <a:gd name="f217" fmla="val 708"/>
                  <a:gd name="f218" fmla="val 496"/>
                  <a:gd name="f219" fmla="val 702"/>
                  <a:gd name="f220" fmla="val 502"/>
                  <a:gd name="f221" fmla="val 699"/>
                  <a:gd name="f222" fmla="val 507"/>
                  <a:gd name="f223" fmla="val 697"/>
                  <a:gd name="f224" fmla="val 510"/>
                  <a:gd name="f225" fmla="val 513"/>
                  <a:gd name="f226" fmla="val 703"/>
                  <a:gd name="f227" fmla="val 523"/>
                  <a:gd name="f228" fmla="val 706"/>
                  <a:gd name="f229" fmla="val 526"/>
                  <a:gd name="f230" fmla="val 527"/>
                  <a:gd name="f231" fmla="val 516"/>
                  <a:gd name="f232" fmla="val 724"/>
                  <a:gd name="f233" fmla="val 728"/>
                  <a:gd name="f234" fmla="val 512"/>
                  <a:gd name="f235" fmla="val 515"/>
                  <a:gd name="f236" fmla="val 735"/>
                  <a:gd name="f237" fmla="val 522"/>
                  <a:gd name="f238" fmla="val 738"/>
                  <a:gd name="f239" fmla="val 530"/>
                  <a:gd name="f240" fmla="val 546"/>
                  <a:gd name="f241" fmla="val 552"/>
                  <a:gd name="f242" fmla="val 556"/>
                  <a:gd name="f243" fmla="val 736"/>
                  <a:gd name="f244" fmla="val 561"/>
                  <a:gd name="f245" fmla="val 731"/>
                  <a:gd name="f246" fmla="val 567"/>
                  <a:gd name="f247" fmla="val 729"/>
                  <a:gd name="f248" fmla="val 576"/>
                  <a:gd name="f249" fmla="val 582"/>
                  <a:gd name="f250" fmla="val 586"/>
                  <a:gd name="f251" fmla="val 721"/>
                  <a:gd name="f252" fmla="val 588"/>
                  <a:gd name="f253" fmla="val 587"/>
                  <a:gd name="f254" fmla="val 705"/>
                  <a:gd name="f255" fmla="val 585"/>
                  <a:gd name="f256" fmla="val 584"/>
                  <a:gd name="f257" fmla="val 691"/>
                  <a:gd name="f258" fmla="val 688"/>
                  <a:gd name="f259" fmla="val 686"/>
                  <a:gd name="f260" fmla="val 594"/>
                  <a:gd name="f261" fmla="val 687"/>
                  <a:gd name="f262" fmla="val 603"/>
                  <a:gd name="f263" fmla="val 611"/>
                  <a:gd name="f264" fmla="val 619"/>
                  <a:gd name="f265" fmla="val 685"/>
                  <a:gd name="f266" fmla="val 626"/>
                  <a:gd name="f267" fmla="val 679"/>
                  <a:gd name="f268" fmla="val 632"/>
                  <a:gd name="f269" fmla="val 674"/>
                  <a:gd name="f270" fmla="val 639"/>
                  <a:gd name="f271" fmla="val 670"/>
                  <a:gd name="f272" fmla="val 646"/>
                  <a:gd name="f273" fmla="val 669"/>
                  <a:gd name="f274" fmla="val 652"/>
                  <a:gd name="f275" fmla="val 667"/>
                  <a:gd name="f276" fmla="val 656"/>
                  <a:gd name="f277" fmla="val 663"/>
                  <a:gd name="f278" fmla="val 657"/>
                  <a:gd name="f279" fmla="val 658"/>
                  <a:gd name="f280" fmla="val 653"/>
                  <a:gd name="f281" fmla="val 660"/>
                  <a:gd name="f282" fmla="val 649"/>
                  <a:gd name="f283" fmla="val 665"/>
                  <a:gd name="f284" fmla="val 645"/>
                  <a:gd name="f285" fmla="val 671"/>
                  <a:gd name="f286" fmla="val 641"/>
                  <a:gd name="f287" fmla="val 678"/>
                  <a:gd name="f288" fmla="val 637"/>
                  <a:gd name="f289" fmla="val 682"/>
                  <a:gd name="f290" fmla="val 633"/>
                  <a:gd name="f291" fmla="val 628"/>
                  <a:gd name="f292" fmla="val 624"/>
                  <a:gd name="f293" fmla="val 616"/>
                  <a:gd name="f294" fmla="val 613"/>
                  <a:gd name="f295" fmla="val 607"/>
                  <a:gd name="f296" fmla="val 600"/>
                  <a:gd name="f297" fmla="val 583"/>
                  <a:gd name="f298" fmla="val 710"/>
                  <a:gd name="f299" fmla="val 581"/>
                  <a:gd name="f300" fmla="val 714"/>
                  <a:gd name="f301" fmla="val 718"/>
                  <a:gd name="f302" fmla="val 730"/>
                  <a:gd name="f303" fmla="val 737"/>
                  <a:gd name="f304" fmla="val 580"/>
                  <a:gd name="f305" fmla="val 747"/>
                  <a:gd name="f306" fmla="val 578"/>
                  <a:gd name="f307" fmla="val 751"/>
                  <a:gd name="f308" fmla="val 574"/>
                  <a:gd name="f309" fmla="val 570"/>
                  <a:gd name="f310" fmla="val 748"/>
                  <a:gd name="f311" fmla="val 564"/>
                  <a:gd name="f312" fmla="val 560"/>
                  <a:gd name="f313" fmla="val 745"/>
                  <a:gd name="f314" fmla="val 549"/>
                  <a:gd name="f315" fmla="val 544"/>
                  <a:gd name="f316" fmla="val 542"/>
                  <a:gd name="f317" fmla="val 722"/>
                  <a:gd name="f318" fmla="val 716"/>
                  <a:gd name="f319" fmla="val 545"/>
                  <a:gd name="f320" fmla="val 548"/>
                  <a:gd name="f321" fmla="val 696"/>
                  <a:gd name="f322" fmla="val 547"/>
                  <a:gd name="f323" fmla="val 694"/>
                  <a:gd name="f324" fmla="val 692"/>
                  <a:gd name="f325" fmla="val 541"/>
                  <a:gd name="f326" fmla="val 533"/>
                  <a:gd name="f327" fmla="val 528"/>
                  <a:gd name="f328" fmla="val 690"/>
                  <a:gd name="f329" fmla="val 524"/>
                  <a:gd name="f330" fmla="val 518"/>
                  <a:gd name="f331" fmla="val 676"/>
                  <a:gd name="f332" fmla="val 511"/>
                  <a:gd name="f333" fmla="val 672"/>
                  <a:gd name="f334" fmla="val 509"/>
                  <a:gd name="f335" fmla="val 654"/>
                  <a:gd name="f336" fmla="val 508"/>
                  <a:gd name="f337" fmla="val 650"/>
                  <a:gd name="f338" fmla="val 503"/>
                  <a:gd name="f339" fmla="val 648"/>
                  <a:gd name="f340" fmla="val 491"/>
                  <a:gd name="f341" fmla="val 488"/>
                  <a:gd name="f342" fmla="val 486"/>
                  <a:gd name="f343" fmla="val 655"/>
                  <a:gd name="f344" fmla="val 487"/>
                  <a:gd name="f345" fmla="val 680"/>
                  <a:gd name="f346" fmla="val 485"/>
                  <a:gd name="f347" fmla="val 684"/>
                  <a:gd name="f348" fmla="val 481"/>
                  <a:gd name="f349" fmla="val 474"/>
                  <a:gd name="f350" fmla="val 689"/>
                  <a:gd name="f351" fmla="val 462"/>
                  <a:gd name="f352" fmla="val 695"/>
                  <a:gd name="f353" fmla="val 698"/>
                  <a:gd name="f354" fmla="val 701"/>
                  <a:gd name="f355" fmla="val 704"/>
                  <a:gd name="f356" fmla="val 709"/>
                  <a:gd name="f357" fmla="val 464"/>
                  <a:gd name="f358" fmla="val 456"/>
                  <a:gd name="f359" fmla="val 444"/>
                  <a:gd name="f360" fmla="val 417"/>
                  <a:gd name="f361" fmla="val 404"/>
                  <a:gd name="f362" fmla="val 387"/>
                  <a:gd name="f363" fmla="val 383"/>
                  <a:gd name="f364" fmla="val 381"/>
                  <a:gd name="f365" fmla="val 750"/>
                  <a:gd name="f366" fmla="val 756"/>
                  <a:gd name="f367" fmla="val 379"/>
                  <a:gd name="f368" fmla="val 761"/>
                  <a:gd name="f369" fmla="val 765"/>
                  <a:gd name="f370" fmla="val 769"/>
                  <a:gd name="f371" fmla="val 770"/>
                  <a:gd name="f372" fmla="val 350"/>
                  <a:gd name="f373" fmla="val 341"/>
                  <a:gd name="f374" fmla="val 767"/>
                  <a:gd name="f375" fmla="val 335"/>
                  <a:gd name="f376" fmla="val 330"/>
                  <a:gd name="f377" fmla="val 326"/>
                  <a:gd name="f378" fmla="val 773"/>
                  <a:gd name="f379" fmla="val 779"/>
                  <a:gd name="f380" fmla="val 315"/>
                  <a:gd name="f381" fmla="val 784"/>
                  <a:gd name="f382" fmla="val 310"/>
                  <a:gd name="f383" fmla="val 304"/>
                  <a:gd name="f384" fmla="val 300"/>
                  <a:gd name="f385" fmla="val 783"/>
                  <a:gd name="f386" fmla="val 782"/>
                  <a:gd name="f387" fmla="val 292"/>
                  <a:gd name="f388" fmla="val 285"/>
                  <a:gd name="f389" fmla="val 795"/>
                  <a:gd name="f390" fmla="val 266"/>
                  <a:gd name="f391" fmla="val 798"/>
                  <a:gd name="f392" fmla="val 259"/>
                  <a:gd name="f393" fmla="val 800"/>
                  <a:gd name="f394" fmla="val 257"/>
                  <a:gd name="f395" fmla="val 804"/>
                  <a:gd name="f396" fmla="val 256"/>
                  <a:gd name="f397" fmla="val 832"/>
                  <a:gd name="f398" fmla="val 249"/>
                  <a:gd name="f399" fmla="val 243"/>
                  <a:gd name="f400" fmla="val 829"/>
                  <a:gd name="f401" fmla="val 237"/>
                  <a:gd name="f402" fmla="val 232"/>
                  <a:gd name="f403" fmla="val 822"/>
                  <a:gd name="f404" fmla="val 221"/>
                  <a:gd name="f405" fmla="val 219"/>
                  <a:gd name="f406" fmla="val 833"/>
                  <a:gd name="f407" fmla="val 870"/>
                  <a:gd name="f408" fmla="val 223"/>
                  <a:gd name="f409" fmla="val 878"/>
                  <a:gd name="f410" fmla="val 875"/>
                  <a:gd name="f411" fmla="val 191"/>
                  <a:gd name="f412" fmla="val 873"/>
                  <a:gd name="f413" fmla="val 188"/>
                  <a:gd name="f414" fmla="val 874"/>
                  <a:gd name="f415" fmla="val 184"/>
                  <a:gd name="f416" fmla="val 183"/>
                  <a:gd name="f417" fmla="val 181"/>
                  <a:gd name="f418" fmla="val 178"/>
                  <a:gd name="f419" fmla="val 176"/>
                  <a:gd name="f420" fmla="val 865"/>
                  <a:gd name="f421" fmla="val 168"/>
                  <a:gd name="f422" fmla="val 864"/>
                  <a:gd name="f423" fmla="val 162"/>
                  <a:gd name="f424" fmla="val 866"/>
                  <a:gd name="f425" fmla="val 156"/>
                  <a:gd name="f426" fmla="val 151"/>
                  <a:gd name="f427" fmla="val 140"/>
                  <a:gd name="f428" fmla="val 136"/>
                  <a:gd name="f429" fmla="val 124"/>
                  <a:gd name="f430" fmla="val 120"/>
                  <a:gd name="f431" fmla="val 118"/>
                  <a:gd name="f432" fmla="val 114"/>
                  <a:gd name="f433" fmla="val 109"/>
                  <a:gd name="f434" fmla="val 107"/>
                  <a:gd name="f435" fmla="val 857"/>
                  <a:gd name="f436" fmla="val 108"/>
                  <a:gd name="f437" fmla="val 853"/>
                  <a:gd name="f438" fmla="val 116"/>
                  <a:gd name="f439" fmla="val 113"/>
                  <a:gd name="f440" fmla="val 111"/>
                  <a:gd name="f441" fmla="val 110"/>
                  <a:gd name="f442" fmla="val 102"/>
                  <a:gd name="f443" fmla="val 810"/>
                  <a:gd name="f444" fmla="val 86"/>
                  <a:gd name="f445" fmla="val 806"/>
                  <a:gd name="f446" fmla="val 79"/>
                  <a:gd name="f447" fmla="val 74"/>
                  <a:gd name="f448" fmla="val 70"/>
                  <a:gd name="f449" fmla="val 788"/>
                  <a:gd name="f450" fmla="val 68"/>
                  <a:gd name="f451" fmla="val 778"/>
                  <a:gd name="f452" fmla="val 81"/>
                  <a:gd name="f453" fmla="val 768"/>
                  <a:gd name="f454" fmla="val 85"/>
                  <a:gd name="f455" fmla="val 763"/>
                  <a:gd name="f456" fmla="val 84"/>
                  <a:gd name="f457" fmla="val 80"/>
                  <a:gd name="f458" fmla="val 67"/>
                  <a:gd name="f459" fmla="val 63"/>
                  <a:gd name="f460" fmla="val 57"/>
                  <a:gd name="f461" fmla="val 720"/>
                  <a:gd name="f462" fmla="val 46"/>
                  <a:gd name="f463" fmla="val 712"/>
                  <a:gd name="f464" fmla="val 43"/>
                  <a:gd name="f465" fmla="val 38"/>
                  <a:gd name="f466" fmla="val 33"/>
                  <a:gd name="f467" fmla="val 717"/>
                  <a:gd name="f468" fmla="val 29"/>
                  <a:gd name="f469" fmla="val 25"/>
                  <a:gd name="f470" fmla="val 26"/>
                  <a:gd name="f471" fmla="val 23"/>
                  <a:gd name="f472" fmla="val 21"/>
                  <a:gd name="f473" fmla="val 20"/>
                  <a:gd name="f474" fmla="val 24"/>
                  <a:gd name="f475" fmla="val 673"/>
                  <a:gd name="f476" fmla="val 32"/>
                  <a:gd name="f477" fmla="val 668"/>
                  <a:gd name="f478" fmla="val 662"/>
                  <a:gd name="f479" fmla="val 37"/>
                  <a:gd name="f480" fmla="val 40"/>
                  <a:gd name="f481" fmla="val 49"/>
                  <a:gd name="f482" fmla="val 642"/>
                  <a:gd name="f483" fmla="val 635"/>
                  <a:gd name="f484" fmla="val 630"/>
                  <a:gd name="f485" fmla="val 36"/>
                  <a:gd name="f486" fmla="val 625"/>
                  <a:gd name="f487" fmla="val 34"/>
                  <a:gd name="f488" fmla="val 612"/>
                  <a:gd name="f489" fmla="val 605"/>
                  <a:gd name="f490" fmla="val 28"/>
                  <a:gd name="f491" fmla="val 604"/>
                  <a:gd name="f492" fmla="val 6"/>
                  <a:gd name="f493" fmla="val 2"/>
                  <a:gd name="f494" fmla="val 602"/>
                  <a:gd name="f495" fmla="val 598"/>
                  <a:gd name="f496" fmla="val 1"/>
                  <a:gd name="f497" fmla="val 590"/>
                  <a:gd name="f498" fmla="val 5"/>
                  <a:gd name="f499" fmla="val 572"/>
                  <a:gd name="f500" fmla="val 571"/>
                  <a:gd name="f501" fmla="val 11"/>
                  <a:gd name="f502" fmla="val 17"/>
                  <a:gd name="f503" fmla="val 579"/>
                  <a:gd name="f504" fmla="val 577"/>
                  <a:gd name="f505" fmla="val 569"/>
                  <a:gd name="f506" fmla="val 563"/>
                  <a:gd name="f507" fmla="val 558"/>
                  <a:gd name="f508" fmla="val 60"/>
                  <a:gd name="f509" fmla="val 538"/>
                  <a:gd name="f510" fmla="val 537"/>
                  <a:gd name="f511" fmla="val 535"/>
                  <a:gd name="f512" fmla="val 534"/>
                  <a:gd name="f513" fmla="val 532"/>
                  <a:gd name="f514" fmla="val 531"/>
                  <a:gd name="f515" fmla="val 64"/>
                  <a:gd name="f516" fmla="val 56"/>
                  <a:gd name="f517" fmla="val 529"/>
                  <a:gd name="f518" fmla="val 54"/>
                  <a:gd name="f519" fmla="val 53"/>
                  <a:gd name="f520" fmla="val 55"/>
                  <a:gd name="f521" fmla="val 505"/>
                  <a:gd name="f522" fmla="val 476"/>
                  <a:gd name="f523" fmla="val 76"/>
                  <a:gd name="f524" fmla="val 469"/>
                  <a:gd name="f525" fmla="val 87"/>
                  <a:gd name="f526" fmla="val 459"/>
                  <a:gd name="f527" fmla="val 91"/>
                  <a:gd name="f528" fmla="val 450"/>
                  <a:gd name="f529" fmla="val 92"/>
                  <a:gd name="f530" fmla="val 96"/>
                  <a:gd name="f531" fmla="val 403"/>
                  <a:gd name="f532" fmla="val 371"/>
                  <a:gd name="f533" fmla="val 359"/>
                  <a:gd name="f534" fmla="val 352"/>
                  <a:gd name="f535" fmla="val 347"/>
                  <a:gd name="f536" fmla="val 334"/>
                  <a:gd name="f537" fmla="val 324"/>
                  <a:gd name="f538" fmla="val 323"/>
                  <a:gd name="f539" fmla="val 58"/>
                  <a:gd name="f540" fmla="val 321"/>
                  <a:gd name="f541" fmla="val 51"/>
                  <a:gd name="f542" fmla="val 283"/>
                  <a:gd name="f543" fmla="val 280"/>
                  <a:gd name="f544" fmla="val 277"/>
                  <a:gd name="f545" fmla="val 262"/>
                  <a:gd name="f546" fmla="val 247"/>
                  <a:gd name="f547" fmla="val 242"/>
                  <a:gd name="f548" fmla="val 77"/>
                  <a:gd name="f549" fmla="val 83"/>
                  <a:gd name="f550" fmla="val 88"/>
                  <a:gd name="f551" fmla="val 238"/>
                  <a:gd name="f552" fmla="val 82"/>
                  <a:gd name="f553" fmla="val 95"/>
                  <a:gd name="f554" fmla="val 115"/>
                  <a:gd name="f555" fmla="val 127"/>
                  <a:gd name="f556" fmla="val 141"/>
                  <a:gd name="f557" fmla="val 260"/>
                  <a:gd name="f558" fmla="val 147"/>
                  <a:gd name="f559" fmla="val 263"/>
                  <a:gd name="f560" fmla="val 152"/>
                  <a:gd name="f561" fmla="val 254"/>
                  <a:gd name="f562" fmla="val 153"/>
                  <a:gd name="f563" fmla="val 245"/>
                  <a:gd name="f564" fmla="val 246"/>
                  <a:gd name="f565" fmla="val 251"/>
                  <a:gd name="f566" fmla="val 187"/>
                  <a:gd name="f567" fmla="val 240"/>
                  <a:gd name="f568" fmla="val 229"/>
                  <a:gd name="f569" fmla="val 235"/>
                  <a:gd name="f570" fmla="val 234"/>
                  <a:gd name="f571" fmla="val 220"/>
                  <a:gd name="f572" fmla="val 215"/>
                  <a:gd name="f573" fmla="val 208"/>
                  <a:gd name="f574" fmla="val 261"/>
                  <a:gd name="f575" fmla="val 202"/>
                  <a:gd name="f576" fmla="val 198"/>
                  <a:gd name="f577" fmla="val 194"/>
                  <a:gd name="f578" fmla="val 182"/>
                  <a:gd name="f579" fmla="val 231"/>
                  <a:gd name="f580" fmla="val 175"/>
                  <a:gd name="f581" fmla="val 236"/>
                  <a:gd name="f582" fmla="val 169"/>
                  <a:gd name="f583" fmla="val 166"/>
                  <a:gd name="f584" fmla="val 164"/>
                  <a:gd name="f585" fmla="val 154"/>
                  <a:gd name="f586" fmla="val 252"/>
                  <a:gd name="f587" fmla="val 265"/>
                  <a:gd name="f588" fmla="val 276"/>
                  <a:gd name="f589" fmla="val 143"/>
                  <a:gd name="f590" fmla="val 286"/>
                  <a:gd name="f591" fmla="val 131"/>
                  <a:gd name="f592" fmla="val 294"/>
                  <a:gd name="f593" fmla="val 299"/>
                  <a:gd name="f594" fmla="val 308"/>
                  <a:gd name="f595" fmla="val 105"/>
                  <a:gd name="f596" fmla="val 319"/>
                  <a:gd name="f597" fmla="val 104"/>
                  <a:gd name="f598" fmla="val 101"/>
                  <a:gd name="f599" fmla="val 328"/>
                  <a:gd name="f600" fmla="val 100"/>
                  <a:gd name="f601" fmla="val 333"/>
                  <a:gd name="f602" fmla="val 97"/>
                  <a:gd name="f603" fmla="val 340"/>
                  <a:gd name="f604" fmla="val 93"/>
                  <a:gd name="f605" fmla="val 348"/>
                  <a:gd name="f606" fmla="val 357"/>
                  <a:gd name="f607" fmla="val 375"/>
                  <a:gd name="f608" fmla="val 382"/>
                  <a:gd name="f609" fmla="val 388"/>
                  <a:gd name="f610" fmla="val 395"/>
                  <a:gd name="f611" fmla="val 405"/>
                  <a:gd name="f612" fmla="val 78"/>
                  <a:gd name="f613" fmla="val 62"/>
                  <a:gd name="f614" fmla="val 440"/>
                  <a:gd name="f615" fmla="val 448"/>
                  <a:gd name="f616" fmla="val 457"/>
                  <a:gd name="f617" fmla="val 47"/>
                  <a:gd name="f618" fmla="val 30"/>
                  <a:gd name="f619" fmla="val 460"/>
                  <a:gd name="f620" fmla="val 470"/>
                  <a:gd name="f621" fmla="val 480"/>
                  <a:gd name="f622" fmla="val 12"/>
                  <a:gd name="f623" fmla="val 16"/>
                  <a:gd name="f624" fmla="val 490"/>
                  <a:gd name="f625" fmla="val 493"/>
                  <a:gd name="f626" fmla="val 501"/>
                  <a:gd name="f627" fmla="val 521"/>
                  <a:gd name="f628" fmla="val 550"/>
                  <a:gd name="f629" fmla="val 543"/>
                  <a:gd name="f630" fmla="val 540"/>
                  <a:gd name="f631" fmla="val 119"/>
                  <a:gd name="f632" fmla="val 125"/>
                  <a:gd name="f633" fmla="val 130"/>
                  <a:gd name="f634" fmla="val 559"/>
                  <a:gd name="f635" fmla="val 135"/>
                  <a:gd name="f636" fmla="val 565"/>
                  <a:gd name="f637" fmla="val 551"/>
                  <a:gd name="f638" fmla="val 539"/>
                  <a:gd name="f639" fmla="val 536"/>
                  <a:gd name="f640" fmla="val 554"/>
                  <a:gd name="f641" fmla="val 595"/>
                  <a:gd name="f642" fmla="val 177"/>
                  <a:gd name="f643" fmla="val 606"/>
                  <a:gd name="f644" fmla="val 614"/>
                  <a:gd name="f645" fmla="val 171"/>
                  <a:gd name="f646" fmla="val 617"/>
                  <a:gd name="f647" fmla="val 621"/>
                  <a:gd name="f648" fmla="val 623"/>
                  <a:gd name="f649" fmla="val 629"/>
                  <a:gd name="f650" fmla="val 647"/>
                  <a:gd name="f651" fmla="val 165"/>
                  <a:gd name="f652" fmla="val 148"/>
                  <a:gd name="f653" fmla="val 138"/>
                  <a:gd name="f654" fmla="val 133"/>
                  <a:gd name="f655" fmla="val 681"/>
                  <a:gd name="f656" fmla="val 123"/>
                  <a:gd name="f657" fmla="val 677"/>
                  <a:gd name="f658" fmla="val 66"/>
                  <a:gd name="f659" fmla="val 661"/>
                  <a:gd name="f660" fmla="val 666"/>
                  <a:gd name="f661" fmla="val 683"/>
                  <a:gd name="f662" fmla="val 7"/>
                  <a:gd name="f663" fmla="val 4"/>
                  <a:gd name="f664" fmla="+- 0 0 -90"/>
                  <a:gd name="f665" fmla="*/ f4 1 931"/>
                  <a:gd name="f666" fmla="*/ f5 1 880"/>
                  <a:gd name="f667" fmla="+- f8 0 f6"/>
                  <a:gd name="f668" fmla="+- f7 0 f6"/>
                  <a:gd name="f669" fmla="*/ f664 f0 1"/>
                  <a:gd name="f670" fmla="*/ f668 1 931"/>
                  <a:gd name="f671" fmla="*/ f667 1 880"/>
                  <a:gd name="f672" fmla="*/ f669 1 f3"/>
                  <a:gd name="f673" fmla="*/ 759 1 f670"/>
                  <a:gd name="f674" fmla="*/ 52 1 f671"/>
                  <a:gd name="f675" fmla="*/ 846 1 f670"/>
                  <a:gd name="f676" fmla="*/ 14 1 f671"/>
                  <a:gd name="f677" fmla="*/ 815 1 f670"/>
                  <a:gd name="f678" fmla="*/ 75 1 f671"/>
                  <a:gd name="f679" fmla="*/ 813 1 f670"/>
                  <a:gd name="f680" fmla="*/ 137 1 f671"/>
                  <a:gd name="f681" fmla="*/ 855 1 f670"/>
                  <a:gd name="f682" fmla="*/ 173 1 f671"/>
                  <a:gd name="f683" fmla="*/ 867 1 f670"/>
                  <a:gd name="f684" fmla="*/ 227 1 f671"/>
                  <a:gd name="f685" fmla="*/ 896 1 f670"/>
                  <a:gd name="f686" fmla="*/ 258 1 f671"/>
                  <a:gd name="f687" fmla="*/ 929 1 f670"/>
                  <a:gd name="f688" fmla="*/ 305 1 f671"/>
                  <a:gd name="f689" fmla="*/ 901 1 f670"/>
                  <a:gd name="f690" fmla="*/ 380 1 f671"/>
                  <a:gd name="f691" fmla="*/ 838 1 f670"/>
                  <a:gd name="f692" fmla="*/ 443 1 f671"/>
                  <a:gd name="f693" fmla="*/ 793 1 f670"/>
                  <a:gd name="f694" fmla="*/ 453 1 f671"/>
                  <a:gd name="f695" fmla="*/ 719 1 f670"/>
                  <a:gd name="f696" fmla="*/ 483 1 f671"/>
                  <a:gd name="f697" fmla="*/ 724 1 f670"/>
                  <a:gd name="f698" fmla="*/ 513 1 f671"/>
                  <a:gd name="f699" fmla="*/ 728 1 f670"/>
                  <a:gd name="f700" fmla="*/ 582 1 f671"/>
                  <a:gd name="f701" fmla="*/ 688 1 f670"/>
                  <a:gd name="f702" fmla="*/ 619 1 f671"/>
                  <a:gd name="f703" fmla="*/ 645 1 f670"/>
                  <a:gd name="f704" fmla="*/ 671 1 f671"/>
                  <a:gd name="f705" fmla="*/ 588 1 f670"/>
                  <a:gd name="f706" fmla="*/ 703 1 f671"/>
                  <a:gd name="f707" fmla="*/ 570 1 f670"/>
                  <a:gd name="f708" fmla="*/ 748 1 f671"/>
                  <a:gd name="f709" fmla="*/ 548 1 f670"/>
                  <a:gd name="f710" fmla="*/ 696 1 f671"/>
                  <a:gd name="f711" fmla="*/ 511 1 f670"/>
                  <a:gd name="f712" fmla="*/ 658 1 f671"/>
                  <a:gd name="f713" fmla="*/ 481 1 f670"/>
                  <a:gd name="f714" fmla="*/ 686 1 f671"/>
                  <a:gd name="f715" fmla="*/ 417 1 f670"/>
                  <a:gd name="f716" fmla="*/ 734 1 f671"/>
                  <a:gd name="f717" fmla="*/ 350 1 f670"/>
                  <a:gd name="f718" fmla="*/ 769 1 f671"/>
                  <a:gd name="f719" fmla="*/ 292 1 f670"/>
                  <a:gd name="f720" fmla="*/ 785 1 f671"/>
                  <a:gd name="f721" fmla="*/ 237 1 f670"/>
                  <a:gd name="f722" fmla="*/ 826 1 f671"/>
                  <a:gd name="f723" fmla="*/ 224 1 f670"/>
                  <a:gd name="f724" fmla="*/ 877 1 f671"/>
                  <a:gd name="f725" fmla="*/ 183 1 f670"/>
                  <a:gd name="f726" fmla="*/ 875 1 f671"/>
                  <a:gd name="f727" fmla="*/ 140 1 f670"/>
                  <a:gd name="f728" fmla="*/ 878 1 f671"/>
                  <a:gd name="f729" fmla="*/ 108 1 f670"/>
                  <a:gd name="f730" fmla="*/ 853 1 f671"/>
                  <a:gd name="f731" fmla="*/ 74 1 f670"/>
                  <a:gd name="f732" fmla="*/ 804 1 f671"/>
                  <a:gd name="f733" fmla="*/ 75 1 f670"/>
                  <a:gd name="f734" fmla="*/ 753 1 f671"/>
                  <a:gd name="f735" fmla="*/ 29 1 f670"/>
                  <a:gd name="f736" fmla="*/ 717 1 f671"/>
                  <a:gd name="f737" fmla="*/ 27 1 f670"/>
                  <a:gd name="f738" fmla="*/ 672 1 f671"/>
                  <a:gd name="f739" fmla="*/ 45 1 f670"/>
                  <a:gd name="f740" fmla="*/ 635 1 f671"/>
                  <a:gd name="f741" fmla="*/ 1 1 f670"/>
                  <a:gd name="f742" fmla="*/ 590 1 f671"/>
                  <a:gd name="f743" fmla="*/ 22 1 f670"/>
                  <a:gd name="f744" fmla="*/ 578 1 f671"/>
                  <a:gd name="f745" fmla="*/ 535 1 f671"/>
                  <a:gd name="f746" fmla="*/ 59 1 f670"/>
                  <a:gd name="f747" fmla="*/ 496 1 f671"/>
                  <a:gd name="f748" fmla="*/ 91 1 f670"/>
                  <a:gd name="f749" fmla="*/ 383 1 f671"/>
                  <a:gd name="f750" fmla="*/ 67 1 f670"/>
                  <a:gd name="f751" fmla="*/ 324 1 f671"/>
                  <a:gd name="f752" fmla="*/ 42 1 f670"/>
                  <a:gd name="f753" fmla="*/ 280 1 f671"/>
                  <a:gd name="f754" fmla="*/ 83 1 f670"/>
                  <a:gd name="f755" fmla="*/ 247 1 f671"/>
                  <a:gd name="f756" fmla="*/ 115 1 f670"/>
                  <a:gd name="f757" fmla="*/ 242 1 f671"/>
                  <a:gd name="f758" fmla="*/ 162 1 f670"/>
                  <a:gd name="f759" fmla="*/ 246 1 f671"/>
                  <a:gd name="f760" fmla="*/ 238 1 f670"/>
                  <a:gd name="f761" fmla="*/ 235 1 f671"/>
                  <a:gd name="f762" fmla="*/ 232 1 f670"/>
                  <a:gd name="f763" fmla="*/ 181 1 f671"/>
                  <a:gd name="f764" fmla="*/ 250 1 f670"/>
                  <a:gd name="f765" fmla="*/ 153 1 f671"/>
                  <a:gd name="f766" fmla="*/ 312 1 f670"/>
                  <a:gd name="f767" fmla="*/ 105 1 f671"/>
                  <a:gd name="f768" fmla="*/ 382 1 f670"/>
                  <a:gd name="f769" fmla="*/ 93 1 f671"/>
                  <a:gd name="f770" fmla="*/ 463 1 f670"/>
                  <a:gd name="f771" fmla="*/ 30 1 f671"/>
                  <a:gd name="f772" fmla="*/ 501 1 f670"/>
                  <a:gd name="f773" fmla="*/ 48 1 f671"/>
                  <a:gd name="f774" fmla="*/ 546 1 f670"/>
                  <a:gd name="f775" fmla="*/ 565 1 f670"/>
                  <a:gd name="f776" fmla="*/ 140 1 f671"/>
                  <a:gd name="f777" fmla="*/ 536 1 f670"/>
                  <a:gd name="f778" fmla="*/ 606 1 f670"/>
                  <a:gd name="f779" fmla="*/ 175 1 f671"/>
                  <a:gd name="f780" fmla="*/ 665 1 f670"/>
                  <a:gd name="f781" fmla="*/ 161 1 f671"/>
                  <a:gd name="f782" fmla="*/ 681 1 f670"/>
                  <a:gd name="f783" fmla="*/ 648 1 f670"/>
                  <a:gd name="f784" fmla="*/ 24 1 f671"/>
                  <a:gd name="f785" fmla="*/ 680 1 f670"/>
                  <a:gd name="f786" fmla="*/ 10 1 f671"/>
                  <a:gd name="f787" fmla="*/ 0 1 f670"/>
                  <a:gd name="f788" fmla="*/ f7 1 f670"/>
                  <a:gd name="f789" fmla="*/ 0 1 f671"/>
                  <a:gd name="f790" fmla="*/ f8 1 f671"/>
                  <a:gd name="f791" fmla="+- f672 0 f1"/>
                  <a:gd name="f792" fmla="*/ f787 f665 1"/>
                  <a:gd name="f793" fmla="*/ f788 f665 1"/>
                  <a:gd name="f794" fmla="*/ f790 f666 1"/>
                  <a:gd name="f795" fmla="*/ f789 f666 1"/>
                  <a:gd name="f796" fmla="*/ f673 f665 1"/>
                  <a:gd name="f797" fmla="*/ f674 f666 1"/>
                  <a:gd name="f798" fmla="*/ f675 f665 1"/>
                  <a:gd name="f799" fmla="*/ f676 f666 1"/>
                  <a:gd name="f800" fmla="*/ f677 f665 1"/>
                  <a:gd name="f801" fmla="*/ f678 f666 1"/>
                  <a:gd name="f802" fmla="*/ f679 f665 1"/>
                  <a:gd name="f803" fmla="*/ f680 f666 1"/>
                  <a:gd name="f804" fmla="*/ f681 f665 1"/>
                  <a:gd name="f805" fmla="*/ f682 f666 1"/>
                  <a:gd name="f806" fmla="*/ f683 f665 1"/>
                  <a:gd name="f807" fmla="*/ f684 f666 1"/>
                  <a:gd name="f808" fmla="*/ f685 f665 1"/>
                  <a:gd name="f809" fmla="*/ f686 f666 1"/>
                  <a:gd name="f810" fmla="*/ f687 f665 1"/>
                  <a:gd name="f811" fmla="*/ f688 f666 1"/>
                  <a:gd name="f812" fmla="*/ f689 f665 1"/>
                  <a:gd name="f813" fmla="*/ f690 f666 1"/>
                  <a:gd name="f814" fmla="*/ f691 f665 1"/>
                  <a:gd name="f815" fmla="*/ f692 f666 1"/>
                  <a:gd name="f816" fmla="*/ f693 f665 1"/>
                  <a:gd name="f817" fmla="*/ f694 f666 1"/>
                  <a:gd name="f818" fmla="*/ f695 f665 1"/>
                  <a:gd name="f819" fmla="*/ f696 f666 1"/>
                  <a:gd name="f820" fmla="*/ f697 f665 1"/>
                  <a:gd name="f821" fmla="*/ f698 f666 1"/>
                  <a:gd name="f822" fmla="*/ f699 f665 1"/>
                  <a:gd name="f823" fmla="*/ f700 f666 1"/>
                  <a:gd name="f824" fmla="*/ f701 f665 1"/>
                  <a:gd name="f825" fmla="*/ f702 f666 1"/>
                  <a:gd name="f826" fmla="*/ f703 f665 1"/>
                  <a:gd name="f827" fmla="*/ f704 f666 1"/>
                  <a:gd name="f828" fmla="*/ f705 f665 1"/>
                  <a:gd name="f829" fmla="*/ f706 f666 1"/>
                  <a:gd name="f830" fmla="*/ f707 f665 1"/>
                  <a:gd name="f831" fmla="*/ f708 f666 1"/>
                  <a:gd name="f832" fmla="*/ f709 f665 1"/>
                  <a:gd name="f833" fmla="*/ f710 f666 1"/>
                  <a:gd name="f834" fmla="*/ f711 f665 1"/>
                  <a:gd name="f835" fmla="*/ f712 f666 1"/>
                  <a:gd name="f836" fmla="*/ f713 f665 1"/>
                  <a:gd name="f837" fmla="*/ f714 f666 1"/>
                  <a:gd name="f838" fmla="*/ f715 f665 1"/>
                  <a:gd name="f839" fmla="*/ f716 f666 1"/>
                  <a:gd name="f840" fmla="*/ f717 f665 1"/>
                  <a:gd name="f841" fmla="*/ f718 f666 1"/>
                  <a:gd name="f842" fmla="*/ f719 f665 1"/>
                  <a:gd name="f843" fmla="*/ f720 f666 1"/>
                  <a:gd name="f844" fmla="*/ f721 f665 1"/>
                  <a:gd name="f845" fmla="*/ f722 f666 1"/>
                  <a:gd name="f846" fmla="*/ f723 f665 1"/>
                  <a:gd name="f847" fmla="*/ f724 f666 1"/>
                  <a:gd name="f848" fmla="*/ f725 f665 1"/>
                  <a:gd name="f849" fmla="*/ f726 f666 1"/>
                  <a:gd name="f850" fmla="*/ f727 f665 1"/>
                  <a:gd name="f851" fmla="*/ f728 f666 1"/>
                  <a:gd name="f852" fmla="*/ f729 f665 1"/>
                  <a:gd name="f853" fmla="*/ f730 f666 1"/>
                  <a:gd name="f854" fmla="*/ f731 f665 1"/>
                  <a:gd name="f855" fmla="*/ f732 f666 1"/>
                  <a:gd name="f856" fmla="*/ f733 f665 1"/>
                  <a:gd name="f857" fmla="*/ f734 f666 1"/>
                  <a:gd name="f858" fmla="*/ f735 f665 1"/>
                  <a:gd name="f859" fmla="*/ f736 f666 1"/>
                  <a:gd name="f860" fmla="*/ f737 f665 1"/>
                  <a:gd name="f861" fmla="*/ f738 f666 1"/>
                  <a:gd name="f862" fmla="*/ f739 f665 1"/>
                  <a:gd name="f863" fmla="*/ f740 f666 1"/>
                  <a:gd name="f864" fmla="*/ f741 f665 1"/>
                  <a:gd name="f865" fmla="*/ f742 f666 1"/>
                  <a:gd name="f866" fmla="*/ f743 f665 1"/>
                  <a:gd name="f867" fmla="*/ f744 f666 1"/>
                  <a:gd name="f868" fmla="*/ f745 f666 1"/>
                  <a:gd name="f869" fmla="*/ f746 f665 1"/>
                  <a:gd name="f870" fmla="*/ f747 f666 1"/>
                  <a:gd name="f871" fmla="*/ f748 f665 1"/>
                  <a:gd name="f872" fmla="*/ f749 f666 1"/>
                  <a:gd name="f873" fmla="*/ f750 f665 1"/>
                  <a:gd name="f874" fmla="*/ f751 f666 1"/>
                  <a:gd name="f875" fmla="*/ f752 f665 1"/>
                  <a:gd name="f876" fmla="*/ f753 f666 1"/>
                  <a:gd name="f877" fmla="*/ f754 f665 1"/>
                  <a:gd name="f878" fmla="*/ f755 f666 1"/>
                  <a:gd name="f879" fmla="*/ f756 f665 1"/>
                  <a:gd name="f880" fmla="*/ f757 f666 1"/>
                  <a:gd name="f881" fmla="*/ f758 f665 1"/>
                  <a:gd name="f882" fmla="*/ f759 f666 1"/>
                  <a:gd name="f883" fmla="*/ f760 f665 1"/>
                  <a:gd name="f884" fmla="*/ f761 f666 1"/>
                  <a:gd name="f885" fmla="*/ f762 f665 1"/>
                  <a:gd name="f886" fmla="*/ f763 f666 1"/>
                  <a:gd name="f887" fmla="*/ f764 f665 1"/>
                  <a:gd name="f888" fmla="*/ f765 f666 1"/>
                  <a:gd name="f889" fmla="*/ f766 f665 1"/>
                  <a:gd name="f890" fmla="*/ f767 f666 1"/>
                  <a:gd name="f891" fmla="*/ f768 f665 1"/>
                  <a:gd name="f892" fmla="*/ f769 f666 1"/>
                  <a:gd name="f893" fmla="*/ f770 f665 1"/>
                  <a:gd name="f894" fmla="*/ f771 f666 1"/>
                  <a:gd name="f895" fmla="*/ f772 f665 1"/>
                  <a:gd name="f896" fmla="*/ f773 f666 1"/>
                  <a:gd name="f897" fmla="*/ f774 f665 1"/>
                  <a:gd name="f898" fmla="*/ f775 f665 1"/>
                  <a:gd name="f899" fmla="*/ f776 f666 1"/>
                  <a:gd name="f900" fmla="*/ f777 f665 1"/>
                  <a:gd name="f901" fmla="*/ f778 f665 1"/>
                  <a:gd name="f902" fmla="*/ f779 f666 1"/>
                  <a:gd name="f903" fmla="*/ f780 f665 1"/>
                  <a:gd name="f904" fmla="*/ f781 f666 1"/>
                  <a:gd name="f905" fmla="*/ f782 f665 1"/>
                  <a:gd name="f906" fmla="*/ f783 f665 1"/>
                  <a:gd name="f907" fmla="*/ f784 f666 1"/>
                  <a:gd name="f908" fmla="*/ f785 f665 1"/>
                  <a:gd name="f909" fmla="*/ f786 f66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791">
                    <a:pos x="f796" y="f797"/>
                  </a:cxn>
                  <a:cxn ang="f791">
                    <a:pos x="f798" y="f799"/>
                  </a:cxn>
                  <a:cxn ang="f791">
                    <a:pos x="f800" y="f801"/>
                  </a:cxn>
                  <a:cxn ang="f791">
                    <a:pos x="f802" y="f803"/>
                  </a:cxn>
                  <a:cxn ang="f791">
                    <a:pos x="f804" y="f805"/>
                  </a:cxn>
                  <a:cxn ang="f791">
                    <a:pos x="f806" y="f807"/>
                  </a:cxn>
                  <a:cxn ang="f791">
                    <a:pos x="f808" y="f809"/>
                  </a:cxn>
                  <a:cxn ang="f791">
                    <a:pos x="f810" y="f811"/>
                  </a:cxn>
                  <a:cxn ang="f791">
                    <a:pos x="f812" y="f813"/>
                  </a:cxn>
                  <a:cxn ang="f791">
                    <a:pos x="f814" y="f815"/>
                  </a:cxn>
                  <a:cxn ang="f791">
                    <a:pos x="f816" y="f817"/>
                  </a:cxn>
                  <a:cxn ang="f791">
                    <a:pos x="f818" y="f819"/>
                  </a:cxn>
                  <a:cxn ang="f791">
                    <a:pos x="f820" y="f821"/>
                  </a:cxn>
                  <a:cxn ang="f791">
                    <a:pos x="f822" y="f823"/>
                  </a:cxn>
                  <a:cxn ang="f791">
                    <a:pos x="f824" y="f825"/>
                  </a:cxn>
                  <a:cxn ang="f791">
                    <a:pos x="f826" y="f827"/>
                  </a:cxn>
                  <a:cxn ang="f791">
                    <a:pos x="f828" y="f829"/>
                  </a:cxn>
                  <a:cxn ang="f791">
                    <a:pos x="f830" y="f831"/>
                  </a:cxn>
                  <a:cxn ang="f791">
                    <a:pos x="f832" y="f833"/>
                  </a:cxn>
                  <a:cxn ang="f791">
                    <a:pos x="f834" y="f835"/>
                  </a:cxn>
                  <a:cxn ang="f791">
                    <a:pos x="f836" y="f837"/>
                  </a:cxn>
                  <a:cxn ang="f791">
                    <a:pos x="f838" y="f839"/>
                  </a:cxn>
                  <a:cxn ang="f791">
                    <a:pos x="f840" y="f841"/>
                  </a:cxn>
                  <a:cxn ang="f791">
                    <a:pos x="f842" y="f843"/>
                  </a:cxn>
                  <a:cxn ang="f791">
                    <a:pos x="f844" y="f845"/>
                  </a:cxn>
                  <a:cxn ang="f791">
                    <a:pos x="f846" y="f847"/>
                  </a:cxn>
                  <a:cxn ang="f791">
                    <a:pos x="f848" y="f849"/>
                  </a:cxn>
                  <a:cxn ang="f791">
                    <a:pos x="f850" y="f851"/>
                  </a:cxn>
                  <a:cxn ang="f791">
                    <a:pos x="f852" y="f853"/>
                  </a:cxn>
                  <a:cxn ang="f791">
                    <a:pos x="f854" y="f855"/>
                  </a:cxn>
                  <a:cxn ang="f791">
                    <a:pos x="f856" y="f857"/>
                  </a:cxn>
                  <a:cxn ang="f791">
                    <a:pos x="f858" y="f859"/>
                  </a:cxn>
                  <a:cxn ang="f791">
                    <a:pos x="f860" y="f861"/>
                  </a:cxn>
                  <a:cxn ang="f791">
                    <a:pos x="f862" y="f863"/>
                  </a:cxn>
                  <a:cxn ang="f791">
                    <a:pos x="f864" y="f865"/>
                  </a:cxn>
                  <a:cxn ang="f791">
                    <a:pos x="f866" y="f867"/>
                  </a:cxn>
                  <a:cxn ang="f791">
                    <a:pos x="f856" y="f868"/>
                  </a:cxn>
                  <a:cxn ang="f791">
                    <a:pos x="f869" y="f870"/>
                  </a:cxn>
                  <a:cxn ang="f791">
                    <a:pos x="f871" y="f872"/>
                  </a:cxn>
                  <a:cxn ang="f791">
                    <a:pos x="f873" y="f874"/>
                  </a:cxn>
                  <a:cxn ang="f791">
                    <a:pos x="f875" y="f876"/>
                  </a:cxn>
                  <a:cxn ang="f791">
                    <a:pos x="f877" y="f878"/>
                  </a:cxn>
                  <a:cxn ang="f791">
                    <a:pos x="f879" y="f880"/>
                  </a:cxn>
                  <a:cxn ang="f791">
                    <a:pos x="f881" y="f882"/>
                  </a:cxn>
                  <a:cxn ang="f791">
                    <a:pos x="f883" y="f884"/>
                  </a:cxn>
                  <a:cxn ang="f791">
                    <a:pos x="f885" y="f886"/>
                  </a:cxn>
                  <a:cxn ang="f791">
                    <a:pos x="f887" y="f888"/>
                  </a:cxn>
                  <a:cxn ang="f791">
                    <a:pos x="f889" y="f890"/>
                  </a:cxn>
                  <a:cxn ang="f791">
                    <a:pos x="f891" y="f892"/>
                  </a:cxn>
                  <a:cxn ang="f791">
                    <a:pos x="f893" y="f894"/>
                  </a:cxn>
                  <a:cxn ang="f791">
                    <a:pos x="f895" y="f896"/>
                  </a:cxn>
                  <a:cxn ang="f791">
                    <a:pos x="f897" y="f890"/>
                  </a:cxn>
                  <a:cxn ang="f791">
                    <a:pos x="f898" y="f899"/>
                  </a:cxn>
                  <a:cxn ang="f791">
                    <a:pos x="f900" y="f805"/>
                  </a:cxn>
                  <a:cxn ang="f791">
                    <a:pos x="f901" y="f902"/>
                  </a:cxn>
                  <a:cxn ang="f791">
                    <a:pos x="f903" y="f904"/>
                  </a:cxn>
                  <a:cxn ang="f791">
                    <a:pos x="f905" y="f801"/>
                  </a:cxn>
                  <a:cxn ang="f791">
                    <a:pos x="f906" y="f907"/>
                  </a:cxn>
                  <a:cxn ang="f791">
                    <a:pos x="f908" y="f909"/>
                  </a:cxn>
                </a:cxnLst>
                <a:rect l="f792" t="f795" r="f793" b="f794"/>
                <a:pathLst>
                  <a:path w="931" h="880">
                    <a:moveTo>
                      <a:pt x="f9" y="f6"/>
                    </a:move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4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6"/>
                    </a:lnTo>
                    <a:lnTo>
                      <a:pt x="f28" y="f24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20"/>
                    </a:lnTo>
                    <a:lnTo>
                      <a:pt x="f36" y="f18"/>
                    </a:lnTo>
                    <a:lnTo>
                      <a:pt x="f37" y="f16"/>
                    </a:lnTo>
                    <a:lnTo>
                      <a:pt x="f38" y="f15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5" y="f47"/>
                    </a:lnTo>
                    <a:lnTo>
                      <a:pt x="f43" y="f48"/>
                    </a:lnTo>
                    <a:lnTo>
                      <a:pt x="f49" y="f26"/>
                    </a:lnTo>
                    <a:lnTo>
                      <a:pt x="f50" y="f51"/>
                    </a:lnTo>
                    <a:lnTo>
                      <a:pt x="f52" y="f53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2" y="f64"/>
                    </a:lnTo>
                    <a:lnTo>
                      <a:pt x="f60" y="f65"/>
                    </a:lnTo>
                    <a:lnTo>
                      <a:pt x="f66" y="f67"/>
                    </a:lnTo>
                    <a:lnTo>
                      <a:pt x="f68" y="f69"/>
                    </a:lnTo>
                    <a:lnTo>
                      <a:pt x="f70" y="f71"/>
                    </a:lnTo>
                    <a:lnTo>
                      <a:pt x="f38" y="f72"/>
                    </a:lnTo>
                    <a:lnTo>
                      <a:pt x="f38" y="f73"/>
                    </a:lnTo>
                    <a:lnTo>
                      <a:pt x="f74" y="f75"/>
                    </a:lnTo>
                    <a:lnTo>
                      <a:pt x="f36" y="f76"/>
                    </a:lnTo>
                    <a:lnTo>
                      <a:pt x="f77" y="f78"/>
                    </a:lnTo>
                    <a:lnTo>
                      <a:pt x="f35" y="f79"/>
                    </a:lnTo>
                    <a:lnTo>
                      <a:pt x="f35" y="f80"/>
                    </a:lnTo>
                    <a:lnTo>
                      <a:pt x="f81" y="f82"/>
                    </a:lnTo>
                    <a:lnTo>
                      <a:pt x="f81" y="f83"/>
                    </a:lnTo>
                    <a:lnTo>
                      <a:pt x="f77" y="f84"/>
                    </a:lnTo>
                    <a:lnTo>
                      <a:pt x="f36" y="f85"/>
                    </a:lnTo>
                    <a:lnTo>
                      <a:pt x="f86" y="f85"/>
                    </a:lnTo>
                    <a:lnTo>
                      <a:pt x="f39" y="f87"/>
                    </a:lnTo>
                    <a:lnTo>
                      <a:pt x="f88" y="f89"/>
                    </a:lnTo>
                    <a:lnTo>
                      <a:pt x="f43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95" y="f101"/>
                    </a:lnTo>
                    <a:lnTo>
                      <a:pt x="f97" y="f102"/>
                    </a:lnTo>
                    <a:lnTo>
                      <a:pt x="f97" y="f103"/>
                    </a:lnTo>
                    <a:lnTo>
                      <a:pt x="f99" y="f104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99" y="f109"/>
                    </a:lnTo>
                    <a:lnTo>
                      <a:pt x="f110" y="f111"/>
                    </a:lnTo>
                    <a:lnTo>
                      <a:pt x="f112" y="f109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115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8" y="f124"/>
                    </a:lnTo>
                    <a:lnTo>
                      <a:pt x="f117" y="f125"/>
                    </a:lnTo>
                    <a:lnTo>
                      <a:pt x="f126" y="f127"/>
                    </a:lnTo>
                    <a:lnTo>
                      <a:pt x="f128" y="f129"/>
                    </a:lnTo>
                    <a:lnTo>
                      <a:pt x="f130" y="f131"/>
                    </a:lnTo>
                    <a:lnTo>
                      <a:pt x="f130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6"/>
                    </a:lnTo>
                    <a:lnTo>
                      <a:pt x="f138" y="f139"/>
                    </a:lnTo>
                    <a:lnTo>
                      <a:pt x="f7" y="f140"/>
                    </a:lnTo>
                    <a:lnTo>
                      <a:pt x="f138" y="f141"/>
                    </a:lnTo>
                    <a:lnTo>
                      <a:pt x="f138" y="f142"/>
                    </a:lnTo>
                    <a:lnTo>
                      <a:pt x="f143" y="f144"/>
                    </a:lnTo>
                    <a:lnTo>
                      <a:pt x="f143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6" y="f158"/>
                    </a:lnTo>
                    <a:lnTo>
                      <a:pt x="f159" y="f160"/>
                    </a:lnTo>
                    <a:lnTo>
                      <a:pt x="f161" y="f162"/>
                    </a:lnTo>
                    <a:lnTo>
                      <a:pt x="f133" y="f163"/>
                    </a:lnTo>
                    <a:lnTo>
                      <a:pt x="f133" y="f164"/>
                    </a:lnTo>
                    <a:lnTo>
                      <a:pt x="f165" y="f166"/>
                    </a:lnTo>
                    <a:lnTo>
                      <a:pt x="f167" y="f168"/>
                    </a:lnTo>
                    <a:lnTo>
                      <a:pt x="f130" y="f169"/>
                    </a:lnTo>
                    <a:lnTo>
                      <a:pt x="f170" y="f171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07" y="f178"/>
                    </a:lnTo>
                    <a:lnTo>
                      <a:pt x="f179" y="f180"/>
                    </a:lnTo>
                    <a:lnTo>
                      <a:pt x="f49" y="f181"/>
                    </a:lnTo>
                    <a:lnTo>
                      <a:pt x="f182" y="f181"/>
                    </a:lnTo>
                    <a:lnTo>
                      <a:pt x="f183" y="f178"/>
                    </a:lnTo>
                    <a:lnTo>
                      <a:pt x="f74" y="f184"/>
                    </a:lnTo>
                    <a:lnTo>
                      <a:pt x="f36" y="f185"/>
                    </a:lnTo>
                    <a:lnTo>
                      <a:pt x="f186" y="f187"/>
                    </a:lnTo>
                    <a:lnTo>
                      <a:pt x="f188" y="f189"/>
                    </a:lnTo>
                    <a:lnTo>
                      <a:pt x="f190" y="f185"/>
                    </a:lnTo>
                    <a:lnTo>
                      <a:pt x="f191" y="f173"/>
                    </a:lnTo>
                    <a:lnTo>
                      <a:pt x="f192" y="f175"/>
                    </a:lnTo>
                    <a:lnTo>
                      <a:pt x="f192" y="f178"/>
                    </a:lnTo>
                    <a:lnTo>
                      <a:pt x="f191" y="f193"/>
                    </a:lnTo>
                    <a:lnTo>
                      <a:pt x="f29" y="f194"/>
                    </a:lnTo>
                    <a:lnTo>
                      <a:pt x="f190" y="f195"/>
                    </a:lnTo>
                    <a:lnTo>
                      <a:pt x="f196" y="f197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202" y="f203"/>
                    </a:lnTo>
                    <a:lnTo>
                      <a:pt x="f204" y="f205"/>
                    </a:lnTo>
                    <a:lnTo>
                      <a:pt x="f17" y="f206"/>
                    </a:lnTo>
                    <a:lnTo>
                      <a:pt x="f207" y="f208"/>
                    </a:lnTo>
                    <a:lnTo>
                      <a:pt x="f209" y="f210"/>
                    </a:lnTo>
                    <a:lnTo>
                      <a:pt x="f211" y="f212"/>
                    </a:lnTo>
                    <a:lnTo>
                      <a:pt x="f213" y="f214"/>
                    </a:lnTo>
                    <a:lnTo>
                      <a:pt x="f215" y="f216"/>
                    </a:lnTo>
                    <a:lnTo>
                      <a:pt x="f217" y="f218"/>
                    </a:lnTo>
                    <a:lnTo>
                      <a:pt x="f219" y="f220"/>
                    </a:lnTo>
                    <a:lnTo>
                      <a:pt x="f221" y="f222"/>
                    </a:lnTo>
                    <a:lnTo>
                      <a:pt x="f223" y="f224"/>
                    </a:lnTo>
                    <a:lnTo>
                      <a:pt x="f223" y="f225"/>
                    </a:lnTo>
                    <a:lnTo>
                      <a:pt x="f226" y="f227"/>
                    </a:lnTo>
                    <a:lnTo>
                      <a:pt x="f228" y="f229"/>
                    </a:lnTo>
                    <a:lnTo>
                      <a:pt x="f217" y="f230"/>
                    </a:lnTo>
                    <a:lnTo>
                      <a:pt x="f213" y="f231"/>
                    </a:lnTo>
                    <a:lnTo>
                      <a:pt x="f232" y="f225"/>
                    </a:lnTo>
                    <a:lnTo>
                      <a:pt x="f233" y="f234"/>
                    </a:lnTo>
                    <a:lnTo>
                      <a:pt x="f207" y="f235"/>
                    </a:lnTo>
                    <a:lnTo>
                      <a:pt x="f236" y="f237"/>
                    </a:lnTo>
                    <a:lnTo>
                      <a:pt x="f238" y="f239"/>
                    </a:lnTo>
                    <a:lnTo>
                      <a:pt x="f17" y="f240"/>
                    </a:lnTo>
                    <a:lnTo>
                      <a:pt x="f17" y="f241"/>
                    </a:lnTo>
                    <a:lnTo>
                      <a:pt x="f14" y="f242"/>
                    </a:lnTo>
                    <a:lnTo>
                      <a:pt x="f243" y="f244"/>
                    </a:lnTo>
                    <a:lnTo>
                      <a:pt x="f245" y="f246"/>
                    </a:lnTo>
                    <a:lnTo>
                      <a:pt x="f247" y="f248"/>
                    </a:lnTo>
                    <a:lnTo>
                      <a:pt x="f233" y="f249"/>
                    </a:lnTo>
                    <a:lnTo>
                      <a:pt x="f209" y="f250"/>
                    </a:lnTo>
                    <a:lnTo>
                      <a:pt x="f251" y="f252"/>
                    </a:lnTo>
                    <a:lnTo>
                      <a:pt x="f215" y="f253"/>
                    </a:lnTo>
                    <a:lnTo>
                      <a:pt x="f254" y="f255"/>
                    </a:lnTo>
                    <a:lnTo>
                      <a:pt x="f223" y="f256"/>
                    </a:lnTo>
                    <a:lnTo>
                      <a:pt x="f257" y="f256"/>
                    </a:lnTo>
                    <a:lnTo>
                      <a:pt x="f258" y="f252"/>
                    </a:lnTo>
                    <a:lnTo>
                      <a:pt x="f259" y="f260"/>
                    </a:lnTo>
                    <a:lnTo>
                      <a:pt x="f261" y="f262"/>
                    </a:lnTo>
                    <a:lnTo>
                      <a:pt x="f258" y="f263"/>
                    </a:lnTo>
                    <a:lnTo>
                      <a:pt x="f258" y="f264"/>
                    </a:lnTo>
                    <a:lnTo>
                      <a:pt x="f265" y="f266"/>
                    </a:lnTo>
                    <a:lnTo>
                      <a:pt x="f267" y="f268"/>
                    </a:lnTo>
                    <a:lnTo>
                      <a:pt x="f269" y="f270"/>
                    </a:lnTo>
                    <a:lnTo>
                      <a:pt x="f271" y="f272"/>
                    </a:lnTo>
                    <a:lnTo>
                      <a:pt x="f273" y="f274"/>
                    </a:lnTo>
                    <a:lnTo>
                      <a:pt x="f275" y="f276"/>
                    </a:lnTo>
                    <a:lnTo>
                      <a:pt x="f277" y="f278"/>
                    </a:lnTo>
                    <a:lnTo>
                      <a:pt x="f279" y="f279"/>
                    </a:lnTo>
                    <a:lnTo>
                      <a:pt x="f280" y="f281"/>
                    </a:lnTo>
                    <a:lnTo>
                      <a:pt x="f282" y="f283"/>
                    </a:lnTo>
                    <a:lnTo>
                      <a:pt x="f284" y="f285"/>
                    </a:lnTo>
                    <a:lnTo>
                      <a:pt x="f286" y="f287"/>
                    </a:lnTo>
                    <a:lnTo>
                      <a:pt x="f288" y="f289"/>
                    </a:lnTo>
                    <a:lnTo>
                      <a:pt x="f290" y="f289"/>
                    </a:lnTo>
                    <a:lnTo>
                      <a:pt x="f291" y="f287"/>
                    </a:lnTo>
                    <a:lnTo>
                      <a:pt x="f292" y="f269"/>
                    </a:lnTo>
                    <a:lnTo>
                      <a:pt x="f264" y="f285"/>
                    </a:lnTo>
                    <a:lnTo>
                      <a:pt x="f293" y="f285"/>
                    </a:lnTo>
                    <a:lnTo>
                      <a:pt x="f294" y="f269"/>
                    </a:lnTo>
                    <a:lnTo>
                      <a:pt x="f295" y="f267"/>
                    </a:lnTo>
                    <a:lnTo>
                      <a:pt x="f296" y="f261"/>
                    </a:lnTo>
                    <a:lnTo>
                      <a:pt x="f252" y="f226"/>
                    </a:lnTo>
                    <a:lnTo>
                      <a:pt x="f297" y="f298"/>
                    </a:lnTo>
                    <a:lnTo>
                      <a:pt x="f299" y="f300"/>
                    </a:lnTo>
                    <a:lnTo>
                      <a:pt x="f249" y="f301"/>
                    </a:lnTo>
                    <a:lnTo>
                      <a:pt x="f255" y="f232"/>
                    </a:lnTo>
                    <a:lnTo>
                      <a:pt x="f253" y="f302"/>
                    </a:lnTo>
                    <a:lnTo>
                      <a:pt x="f252" y="f303"/>
                    </a:lnTo>
                    <a:lnTo>
                      <a:pt x="f250" y="f14"/>
                    </a:lnTo>
                    <a:lnTo>
                      <a:pt x="f304" y="f305"/>
                    </a:lnTo>
                    <a:lnTo>
                      <a:pt x="f306" y="f307"/>
                    </a:lnTo>
                    <a:lnTo>
                      <a:pt x="f308" y="f23"/>
                    </a:lnTo>
                    <a:lnTo>
                      <a:pt x="f309" y="f310"/>
                    </a:lnTo>
                    <a:lnTo>
                      <a:pt x="f246" y="f305"/>
                    </a:lnTo>
                    <a:lnTo>
                      <a:pt x="f311" y="f305"/>
                    </a:lnTo>
                    <a:lnTo>
                      <a:pt x="f312" y="f313"/>
                    </a:lnTo>
                    <a:lnTo>
                      <a:pt x="f314" y="f236"/>
                    </a:lnTo>
                    <a:lnTo>
                      <a:pt x="f315" y="f233"/>
                    </a:lnTo>
                    <a:lnTo>
                      <a:pt x="f316" y="f317"/>
                    </a:lnTo>
                    <a:lnTo>
                      <a:pt x="f316" y="f318"/>
                    </a:lnTo>
                    <a:lnTo>
                      <a:pt x="f319" y="f298"/>
                    </a:lnTo>
                    <a:lnTo>
                      <a:pt x="f320" y="f226"/>
                    </a:lnTo>
                    <a:lnTo>
                      <a:pt x="f314" y="f221"/>
                    </a:lnTo>
                    <a:lnTo>
                      <a:pt x="f320" y="f321"/>
                    </a:lnTo>
                    <a:lnTo>
                      <a:pt x="f322" y="f323"/>
                    </a:lnTo>
                    <a:lnTo>
                      <a:pt x="f315" y="f324"/>
                    </a:lnTo>
                    <a:lnTo>
                      <a:pt x="f325" y="f257"/>
                    </a:lnTo>
                    <a:lnTo>
                      <a:pt x="f326" y="f257"/>
                    </a:lnTo>
                    <a:lnTo>
                      <a:pt x="f327" y="f328"/>
                    </a:lnTo>
                    <a:lnTo>
                      <a:pt x="f329" y="f259"/>
                    </a:lnTo>
                    <a:lnTo>
                      <a:pt x="f330" y="f287"/>
                    </a:lnTo>
                    <a:lnTo>
                      <a:pt x="f235" y="f331"/>
                    </a:lnTo>
                    <a:lnTo>
                      <a:pt x="f332" y="f333"/>
                    </a:lnTo>
                    <a:lnTo>
                      <a:pt x="f334" y="f283"/>
                    </a:lnTo>
                    <a:lnTo>
                      <a:pt x="f332" y="f279"/>
                    </a:lnTo>
                    <a:lnTo>
                      <a:pt x="f332" y="f335"/>
                    </a:lnTo>
                    <a:lnTo>
                      <a:pt x="f336" y="f337"/>
                    </a:lnTo>
                    <a:lnTo>
                      <a:pt x="f338" y="f339"/>
                    </a:lnTo>
                    <a:lnTo>
                      <a:pt x="f340" y="f339"/>
                    </a:lnTo>
                    <a:lnTo>
                      <a:pt x="f341" y="f337"/>
                    </a:lnTo>
                    <a:lnTo>
                      <a:pt x="f342" y="f343"/>
                    </a:lnTo>
                    <a:lnTo>
                      <a:pt x="f342" y="f273"/>
                    </a:lnTo>
                    <a:lnTo>
                      <a:pt x="f344" y="f331"/>
                    </a:lnTo>
                    <a:lnTo>
                      <a:pt x="f344" y="f345"/>
                    </a:lnTo>
                    <a:lnTo>
                      <a:pt x="f346" y="f347"/>
                    </a:lnTo>
                    <a:lnTo>
                      <a:pt x="f348" y="f259"/>
                    </a:lnTo>
                    <a:lnTo>
                      <a:pt x="f349" y="f350"/>
                    </a:lnTo>
                    <a:lnTo>
                      <a:pt x="f201" y="f324"/>
                    </a:lnTo>
                    <a:lnTo>
                      <a:pt x="f351" y="f352"/>
                    </a:lnTo>
                    <a:lnTo>
                      <a:pt x="f351" y="f353"/>
                    </a:lnTo>
                    <a:lnTo>
                      <a:pt x="f197" y="f354"/>
                    </a:lnTo>
                    <a:lnTo>
                      <a:pt x="f201" y="f355"/>
                    </a:lnTo>
                    <a:lnTo>
                      <a:pt x="f203" y="f356"/>
                    </a:lnTo>
                    <a:lnTo>
                      <a:pt x="f357" y="f300"/>
                    </a:lnTo>
                    <a:lnTo>
                      <a:pt x="f358" y="f213"/>
                    </a:lnTo>
                    <a:lnTo>
                      <a:pt x="f359" y="f232"/>
                    </a:lnTo>
                    <a:lnTo>
                      <a:pt x="f360" y="f10"/>
                    </a:lnTo>
                    <a:lnTo>
                      <a:pt x="f361" y="f303"/>
                    </a:lnTo>
                    <a:lnTo>
                      <a:pt x="f168" y="f303"/>
                    </a:lnTo>
                    <a:lnTo>
                      <a:pt x="f362" y="f12"/>
                    </a:lnTo>
                    <a:lnTo>
                      <a:pt x="f363" y="f19"/>
                    </a:lnTo>
                    <a:lnTo>
                      <a:pt x="f364" y="f365"/>
                    </a:lnTo>
                    <a:lnTo>
                      <a:pt x="f164" y="f366"/>
                    </a:lnTo>
                    <a:lnTo>
                      <a:pt x="f367" y="f368"/>
                    </a:lnTo>
                    <a:lnTo>
                      <a:pt x="f163" y="f369"/>
                    </a:lnTo>
                    <a:lnTo>
                      <a:pt x="f160" y="f370"/>
                    </a:lnTo>
                    <a:lnTo>
                      <a:pt x="f2" y="f371"/>
                    </a:lnTo>
                    <a:lnTo>
                      <a:pt x="f372" y="f370"/>
                    </a:lnTo>
                    <a:lnTo>
                      <a:pt x="f373" y="f374"/>
                    </a:lnTo>
                    <a:lnTo>
                      <a:pt x="f375" y="f202"/>
                    </a:lnTo>
                    <a:lnTo>
                      <a:pt x="f376" y="f370"/>
                    </a:lnTo>
                    <a:lnTo>
                      <a:pt x="f377" y="f378"/>
                    </a:lnTo>
                    <a:lnTo>
                      <a:pt x="f151" y="f379"/>
                    </a:lnTo>
                    <a:lnTo>
                      <a:pt x="f380" y="f381"/>
                    </a:lnTo>
                    <a:lnTo>
                      <a:pt x="f382" y="f192"/>
                    </a:lnTo>
                    <a:lnTo>
                      <a:pt x="f383" y="f198"/>
                    </a:lnTo>
                    <a:lnTo>
                      <a:pt x="f384" y="f385"/>
                    </a:lnTo>
                    <a:lnTo>
                      <a:pt x="f144" y="f386"/>
                    </a:lnTo>
                    <a:lnTo>
                      <a:pt x="f387" y="f198"/>
                    </a:lnTo>
                    <a:lnTo>
                      <a:pt x="f388" y="f196"/>
                    </a:lnTo>
                    <a:lnTo>
                      <a:pt x="f140" y="f389"/>
                    </a:lnTo>
                    <a:lnTo>
                      <a:pt x="f390" y="f391"/>
                    </a:lnTo>
                    <a:lnTo>
                      <a:pt x="f392" y="f393"/>
                    </a:lnTo>
                    <a:lnTo>
                      <a:pt x="f394" y="f395"/>
                    </a:lnTo>
                    <a:lnTo>
                      <a:pt x="f394" y="f68"/>
                    </a:lnTo>
                    <a:lnTo>
                      <a:pt x="f396" y="f38"/>
                    </a:lnTo>
                    <a:lnTo>
                      <a:pt x="f127" y="f397"/>
                    </a:lnTo>
                    <a:lnTo>
                      <a:pt x="f398" y="f54"/>
                    </a:lnTo>
                    <a:lnTo>
                      <a:pt x="f399" y="f400"/>
                    </a:lnTo>
                    <a:lnTo>
                      <a:pt x="f401" y="f86"/>
                    </a:lnTo>
                    <a:lnTo>
                      <a:pt x="f402" y="f37"/>
                    </a:lnTo>
                    <a:lnTo>
                      <a:pt x="f118" y="f403"/>
                    </a:lnTo>
                    <a:lnTo>
                      <a:pt x="f114" y="f68"/>
                    </a:lnTo>
                    <a:lnTo>
                      <a:pt x="f404" y="f74"/>
                    </a:lnTo>
                    <a:lnTo>
                      <a:pt x="f405" y="f406"/>
                    </a:lnTo>
                    <a:lnTo>
                      <a:pt x="f106" y="f182"/>
                    </a:lnTo>
                    <a:lnTo>
                      <a:pt x="f106" y="f49"/>
                    </a:lnTo>
                    <a:lnTo>
                      <a:pt x="f405" y="f179"/>
                    </a:lnTo>
                    <a:lnTo>
                      <a:pt x="f108" y="f95"/>
                    </a:lnTo>
                    <a:lnTo>
                      <a:pt x="f114" y="f407"/>
                    </a:lnTo>
                    <a:lnTo>
                      <a:pt x="f114" y="f113"/>
                    </a:lnTo>
                    <a:lnTo>
                      <a:pt x="f408" y="f113"/>
                    </a:lnTo>
                    <a:lnTo>
                      <a:pt x="f108" y="f409"/>
                    </a:lnTo>
                    <a:lnTo>
                      <a:pt x="f106" y="f409"/>
                    </a:lnTo>
                    <a:lnTo>
                      <a:pt x="f104" y="f8"/>
                    </a:lnTo>
                    <a:lnTo>
                      <a:pt x="f103" y="f8"/>
                    </a:lnTo>
                    <a:lnTo>
                      <a:pt x="f102" y="f409"/>
                    </a:lnTo>
                    <a:lnTo>
                      <a:pt x="f101" y="f410"/>
                    </a:lnTo>
                    <a:lnTo>
                      <a:pt x="f411" y="f412"/>
                    </a:lnTo>
                    <a:lnTo>
                      <a:pt x="f413" y="f414"/>
                    </a:lnTo>
                    <a:lnTo>
                      <a:pt x="f415" y="f410"/>
                    </a:lnTo>
                    <a:lnTo>
                      <a:pt x="f416" y="f410"/>
                    </a:lnTo>
                    <a:lnTo>
                      <a:pt x="f417" y="f414"/>
                    </a:lnTo>
                    <a:lnTo>
                      <a:pt x="f3" y="f112"/>
                    </a:lnTo>
                    <a:lnTo>
                      <a:pt x="f418" y="f407"/>
                    </a:lnTo>
                    <a:lnTo>
                      <a:pt x="f419" y="f110"/>
                    </a:lnTo>
                    <a:lnTo>
                      <a:pt x="f94" y="f420"/>
                    </a:lnTo>
                    <a:lnTo>
                      <a:pt x="f421" y="f422"/>
                    </a:lnTo>
                    <a:lnTo>
                      <a:pt x="f423" y="f424"/>
                    </a:lnTo>
                    <a:lnTo>
                      <a:pt x="f425" y="f407"/>
                    </a:lnTo>
                    <a:lnTo>
                      <a:pt x="f426" y="f410"/>
                    </a:lnTo>
                    <a:lnTo>
                      <a:pt x="f80" y="f409"/>
                    </a:lnTo>
                    <a:lnTo>
                      <a:pt x="f427" y="f409"/>
                    </a:lnTo>
                    <a:lnTo>
                      <a:pt x="f428" y="f410"/>
                    </a:lnTo>
                    <a:lnTo>
                      <a:pt x="f75" y="f176"/>
                    </a:lnTo>
                    <a:lnTo>
                      <a:pt x="f429" y="f95"/>
                    </a:lnTo>
                    <a:lnTo>
                      <a:pt x="f72" y="f95"/>
                    </a:lnTo>
                    <a:lnTo>
                      <a:pt x="f430" y="f97"/>
                    </a:lnTo>
                    <a:lnTo>
                      <a:pt x="f430" y="f422"/>
                    </a:lnTo>
                    <a:lnTo>
                      <a:pt x="f431" y="f407"/>
                    </a:lnTo>
                    <a:lnTo>
                      <a:pt x="f432" y="f110"/>
                    </a:lnTo>
                    <a:lnTo>
                      <a:pt x="f433" y="f97"/>
                    </a:lnTo>
                    <a:lnTo>
                      <a:pt x="f434" y="f435"/>
                    </a:lnTo>
                    <a:lnTo>
                      <a:pt x="f436" y="f437"/>
                    </a:lnTo>
                    <a:lnTo>
                      <a:pt x="f438" y="f88"/>
                    </a:lnTo>
                    <a:lnTo>
                      <a:pt x="f431" y="f182"/>
                    </a:lnTo>
                    <a:lnTo>
                      <a:pt x="f438" y="f397"/>
                    </a:lnTo>
                    <a:lnTo>
                      <a:pt x="f439" y="f86"/>
                    </a:lnTo>
                    <a:lnTo>
                      <a:pt x="f440" y="f58"/>
                    </a:lnTo>
                    <a:lnTo>
                      <a:pt x="f441" y="f60"/>
                    </a:lnTo>
                    <a:lnTo>
                      <a:pt x="f436" y="f35"/>
                    </a:lnTo>
                    <a:lnTo>
                      <a:pt x="f442" y="f443"/>
                    </a:lnTo>
                    <a:lnTo>
                      <a:pt x="f444" y="f445"/>
                    </a:lnTo>
                    <a:lnTo>
                      <a:pt x="f446" y="f445"/>
                    </a:lnTo>
                    <a:lnTo>
                      <a:pt x="f447" y="f395"/>
                    </a:lnTo>
                    <a:lnTo>
                      <a:pt x="f59" y="f393"/>
                    </a:lnTo>
                    <a:lnTo>
                      <a:pt x="f448" y="f190"/>
                    </a:lnTo>
                    <a:lnTo>
                      <a:pt x="f55" y="f449"/>
                    </a:lnTo>
                    <a:lnTo>
                      <a:pt x="f450" y="f385"/>
                    </a:lnTo>
                    <a:lnTo>
                      <a:pt x="f448" y="f451"/>
                    </a:lnTo>
                    <a:lnTo>
                      <a:pt x="f63" y="f378"/>
                    </a:lnTo>
                    <a:lnTo>
                      <a:pt x="f452" y="f453"/>
                    </a:lnTo>
                    <a:lnTo>
                      <a:pt x="f454" y="f455"/>
                    </a:lnTo>
                    <a:lnTo>
                      <a:pt x="f456" y="f27"/>
                    </a:lnTo>
                    <a:lnTo>
                      <a:pt x="f457" y="f366"/>
                    </a:lnTo>
                    <a:lnTo>
                      <a:pt x="f63" y="f25"/>
                    </a:lnTo>
                    <a:lnTo>
                      <a:pt x="f57" y="f365"/>
                    </a:lnTo>
                    <a:lnTo>
                      <a:pt x="f57" y="f17"/>
                    </a:lnTo>
                    <a:lnTo>
                      <a:pt x="f458" y="f303"/>
                    </a:lnTo>
                    <a:lnTo>
                      <a:pt x="f459" y="f207"/>
                    </a:lnTo>
                    <a:lnTo>
                      <a:pt x="f460" y="f209"/>
                    </a:lnTo>
                    <a:lnTo>
                      <a:pt x="f26" y="f461"/>
                    </a:lnTo>
                    <a:lnTo>
                      <a:pt x="f462" y="f463"/>
                    </a:lnTo>
                    <a:lnTo>
                      <a:pt x="f464" y="f463"/>
                    </a:lnTo>
                    <a:lnTo>
                      <a:pt x="f465" y="f300"/>
                    </a:lnTo>
                    <a:lnTo>
                      <a:pt x="f466" y="f467"/>
                    </a:lnTo>
                    <a:lnTo>
                      <a:pt x="f468" y="f467"/>
                    </a:lnTo>
                    <a:lnTo>
                      <a:pt x="f18" y="f215"/>
                    </a:lnTo>
                    <a:lnTo>
                      <a:pt x="f469" y="f217"/>
                    </a:lnTo>
                    <a:lnTo>
                      <a:pt x="f469" y="f226"/>
                    </a:lnTo>
                    <a:lnTo>
                      <a:pt x="f18" y="f352"/>
                    </a:lnTo>
                    <a:lnTo>
                      <a:pt x="f470" y="f257"/>
                    </a:lnTo>
                    <a:lnTo>
                      <a:pt x="f471" y="f265"/>
                    </a:lnTo>
                    <a:lnTo>
                      <a:pt x="f472" y="f345"/>
                    </a:lnTo>
                    <a:lnTo>
                      <a:pt x="f473" y="f287"/>
                    </a:lnTo>
                    <a:lnTo>
                      <a:pt x="f472" y="f331"/>
                    </a:lnTo>
                    <a:lnTo>
                      <a:pt x="f474" y="f475"/>
                    </a:lnTo>
                    <a:lnTo>
                      <a:pt x="f18" y="f333"/>
                    </a:lnTo>
                    <a:lnTo>
                      <a:pt x="f468" y="f285"/>
                    </a:lnTo>
                    <a:lnTo>
                      <a:pt x="f476" y="f477"/>
                    </a:lnTo>
                    <a:lnTo>
                      <a:pt x="f20" y="f478"/>
                    </a:lnTo>
                    <a:lnTo>
                      <a:pt x="f479" y="f281"/>
                    </a:lnTo>
                    <a:lnTo>
                      <a:pt x="f480" y="f279"/>
                    </a:lnTo>
                    <a:lnTo>
                      <a:pt x="f464" y="f278"/>
                    </a:lnTo>
                    <a:lnTo>
                      <a:pt x="f462" y="f343"/>
                    </a:lnTo>
                    <a:lnTo>
                      <a:pt x="f30" y="f335"/>
                    </a:lnTo>
                    <a:lnTo>
                      <a:pt x="f481" y="f282"/>
                    </a:lnTo>
                    <a:lnTo>
                      <a:pt x="f30" y="f482"/>
                    </a:lnTo>
                    <a:lnTo>
                      <a:pt x="f32" y="f483"/>
                    </a:lnTo>
                    <a:lnTo>
                      <a:pt x="f480" y="f484"/>
                    </a:lnTo>
                    <a:lnTo>
                      <a:pt x="f485" y="f486"/>
                    </a:lnTo>
                    <a:lnTo>
                      <a:pt x="f487" y="f264"/>
                    </a:lnTo>
                    <a:lnTo>
                      <a:pt x="f466" y="f488"/>
                    </a:lnTo>
                    <a:lnTo>
                      <a:pt x="f487" y="f295"/>
                    </a:lnTo>
                    <a:lnTo>
                      <a:pt x="f466" y="f489"/>
                    </a:lnTo>
                    <a:lnTo>
                      <a:pt x="f490" y="f491"/>
                    </a:lnTo>
                    <a:lnTo>
                      <a:pt x="f492" y="f491"/>
                    </a:lnTo>
                    <a:lnTo>
                      <a:pt x="f493" y="f494"/>
                    </a:lnTo>
                    <a:lnTo>
                      <a:pt x="f6" y="f495"/>
                    </a:lnTo>
                    <a:lnTo>
                      <a:pt x="f496" y="f497"/>
                    </a:lnTo>
                    <a:lnTo>
                      <a:pt x="f493" y="f297"/>
                    </a:lnTo>
                    <a:lnTo>
                      <a:pt x="f498" y="f248"/>
                    </a:lnTo>
                    <a:lnTo>
                      <a:pt x="f13" y="f499"/>
                    </a:lnTo>
                    <a:lnTo>
                      <a:pt x="f42" y="f500"/>
                    </a:lnTo>
                    <a:lnTo>
                      <a:pt x="f501" y="f500"/>
                    </a:lnTo>
                    <a:lnTo>
                      <a:pt x="f15" y="f499"/>
                    </a:lnTo>
                    <a:lnTo>
                      <a:pt x="f15" y="f308"/>
                    </a:lnTo>
                    <a:lnTo>
                      <a:pt x="f502" y="f306"/>
                    </a:lnTo>
                    <a:lnTo>
                      <a:pt x="f16" y="f503"/>
                    </a:lnTo>
                    <a:lnTo>
                      <a:pt x="f472" y="f503"/>
                    </a:lnTo>
                    <a:lnTo>
                      <a:pt x="f46" y="f306"/>
                    </a:lnTo>
                    <a:lnTo>
                      <a:pt x="f474" y="f504"/>
                    </a:lnTo>
                    <a:lnTo>
                      <a:pt x="f469" y="f308"/>
                    </a:lnTo>
                    <a:lnTo>
                      <a:pt x="f18" y="f499"/>
                    </a:lnTo>
                    <a:lnTo>
                      <a:pt x="f490" y="f505"/>
                    </a:lnTo>
                    <a:lnTo>
                      <a:pt x="f487" y="f506"/>
                    </a:lnTo>
                    <a:lnTo>
                      <a:pt x="f48" y="f507"/>
                    </a:lnTo>
                    <a:lnTo>
                      <a:pt x="f508" y="f240"/>
                    </a:lnTo>
                    <a:lnTo>
                      <a:pt x="f458" y="f325"/>
                    </a:lnTo>
                    <a:lnTo>
                      <a:pt x="f59" y="f509"/>
                    </a:lnTo>
                    <a:lnTo>
                      <a:pt x="f447" y="f510"/>
                    </a:lnTo>
                    <a:lnTo>
                      <a:pt x="f63" y="f511"/>
                    </a:lnTo>
                    <a:lnTo>
                      <a:pt x="f447" y="f512"/>
                    </a:lnTo>
                    <a:lnTo>
                      <a:pt x="f61" y="f513"/>
                    </a:lnTo>
                    <a:lnTo>
                      <a:pt x="f57" y="f514"/>
                    </a:lnTo>
                    <a:lnTo>
                      <a:pt x="f458" y="f514"/>
                    </a:lnTo>
                    <a:lnTo>
                      <a:pt x="f515" y="f513"/>
                    </a:lnTo>
                    <a:lnTo>
                      <a:pt x="f508" y="f326"/>
                    </a:lnTo>
                    <a:lnTo>
                      <a:pt x="f516" y="f517"/>
                    </a:lnTo>
                    <a:lnTo>
                      <a:pt x="f518" y="f237"/>
                    </a:lnTo>
                    <a:lnTo>
                      <a:pt x="f519" y="f225"/>
                    </a:lnTo>
                    <a:lnTo>
                      <a:pt x="f520" y="f521"/>
                    </a:lnTo>
                    <a:lnTo>
                      <a:pt x="f51" y="f218"/>
                    </a:lnTo>
                    <a:lnTo>
                      <a:pt x="f448" y="f522"/>
                    </a:lnTo>
                    <a:lnTo>
                      <a:pt x="f523" y="f524"/>
                    </a:lnTo>
                    <a:lnTo>
                      <a:pt x="f452" y="f199"/>
                    </a:lnTo>
                    <a:lnTo>
                      <a:pt x="f525" y="f526"/>
                    </a:lnTo>
                    <a:lnTo>
                      <a:pt x="f527" y="f528"/>
                    </a:lnTo>
                    <a:lnTo>
                      <a:pt x="f529" y="f178"/>
                    </a:lnTo>
                    <a:lnTo>
                      <a:pt x="f529" y="f187"/>
                    </a:lnTo>
                    <a:lnTo>
                      <a:pt x="f530" y="f171"/>
                    </a:lnTo>
                    <a:lnTo>
                      <a:pt x="f65" y="f531"/>
                    </a:lnTo>
                    <a:lnTo>
                      <a:pt x="f530" y="f168"/>
                    </a:lnTo>
                    <a:lnTo>
                      <a:pt x="f527" y="f363"/>
                    </a:lnTo>
                    <a:lnTo>
                      <a:pt x="f456" y="f532"/>
                    </a:lnTo>
                    <a:lnTo>
                      <a:pt x="f523" y="f533"/>
                    </a:lnTo>
                    <a:lnTo>
                      <a:pt x="f57" y="f534"/>
                    </a:lnTo>
                    <a:lnTo>
                      <a:pt x="f450" y="f535"/>
                    </a:lnTo>
                    <a:lnTo>
                      <a:pt x="f450" y="f157"/>
                    </a:lnTo>
                    <a:lnTo>
                      <a:pt x="f448" y="f155"/>
                    </a:lnTo>
                    <a:lnTo>
                      <a:pt x="f59" y="f536"/>
                    </a:lnTo>
                    <a:lnTo>
                      <a:pt x="f61" y="f376"/>
                    </a:lnTo>
                    <a:lnTo>
                      <a:pt x="f61" y="f377"/>
                    </a:lnTo>
                    <a:lnTo>
                      <a:pt x="f57" y="f537"/>
                    </a:lnTo>
                    <a:lnTo>
                      <a:pt x="f458" y="f537"/>
                    </a:lnTo>
                    <a:lnTo>
                      <a:pt x="f459" y="f538"/>
                    </a:lnTo>
                    <a:lnTo>
                      <a:pt x="f539" y="f540"/>
                    </a:lnTo>
                    <a:lnTo>
                      <a:pt x="f520" y="f149"/>
                    </a:lnTo>
                    <a:lnTo>
                      <a:pt x="f519" y="f147"/>
                    </a:lnTo>
                    <a:lnTo>
                      <a:pt x="f541" y="f145"/>
                    </a:lnTo>
                    <a:lnTo>
                      <a:pt x="f30" y="f384"/>
                    </a:lnTo>
                    <a:lnTo>
                      <a:pt x="f464" y="f144"/>
                    </a:lnTo>
                    <a:lnTo>
                      <a:pt x="f479" y="f387"/>
                    </a:lnTo>
                    <a:lnTo>
                      <a:pt x="f485" y="f142"/>
                    </a:lnTo>
                    <a:lnTo>
                      <a:pt x="f479" y="f542"/>
                    </a:lnTo>
                    <a:lnTo>
                      <a:pt x="f48" y="f543"/>
                    </a:lnTo>
                    <a:lnTo>
                      <a:pt x="f22" y="f544"/>
                    </a:lnTo>
                    <a:lnTo>
                      <a:pt x="f32" y="f134"/>
                    </a:lnTo>
                    <a:lnTo>
                      <a:pt x="f464" y="f545"/>
                    </a:lnTo>
                    <a:lnTo>
                      <a:pt x="f464" y="f129"/>
                    </a:lnTo>
                    <a:lnTo>
                      <a:pt x="f32" y="f396"/>
                    </a:lnTo>
                    <a:lnTo>
                      <a:pt x="f541" y="f127"/>
                    </a:lnTo>
                    <a:lnTo>
                      <a:pt x="f539" y="f546"/>
                    </a:lnTo>
                    <a:lnTo>
                      <a:pt x="f53" y="f547"/>
                    </a:lnTo>
                    <a:lnTo>
                      <a:pt x="f57" y="f547"/>
                    </a:lnTo>
                    <a:lnTo>
                      <a:pt x="f548" y="f123"/>
                    </a:lnTo>
                    <a:lnTo>
                      <a:pt x="f549" y="f546"/>
                    </a:lnTo>
                    <a:lnTo>
                      <a:pt x="f550" y="f398"/>
                    </a:lnTo>
                    <a:lnTo>
                      <a:pt x="f527" y="f124"/>
                    </a:lnTo>
                    <a:lnTo>
                      <a:pt x="f527" y="f123"/>
                    </a:lnTo>
                    <a:lnTo>
                      <a:pt x="f525" y="f551"/>
                    </a:lnTo>
                    <a:lnTo>
                      <a:pt x="f549" y="f119"/>
                    </a:lnTo>
                    <a:lnTo>
                      <a:pt x="f552" y="f109"/>
                    </a:lnTo>
                    <a:lnTo>
                      <a:pt x="f454" y="f114"/>
                    </a:lnTo>
                    <a:lnTo>
                      <a:pt x="f64" y="f116"/>
                    </a:lnTo>
                    <a:lnTo>
                      <a:pt x="f553" y="f118"/>
                    </a:lnTo>
                    <a:lnTo>
                      <a:pt x="f433" y="f551"/>
                    </a:lnTo>
                    <a:lnTo>
                      <a:pt x="f554" y="f547"/>
                    </a:lnTo>
                    <a:lnTo>
                      <a:pt x="f430" y="f123"/>
                    </a:lnTo>
                    <a:lnTo>
                      <a:pt x="f555" y="f124"/>
                    </a:lnTo>
                    <a:lnTo>
                      <a:pt x="f556" y="f557"/>
                    </a:lnTo>
                    <a:lnTo>
                      <a:pt x="f558" y="f131"/>
                    </a:lnTo>
                    <a:lnTo>
                      <a:pt x="f82" y="f559"/>
                    </a:lnTo>
                    <a:lnTo>
                      <a:pt x="f560" y="f392"/>
                    </a:lnTo>
                    <a:lnTo>
                      <a:pt x="f560" y="f561"/>
                    </a:lnTo>
                    <a:lnTo>
                      <a:pt x="f562" y="f398"/>
                    </a:lnTo>
                    <a:lnTo>
                      <a:pt x="f83" y="f563"/>
                    </a:lnTo>
                    <a:lnTo>
                      <a:pt x="f84" y="f123"/>
                    </a:lnTo>
                    <a:lnTo>
                      <a:pt x="f423" y="f564"/>
                    </a:lnTo>
                    <a:lnTo>
                      <a:pt x="f92" y="f398"/>
                    </a:lnTo>
                    <a:lnTo>
                      <a:pt x="f94" y="f565"/>
                    </a:lnTo>
                    <a:lnTo>
                      <a:pt x="f96" y="f565"/>
                    </a:lnTo>
                    <a:lnTo>
                      <a:pt x="f566" y="f124"/>
                    </a:lnTo>
                    <a:lnTo>
                      <a:pt x="f101" y="f123"/>
                    </a:lnTo>
                    <a:lnTo>
                      <a:pt x="f103" y="f567"/>
                    </a:lnTo>
                    <a:lnTo>
                      <a:pt x="f405" y="f119"/>
                    </a:lnTo>
                    <a:lnTo>
                      <a:pt x="f116" y="f402"/>
                    </a:lnTo>
                    <a:lnTo>
                      <a:pt x="f568" y="f402"/>
                    </a:lnTo>
                    <a:lnTo>
                      <a:pt x="f119" y="f119"/>
                    </a:lnTo>
                    <a:lnTo>
                      <a:pt x="f551" y="f569"/>
                    </a:lnTo>
                    <a:lnTo>
                      <a:pt x="f399" y="f570"/>
                    </a:lnTo>
                    <a:lnTo>
                      <a:pt x="f565" y="f114"/>
                    </a:lnTo>
                    <a:lnTo>
                      <a:pt x="f561" y="f571"/>
                    </a:lnTo>
                    <a:lnTo>
                      <a:pt x="f394" y="f572"/>
                    </a:lnTo>
                    <a:lnTo>
                      <a:pt x="f557" y="f573"/>
                    </a:lnTo>
                    <a:lnTo>
                      <a:pt x="f574" y="f575"/>
                    </a:lnTo>
                    <a:lnTo>
                      <a:pt x="f557" y="f576"/>
                    </a:lnTo>
                    <a:lnTo>
                      <a:pt x="f396" y="f577"/>
                    </a:lnTo>
                    <a:lnTo>
                      <a:pt x="f547" y="f98"/>
                    </a:lnTo>
                    <a:lnTo>
                      <a:pt x="f569" y="f578"/>
                    </a:lnTo>
                    <a:lnTo>
                      <a:pt x="f402" y="f417"/>
                    </a:lnTo>
                    <a:lnTo>
                      <a:pt x="f579" y="f96"/>
                    </a:lnTo>
                    <a:lnTo>
                      <a:pt x="f579" y="f580"/>
                    </a:lnTo>
                    <a:lnTo>
                      <a:pt x="f402" y="f94"/>
                    </a:lnTo>
                    <a:lnTo>
                      <a:pt x="f581" y="f582"/>
                    </a:lnTo>
                    <a:lnTo>
                      <a:pt x="f547" y="f583"/>
                    </a:lnTo>
                    <a:lnTo>
                      <a:pt x="f123" y="f584"/>
                    </a:lnTo>
                    <a:lnTo>
                      <a:pt x="f564" y="f89"/>
                    </a:lnTo>
                    <a:lnTo>
                      <a:pt x="f546" y="f85"/>
                    </a:lnTo>
                    <a:lnTo>
                      <a:pt x="f124" y="f425"/>
                    </a:lnTo>
                    <a:lnTo>
                      <a:pt x="f398" y="f585"/>
                    </a:lnTo>
                    <a:lnTo>
                      <a:pt x="f125" y="f562"/>
                    </a:lnTo>
                    <a:lnTo>
                      <a:pt x="f586" y="f560"/>
                    </a:lnTo>
                    <a:lnTo>
                      <a:pt x="f129" y="f560"/>
                    </a:lnTo>
                    <a:lnTo>
                      <a:pt x="f587" y="f82"/>
                    </a:lnTo>
                    <a:lnTo>
                      <a:pt x="f134" y="f558"/>
                    </a:lnTo>
                    <a:lnTo>
                      <a:pt x="f588" y="f589"/>
                    </a:lnTo>
                    <a:lnTo>
                      <a:pt x="f543" y="f79"/>
                    </a:lnTo>
                    <a:lnTo>
                      <a:pt x="f590" y="f591"/>
                    </a:lnTo>
                    <a:lnTo>
                      <a:pt x="f592" y="f555"/>
                    </a:lnTo>
                    <a:lnTo>
                      <a:pt x="f593" y="f429"/>
                    </a:lnTo>
                    <a:lnTo>
                      <a:pt x="f594" y="f433"/>
                    </a:lnTo>
                    <a:lnTo>
                      <a:pt x="f147" y="f595"/>
                    </a:lnTo>
                    <a:lnTo>
                      <a:pt x="f149" y="f595"/>
                    </a:lnTo>
                    <a:lnTo>
                      <a:pt x="f596" y="f597"/>
                    </a:lnTo>
                    <a:lnTo>
                      <a:pt x="f540" y="f442"/>
                    </a:lnTo>
                    <a:lnTo>
                      <a:pt x="f540" y="f598"/>
                    </a:lnTo>
                    <a:lnTo>
                      <a:pt x="f599" y="f600"/>
                    </a:lnTo>
                    <a:lnTo>
                      <a:pt x="f601" y="f602"/>
                    </a:lnTo>
                    <a:lnTo>
                      <a:pt x="f603" y="f604"/>
                    </a:lnTo>
                    <a:lnTo>
                      <a:pt x="f605" y="f527"/>
                    </a:lnTo>
                    <a:lnTo>
                      <a:pt x="f606" y="f527"/>
                    </a:lnTo>
                    <a:lnTo>
                      <a:pt x="f607" y="f604"/>
                    </a:lnTo>
                    <a:lnTo>
                      <a:pt x="f608" y="f604"/>
                    </a:lnTo>
                    <a:lnTo>
                      <a:pt x="f609" y="f527"/>
                    </a:lnTo>
                    <a:lnTo>
                      <a:pt x="f610" y="f454"/>
                    </a:lnTo>
                    <a:lnTo>
                      <a:pt x="f611" y="f612"/>
                    </a:lnTo>
                    <a:lnTo>
                      <a:pt x="f360" y="f55"/>
                    </a:lnTo>
                    <a:lnTo>
                      <a:pt x="f184" y="f613"/>
                    </a:lnTo>
                    <a:lnTo>
                      <a:pt x="f614" y="f520"/>
                    </a:lnTo>
                    <a:lnTo>
                      <a:pt x="f615" y="f26"/>
                    </a:lnTo>
                    <a:lnTo>
                      <a:pt x="f616" y="f617"/>
                    </a:lnTo>
                    <a:lnTo>
                      <a:pt x="f351" y="f34"/>
                    </a:lnTo>
                    <a:lnTo>
                      <a:pt x="f199" y="f485"/>
                    </a:lnTo>
                    <a:lnTo>
                      <a:pt x="f197" y="f618"/>
                    </a:lnTo>
                    <a:lnTo>
                      <a:pt x="f619" y="f469"/>
                    </a:lnTo>
                    <a:lnTo>
                      <a:pt x="f526" y="f16"/>
                    </a:lnTo>
                    <a:lnTo>
                      <a:pt x="f619" y="f44"/>
                    </a:lnTo>
                    <a:lnTo>
                      <a:pt x="f197" y="f501"/>
                    </a:lnTo>
                    <a:lnTo>
                      <a:pt x="f620" y="f42"/>
                    </a:lnTo>
                    <a:lnTo>
                      <a:pt x="f621" y="f622"/>
                    </a:lnTo>
                    <a:lnTo>
                      <a:pt x="f342" y="f623"/>
                    </a:lnTo>
                    <a:lnTo>
                      <a:pt x="f216" y="f471"/>
                    </a:lnTo>
                    <a:lnTo>
                      <a:pt x="f624" y="f476"/>
                    </a:lnTo>
                    <a:lnTo>
                      <a:pt x="f625" y="f34"/>
                    </a:lnTo>
                    <a:lnTo>
                      <a:pt x="f626" y="f30"/>
                    </a:lnTo>
                    <a:lnTo>
                      <a:pt x="f332" y="f26"/>
                    </a:lnTo>
                    <a:lnTo>
                      <a:pt x="f627" y="f519"/>
                    </a:lnTo>
                    <a:lnTo>
                      <a:pt x="f517" y="f518"/>
                    </a:lnTo>
                    <a:lnTo>
                      <a:pt x="f509" y="f51"/>
                    </a:lnTo>
                    <a:lnTo>
                      <a:pt x="f319" y="f53"/>
                    </a:lnTo>
                    <a:lnTo>
                      <a:pt x="f628" y="f57"/>
                    </a:lnTo>
                    <a:lnTo>
                      <a:pt x="f241" y="f63"/>
                    </a:lnTo>
                    <a:lnTo>
                      <a:pt x="f628" y="f452"/>
                    </a:lnTo>
                    <a:lnTo>
                      <a:pt x="f320" y="f444"/>
                    </a:lnTo>
                    <a:lnTo>
                      <a:pt x="f320" y="f65"/>
                    </a:lnTo>
                    <a:lnTo>
                      <a:pt x="f240" y="f595"/>
                    </a:lnTo>
                    <a:lnTo>
                      <a:pt x="f629" y="f440"/>
                    </a:lnTo>
                    <a:lnTo>
                      <a:pt x="f325" y="f438"/>
                    </a:lnTo>
                    <a:lnTo>
                      <a:pt x="f630" y="f631"/>
                    </a:lnTo>
                    <a:lnTo>
                      <a:pt x="f509" y="f72"/>
                    </a:lnTo>
                    <a:lnTo>
                      <a:pt x="f510" y="f632"/>
                    </a:lnTo>
                    <a:lnTo>
                      <a:pt x="f510" y="f75"/>
                    </a:lnTo>
                    <a:lnTo>
                      <a:pt x="f325" y="f633"/>
                    </a:lnTo>
                    <a:lnTo>
                      <a:pt x="f320" y="f76"/>
                    </a:lnTo>
                    <a:lnTo>
                      <a:pt x="f634" y="f635"/>
                    </a:lnTo>
                    <a:lnTo>
                      <a:pt x="f636" y="f79"/>
                    </a:lnTo>
                    <a:lnTo>
                      <a:pt x="f636" y="f427"/>
                    </a:lnTo>
                    <a:lnTo>
                      <a:pt x="f311" y="f80"/>
                    </a:lnTo>
                    <a:lnTo>
                      <a:pt x="f506" y="f558"/>
                    </a:lnTo>
                    <a:lnTo>
                      <a:pt x="f506" y="f426"/>
                    </a:lnTo>
                    <a:lnTo>
                      <a:pt x="f636" y="f83"/>
                    </a:lnTo>
                    <a:lnTo>
                      <a:pt x="f636" y="f85"/>
                    </a:lnTo>
                    <a:lnTo>
                      <a:pt x="f506" y="f87"/>
                    </a:lnTo>
                    <a:lnTo>
                      <a:pt x="f637" y="f87"/>
                    </a:lnTo>
                    <a:lnTo>
                      <a:pt x="f315" y="f89"/>
                    </a:lnTo>
                    <a:lnTo>
                      <a:pt x="f638" y="f90"/>
                    </a:lnTo>
                    <a:lnTo>
                      <a:pt x="f639" y="f92"/>
                    </a:lnTo>
                    <a:lnTo>
                      <a:pt x="f639" y="f94"/>
                    </a:lnTo>
                    <a:lnTo>
                      <a:pt x="f638" y="f578"/>
                    </a:lnTo>
                    <a:lnTo>
                      <a:pt x="f629" y="f100"/>
                    </a:lnTo>
                    <a:lnTo>
                      <a:pt x="f320" y="f101"/>
                    </a:lnTo>
                    <a:lnTo>
                      <a:pt x="f640" y="f101"/>
                    </a:lnTo>
                    <a:lnTo>
                      <a:pt x="f312" y="f100"/>
                    </a:lnTo>
                    <a:lnTo>
                      <a:pt x="f636" y="f98"/>
                    </a:lnTo>
                    <a:lnTo>
                      <a:pt x="f309" y="f3"/>
                    </a:lnTo>
                    <a:lnTo>
                      <a:pt x="f248" y="f418"/>
                    </a:lnTo>
                    <a:lnTo>
                      <a:pt x="f255" y="f418"/>
                    </a:lnTo>
                    <a:lnTo>
                      <a:pt x="f641" y="f642"/>
                    </a:lnTo>
                    <a:lnTo>
                      <a:pt x="f643" y="f580"/>
                    </a:lnTo>
                    <a:lnTo>
                      <a:pt x="f644" y="f645"/>
                    </a:lnTo>
                    <a:lnTo>
                      <a:pt x="f646" y="f421"/>
                    </a:lnTo>
                    <a:lnTo>
                      <a:pt x="f647" y="f423"/>
                    </a:lnTo>
                    <a:lnTo>
                      <a:pt x="f648" y="f87"/>
                    </a:lnTo>
                    <a:lnTo>
                      <a:pt x="f649" y="f85"/>
                    </a:lnTo>
                    <a:lnTo>
                      <a:pt x="f288" y="f85"/>
                    </a:lnTo>
                    <a:lnTo>
                      <a:pt x="f650" y="f89"/>
                    </a:lnTo>
                    <a:lnTo>
                      <a:pt x="f280" y="f90"/>
                    </a:lnTo>
                    <a:lnTo>
                      <a:pt x="f278" y="f651"/>
                    </a:lnTo>
                    <a:lnTo>
                      <a:pt x="f281" y="f651"/>
                    </a:lnTo>
                    <a:lnTo>
                      <a:pt x="f283" y="f89"/>
                    </a:lnTo>
                    <a:lnTo>
                      <a:pt x="f475" y="f585"/>
                    </a:lnTo>
                    <a:lnTo>
                      <a:pt x="f345" y="f652"/>
                    </a:lnTo>
                    <a:lnTo>
                      <a:pt x="f265" y="f589"/>
                    </a:lnTo>
                    <a:lnTo>
                      <a:pt x="f259" y="f653"/>
                    </a:lnTo>
                    <a:lnTo>
                      <a:pt x="f347" y="f654"/>
                    </a:lnTo>
                    <a:lnTo>
                      <a:pt x="f655" y="f555"/>
                    </a:lnTo>
                    <a:lnTo>
                      <a:pt x="f287" y="f656"/>
                    </a:lnTo>
                    <a:lnTo>
                      <a:pt x="f657" y="f430"/>
                    </a:lnTo>
                    <a:lnTo>
                      <a:pt x="f345" y="f436"/>
                    </a:lnTo>
                    <a:lnTo>
                      <a:pt x="f289" y="f444"/>
                    </a:lnTo>
                    <a:lnTo>
                      <a:pt x="f655" y="f63"/>
                    </a:lnTo>
                    <a:lnTo>
                      <a:pt x="f657" y="f658"/>
                    </a:lnTo>
                    <a:lnTo>
                      <a:pt x="f271" y="f539"/>
                    </a:lnTo>
                    <a:lnTo>
                      <a:pt x="f659" y="f26"/>
                    </a:lnTo>
                    <a:lnTo>
                      <a:pt x="f280" y="f617"/>
                    </a:lnTo>
                    <a:lnTo>
                      <a:pt x="f650" y="f464"/>
                    </a:lnTo>
                    <a:lnTo>
                      <a:pt x="f284" y="f465"/>
                    </a:lnTo>
                    <a:lnTo>
                      <a:pt x="f284" y="f468"/>
                    </a:lnTo>
                    <a:lnTo>
                      <a:pt x="f272" y="f18"/>
                    </a:lnTo>
                    <a:lnTo>
                      <a:pt x="f272" y="f470"/>
                    </a:lnTo>
                    <a:lnTo>
                      <a:pt x="f650" y="f474"/>
                    </a:lnTo>
                    <a:lnTo>
                      <a:pt x="f339" y="f474"/>
                    </a:lnTo>
                    <a:lnTo>
                      <a:pt x="f337" y="f471"/>
                    </a:lnTo>
                    <a:lnTo>
                      <a:pt x="f280" y="f471"/>
                    </a:lnTo>
                    <a:lnTo>
                      <a:pt x="f278" y="f474"/>
                    </a:lnTo>
                    <a:lnTo>
                      <a:pt x="f660" y="f490"/>
                    </a:lnTo>
                    <a:lnTo>
                      <a:pt x="f333" y="f47"/>
                    </a:lnTo>
                    <a:lnTo>
                      <a:pt x="f331" y="f476"/>
                    </a:lnTo>
                    <a:lnTo>
                      <a:pt x="f267" y="f490"/>
                    </a:lnTo>
                    <a:lnTo>
                      <a:pt x="f345" y="f471"/>
                    </a:lnTo>
                    <a:lnTo>
                      <a:pt x="f345" y="f16"/>
                    </a:lnTo>
                    <a:lnTo>
                      <a:pt x="f267" y="f44"/>
                    </a:lnTo>
                    <a:lnTo>
                      <a:pt x="f345" y="f42"/>
                    </a:lnTo>
                    <a:lnTo>
                      <a:pt x="f661" y="f662"/>
                    </a:lnTo>
                    <a:lnTo>
                      <a:pt x="f350" y="f492"/>
                    </a:lnTo>
                    <a:lnTo>
                      <a:pt x="f221" y="f498"/>
                    </a:lnTo>
                    <a:lnTo>
                      <a:pt x="f228" y="f663"/>
                    </a:lnTo>
                    <a:lnTo>
                      <a:pt x="f463" y="f11"/>
                    </a:lnTo>
                    <a:lnTo>
                      <a:pt x="f213" y="f496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DF6227FC-E136-4016-ADEF-A185E6D9C814}"/>
                  </a:ext>
                </a:extLst>
              </p:cNvPr>
              <p:cNvSpPr/>
              <p:nvPr/>
            </p:nvSpPr>
            <p:spPr>
              <a:xfrm rot="21447621">
                <a:off x="4704332" y="1266846"/>
                <a:ext cx="85112" cy="74203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50"/>
                  <a:gd name="f7" fmla="val 138"/>
                  <a:gd name="f8" fmla="val 109"/>
                  <a:gd name="f9" fmla="val 113"/>
                  <a:gd name="f10" fmla="val 115"/>
                  <a:gd name="f11" fmla="val 2"/>
                  <a:gd name="f12" fmla="val 112"/>
                  <a:gd name="f13" fmla="val 20"/>
                  <a:gd name="f14" fmla="val 114"/>
                  <a:gd name="f15" fmla="val 24"/>
                  <a:gd name="f16" fmla="val 118"/>
                  <a:gd name="f17" fmla="val 28"/>
                  <a:gd name="f18" fmla="val 123"/>
                  <a:gd name="f19" fmla="val 35"/>
                  <a:gd name="f20" fmla="val 125"/>
                  <a:gd name="f21" fmla="val 42"/>
                  <a:gd name="f22" fmla="val 49"/>
                  <a:gd name="f23" fmla="val 119"/>
                  <a:gd name="f24" fmla="val 55"/>
                  <a:gd name="f25" fmla="val 116"/>
                  <a:gd name="f26" fmla="val 62"/>
                  <a:gd name="f27" fmla="val 70"/>
                  <a:gd name="f28" fmla="val 77"/>
                  <a:gd name="f29" fmla="val 117"/>
                  <a:gd name="f30" fmla="val 82"/>
                  <a:gd name="f31" fmla="val 121"/>
                  <a:gd name="f32" fmla="val 86"/>
                  <a:gd name="f33" fmla="val 127"/>
                  <a:gd name="f34" fmla="val 93"/>
                  <a:gd name="f35" fmla="val 135"/>
                  <a:gd name="f36" fmla="val 103"/>
                  <a:gd name="f37" fmla="val 142"/>
                  <a:gd name="f38" fmla="val 124"/>
                  <a:gd name="f39" fmla="val 131"/>
                  <a:gd name="f40" fmla="val 128"/>
                  <a:gd name="f41" fmla="val 129"/>
                  <a:gd name="f42" fmla="val 137"/>
                  <a:gd name="f43" fmla="val 136"/>
                  <a:gd name="f44" fmla="val 106"/>
                  <a:gd name="f45" fmla="val 100"/>
                  <a:gd name="f46" fmla="val 95"/>
                  <a:gd name="f47" fmla="val 90"/>
                  <a:gd name="f48" fmla="val 120"/>
                  <a:gd name="f49" fmla="val 78"/>
                  <a:gd name="f50" fmla="val 72"/>
                  <a:gd name="f51" fmla="val 126"/>
                  <a:gd name="f52" fmla="val 64"/>
                  <a:gd name="f53" fmla="val 44"/>
                  <a:gd name="f54" fmla="val 36"/>
                  <a:gd name="f55" fmla="val 30"/>
                  <a:gd name="f56" fmla="val 25"/>
                  <a:gd name="f57" fmla="val 21"/>
                  <a:gd name="f58" fmla="val 105"/>
                  <a:gd name="f59" fmla="val 16"/>
                  <a:gd name="f60" fmla="val 94"/>
                  <a:gd name="f61" fmla="val 10"/>
                  <a:gd name="f62" fmla="val 84"/>
                  <a:gd name="f63" fmla="val 4"/>
                  <a:gd name="f64" fmla="val 75"/>
                  <a:gd name="f65" fmla="val 59"/>
                  <a:gd name="f66" fmla="val 8"/>
                  <a:gd name="f67" fmla="val 13"/>
                  <a:gd name="f68" fmla="val 43"/>
                  <a:gd name="f69" fmla="val 17"/>
                  <a:gd name="f70" fmla="val 41"/>
                  <a:gd name="f71" fmla="val 23"/>
                  <a:gd name="f72" fmla="val 45"/>
                  <a:gd name="f73" fmla="val 26"/>
                  <a:gd name="f74" fmla="val 51"/>
                  <a:gd name="f75" fmla="val 27"/>
                  <a:gd name="f76" fmla="val 52"/>
                  <a:gd name="f77" fmla="val 29"/>
                  <a:gd name="f78" fmla="val 31"/>
                  <a:gd name="f79" fmla="val 47"/>
                  <a:gd name="f80" fmla="val 39"/>
                  <a:gd name="f81" fmla="val 33"/>
                  <a:gd name="f82" fmla="val 57"/>
                  <a:gd name="f83" fmla="val 63"/>
                  <a:gd name="f84" fmla="val 66"/>
                  <a:gd name="f85" fmla="val 22"/>
                  <a:gd name="f86" fmla="val 80"/>
                  <a:gd name="f87" fmla="val 81"/>
                  <a:gd name="f88" fmla="val 83"/>
                  <a:gd name="f89" fmla="val 34"/>
                  <a:gd name="f90" fmla="val 89"/>
                  <a:gd name="f91" fmla="val 32"/>
                  <a:gd name="f92" fmla="val 91"/>
                  <a:gd name="f93" fmla="val 88"/>
                  <a:gd name="f94" fmla="val 9"/>
                  <a:gd name="f95" fmla="val 6"/>
                  <a:gd name="f96" fmla="val 102"/>
                  <a:gd name="f97" fmla="val 3"/>
                  <a:gd name="f98" fmla="+- 0 0 -90"/>
                  <a:gd name="f99" fmla="*/ f3 1 150"/>
                  <a:gd name="f100" fmla="*/ f4 1 138"/>
                  <a:gd name="f101" fmla="+- f7 0 f5"/>
                  <a:gd name="f102" fmla="+- f6 0 f5"/>
                  <a:gd name="f103" fmla="*/ f98 f0 1"/>
                  <a:gd name="f104" fmla="*/ f102 1 150"/>
                  <a:gd name="f105" fmla="*/ f101 1 138"/>
                  <a:gd name="f106" fmla="*/ f103 1 f2"/>
                  <a:gd name="f107" fmla="*/ 113 1 f104"/>
                  <a:gd name="f108" fmla="*/ 0 1 f105"/>
                  <a:gd name="f109" fmla="*/ 112 1 f104"/>
                  <a:gd name="f110" fmla="*/ 20 1 f105"/>
                  <a:gd name="f111" fmla="*/ 118 1 f104"/>
                  <a:gd name="f112" fmla="*/ 28 1 f105"/>
                  <a:gd name="f113" fmla="*/ 125 1 f104"/>
                  <a:gd name="f114" fmla="*/ 42 1 f105"/>
                  <a:gd name="f115" fmla="*/ 119 1 f104"/>
                  <a:gd name="f116" fmla="*/ 55 1 f105"/>
                  <a:gd name="f117" fmla="*/ 114 1 f104"/>
                  <a:gd name="f118" fmla="*/ 70 1 f105"/>
                  <a:gd name="f119" fmla="*/ 117 1 f104"/>
                  <a:gd name="f120" fmla="*/ 82 1 f105"/>
                  <a:gd name="f121" fmla="*/ 127 1 f104"/>
                  <a:gd name="f122" fmla="*/ 93 1 f105"/>
                  <a:gd name="f123" fmla="*/ 142 1 f104"/>
                  <a:gd name="f124" fmla="*/ 113 1 f105"/>
                  <a:gd name="f125" fmla="*/ 124 1 f105"/>
                  <a:gd name="f126" fmla="*/ 131 1 f104"/>
                  <a:gd name="f127" fmla="*/ 128 1 f105"/>
                  <a:gd name="f128" fmla="*/ 135 1 f105"/>
                  <a:gd name="f129" fmla="*/ 138 1 f105"/>
                  <a:gd name="f130" fmla="*/ 106 1 f104"/>
                  <a:gd name="f131" fmla="*/ 131 1 f105"/>
                  <a:gd name="f132" fmla="*/ 95 1 f104"/>
                  <a:gd name="f133" fmla="*/ 118 1 f105"/>
                  <a:gd name="f134" fmla="*/ 82 1 f104"/>
                  <a:gd name="f135" fmla="*/ 120 1 f105"/>
                  <a:gd name="f136" fmla="*/ 72 1 f104"/>
                  <a:gd name="f137" fmla="*/ 126 1 f105"/>
                  <a:gd name="f138" fmla="*/ 44 1 f104"/>
                  <a:gd name="f139" fmla="*/ 127 1 f105"/>
                  <a:gd name="f140" fmla="*/ 30 1 f104"/>
                  <a:gd name="f141" fmla="*/ 121 1 f105"/>
                  <a:gd name="f142" fmla="*/ 21 1 f104"/>
                  <a:gd name="f143" fmla="*/ 105 1 f105"/>
                  <a:gd name="f144" fmla="*/ 10 1 f104"/>
                  <a:gd name="f145" fmla="*/ 84 1 f105"/>
                  <a:gd name="f146" fmla="*/ 0 1 f104"/>
                  <a:gd name="f147" fmla="*/ 8 1 f104"/>
                  <a:gd name="f148" fmla="*/ 49 1 f105"/>
                  <a:gd name="f149" fmla="*/ 17 1 f104"/>
                  <a:gd name="f150" fmla="*/ 41 1 f105"/>
                  <a:gd name="f151" fmla="*/ 23 1 f104"/>
                  <a:gd name="f152" fmla="*/ 45 1 f105"/>
                  <a:gd name="f153" fmla="*/ 27 1 f104"/>
                  <a:gd name="f154" fmla="*/ 52 1 f105"/>
                  <a:gd name="f155" fmla="*/ 31 1 f104"/>
                  <a:gd name="f156" fmla="*/ 51 1 f105"/>
                  <a:gd name="f157" fmla="*/ 39 1 f104"/>
                  <a:gd name="f158" fmla="*/ 49 1 f104"/>
                  <a:gd name="f159" fmla="*/ 33 1 f105"/>
                  <a:gd name="f160" fmla="*/ 63 1 f104"/>
                  <a:gd name="f161" fmla="*/ 30 1 f105"/>
                  <a:gd name="f162" fmla="*/ 70 1 f104"/>
                  <a:gd name="f163" fmla="*/ 22 1 f105"/>
                  <a:gd name="f164" fmla="*/ 75 1 f104"/>
                  <a:gd name="f165" fmla="*/ 80 1 f104"/>
                  <a:gd name="f166" fmla="*/ 83 1 f104"/>
                  <a:gd name="f167" fmla="*/ 27 1 f105"/>
                  <a:gd name="f168" fmla="*/ 86 1 f104"/>
                  <a:gd name="f169" fmla="*/ 34 1 f105"/>
                  <a:gd name="f170" fmla="*/ 90 1 f104"/>
                  <a:gd name="f171" fmla="*/ 32 1 f105"/>
                  <a:gd name="f172" fmla="*/ 23 1 f105"/>
                  <a:gd name="f173" fmla="*/ 88 1 f104"/>
                  <a:gd name="f174" fmla="*/ 13 1 f105"/>
                  <a:gd name="f175" fmla="*/ 93 1 f104"/>
                  <a:gd name="f176" fmla="*/ 6 1 f105"/>
                  <a:gd name="f177" fmla="*/ 109 1 f104"/>
                  <a:gd name="f178" fmla="*/ f6 1 f104"/>
                  <a:gd name="f179" fmla="*/ f7 1 f105"/>
                  <a:gd name="f180" fmla="+- f106 0 f1"/>
                  <a:gd name="f181" fmla="*/ f146 f99 1"/>
                  <a:gd name="f182" fmla="*/ f178 f99 1"/>
                  <a:gd name="f183" fmla="*/ f179 f100 1"/>
                  <a:gd name="f184" fmla="*/ f108 f100 1"/>
                  <a:gd name="f185" fmla="*/ f107 f99 1"/>
                  <a:gd name="f186" fmla="*/ f109 f99 1"/>
                  <a:gd name="f187" fmla="*/ f110 f100 1"/>
                  <a:gd name="f188" fmla="*/ f111 f99 1"/>
                  <a:gd name="f189" fmla="*/ f112 f100 1"/>
                  <a:gd name="f190" fmla="*/ f113 f99 1"/>
                  <a:gd name="f191" fmla="*/ f114 f100 1"/>
                  <a:gd name="f192" fmla="*/ f115 f99 1"/>
                  <a:gd name="f193" fmla="*/ f116 f100 1"/>
                  <a:gd name="f194" fmla="*/ f117 f99 1"/>
                  <a:gd name="f195" fmla="*/ f118 f100 1"/>
                  <a:gd name="f196" fmla="*/ f119 f99 1"/>
                  <a:gd name="f197" fmla="*/ f120 f100 1"/>
                  <a:gd name="f198" fmla="*/ f121 f99 1"/>
                  <a:gd name="f199" fmla="*/ f122 f100 1"/>
                  <a:gd name="f200" fmla="*/ f123 f99 1"/>
                  <a:gd name="f201" fmla="*/ f124 f100 1"/>
                  <a:gd name="f202" fmla="*/ f125 f100 1"/>
                  <a:gd name="f203" fmla="*/ f126 f99 1"/>
                  <a:gd name="f204" fmla="*/ f127 f100 1"/>
                  <a:gd name="f205" fmla="*/ f128 f100 1"/>
                  <a:gd name="f206" fmla="*/ f129 f100 1"/>
                  <a:gd name="f207" fmla="*/ f130 f99 1"/>
                  <a:gd name="f208" fmla="*/ f131 f100 1"/>
                  <a:gd name="f209" fmla="*/ f132 f99 1"/>
                  <a:gd name="f210" fmla="*/ f133 f100 1"/>
                  <a:gd name="f211" fmla="*/ f134 f99 1"/>
                  <a:gd name="f212" fmla="*/ f135 f100 1"/>
                  <a:gd name="f213" fmla="*/ f136 f99 1"/>
                  <a:gd name="f214" fmla="*/ f137 f100 1"/>
                  <a:gd name="f215" fmla="*/ f138 f99 1"/>
                  <a:gd name="f216" fmla="*/ f139 f100 1"/>
                  <a:gd name="f217" fmla="*/ f140 f99 1"/>
                  <a:gd name="f218" fmla="*/ f141 f100 1"/>
                  <a:gd name="f219" fmla="*/ f142 f99 1"/>
                  <a:gd name="f220" fmla="*/ f143 f100 1"/>
                  <a:gd name="f221" fmla="*/ f144 f99 1"/>
                  <a:gd name="f222" fmla="*/ f145 f100 1"/>
                  <a:gd name="f223" fmla="*/ f147 f99 1"/>
                  <a:gd name="f224" fmla="*/ f148 f100 1"/>
                  <a:gd name="f225" fmla="*/ f149 f99 1"/>
                  <a:gd name="f226" fmla="*/ f150 f100 1"/>
                  <a:gd name="f227" fmla="*/ f151 f99 1"/>
                  <a:gd name="f228" fmla="*/ f152 f100 1"/>
                  <a:gd name="f229" fmla="*/ f153 f99 1"/>
                  <a:gd name="f230" fmla="*/ f154 f100 1"/>
                  <a:gd name="f231" fmla="*/ f155 f99 1"/>
                  <a:gd name="f232" fmla="*/ f156 f100 1"/>
                  <a:gd name="f233" fmla="*/ f157 f99 1"/>
                  <a:gd name="f234" fmla="*/ f158 f99 1"/>
                  <a:gd name="f235" fmla="*/ f159 f100 1"/>
                  <a:gd name="f236" fmla="*/ f160 f99 1"/>
                  <a:gd name="f237" fmla="*/ f161 f100 1"/>
                  <a:gd name="f238" fmla="*/ f162 f99 1"/>
                  <a:gd name="f239" fmla="*/ f163 f100 1"/>
                  <a:gd name="f240" fmla="*/ f164 f99 1"/>
                  <a:gd name="f241" fmla="*/ f165 f99 1"/>
                  <a:gd name="f242" fmla="*/ f166 f99 1"/>
                  <a:gd name="f243" fmla="*/ f167 f100 1"/>
                  <a:gd name="f244" fmla="*/ f168 f99 1"/>
                  <a:gd name="f245" fmla="*/ f169 f100 1"/>
                  <a:gd name="f246" fmla="*/ f170 f99 1"/>
                  <a:gd name="f247" fmla="*/ f171 f100 1"/>
                  <a:gd name="f248" fmla="*/ f172 f100 1"/>
                  <a:gd name="f249" fmla="*/ f173 f99 1"/>
                  <a:gd name="f250" fmla="*/ f174 f100 1"/>
                  <a:gd name="f251" fmla="*/ f175 f99 1"/>
                  <a:gd name="f252" fmla="*/ f176 f100 1"/>
                  <a:gd name="f253" fmla="*/ f177 f9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80">
                    <a:pos x="f185" y="f184"/>
                  </a:cxn>
                  <a:cxn ang="f180">
                    <a:pos x="f186" y="f187"/>
                  </a:cxn>
                  <a:cxn ang="f180">
                    <a:pos x="f188" y="f189"/>
                  </a:cxn>
                  <a:cxn ang="f180">
                    <a:pos x="f190" y="f191"/>
                  </a:cxn>
                  <a:cxn ang="f180">
                    <a:pos x="f192" y="f193"/>
                  </a:cxn>
                  <a:cxn ang="f180">
                    <a:pos x="f194" y="f195"/>
                  </a:cxn>
                  <a:cxn ang="f180">
                    <a:pos x="f196" y="f197"/>
                  </a:cxn>
                  <a:cxn ang="f180">
                    <a:pos x="f198" y="f199"/>
                  </a:cxn>
                  <a:cxn ang="f180">
                    <a:pos x="f200" y="f201"/>
                  </a:cxn>
                  <a:cxn ang="f180">
                    <a:pos x="f200" y="f202"/>
                  </a:cxn>
                  <a:cxn ang="f180">
                    <a:pos x="f203" y="f204"/>
                  </a:cxn>
                  <a:cxn ang="f180">
                    <a:pos x="f198" y="f205"/>
                  </a:cxn>
                  <a:cxn ang="f180">
                    <a:pos x="f192" y="f206"/>
                  </a:cxn>
                  <a:cxn ang="f180">
                    <a:pos x="f207" y="f208"/>
                  </a:cxn>
                  <a:cxn ang="f180">
                    <a:pos x="f209" y="f210"/>
                  </a:cxn>
                  <a:cxn ang="f180">
                    <a:pos x="f211" y="f212"/>
                  </a:cxn>
                  <a:cxn ang="f180">
                    <a:pos x="f213" y="f214"/>
                  </a:cxn>
                  <a:cxn ang="f180">
                    <a:pos x="f215" y="f216"/>
                  </a:cxn>
                  <a:cxn ang="f180">
                    <a:pos x="f217" y="f218"/>
                  </a:cxn>
                  <a:cxn ang="f180">
                    <a:pos x="f219" y="f220"/>
                  </a:cxn>
                  <a:cxn ang="f180">
                    <a:pos x="f221" y="f222"/>
                  </a:cxn>
                  <a:cxn ang="f180">
                    <a:pos x="f181" y="f195"/>
                  </a:cxn>
                  <a:cxn ang="f180">
                    <a:pos x="f223" y="f224"/>
                  </a:cxn>
                  <a:cxn ang="f180">
                    <a:pos x="f225" y="f226"/>
                  </a:cxn>
                  <a:cxn ang="f180">
                    <a:pos x="f227" y="f228"/>
                  </a:cxn>
                  <a:cxn ang="f180">
                    <a:pos x="f229" y="f230"/>
                  </a:cxn>
                  <a:cxn ang="f180">
                    <a:pos x="f231" y="f232"/>
                  </a:cxn>
                  <a:cxn ang="f180">
                    <a:pos x="f233" y="f226"/>
                  </a:cxn>
                  <a:cxn ang="f180">
                    <a:pos x="f234" y="f235"/>
                  </a:cxn>
                  <a:cxn ang="f180">
                    <a:pos x="f236" y="f237"/>
                  </a:cxn>
                  <a:cxn ang="f180">
                    <a:pos x="f238" y="f239"/>
                  </a:cxn>
                  <a:cxn ang="f180">
                    <a:pos x="f240" y="f187"/>
                  </a:cxn>
                  <a:cxn ang="f180">
                    <a:pos x="f241" y="f239"/>
                  </a:cxn>
                  <a:cxn ang="f180">
                    <a:pos x="f242" y="f243"/>
                  </a:cxn>
                  <a:cxn ang="f180">
                    <a:pos x="f244" y="f245"/>
                  </a:cxn>
                  <a:cxn ang="f180">
                    <a:pos x="f246" y="f247"/>
                  </a:cxn>
                  <a:cxn ang="f180">
                    <a:pos x="f246" y="f248"/>
                  </a:cxn>
                  <a:cxn ang="f180">
                    <a:pos x="f249" y="f250"/>
                  </a:cxn>
                  <a:cxn ang="f180">
                    <a:pos x="f251" y="f252"/>
                  </a:cxn>
                  <a:cxn ang="f180">
                    <a:pos x="f253" y="f184"/>
                  </a:cxn>
                </a:cxnLst>
                <a:rect l="f181" t="f184" r="f182" b="f183"/>
                <a:pathLst>
                  <a:path w="150" h="138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18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14" y="f27"/>
                    </a:lnTo>
                    <a:lnTo>
                      <a:pt x="f14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9"/>
                    </a:lnTo>
                    <a:lnTo>
                      <a:pt x="f6" y="f38"/>
                    </a:lnTo>
                    <a:lnTo>
                      <a:pt x="f37" y="f38"/>
                    </a:lnTo>
                    <a:lnTo>
                      <a:pt x="f35" y="f20"/>
                    </a:lnTo>
                    <a:lnTo>
                      <a:pt x="f39" y="f40"/>
                    </a:lnTo>
                    <a:lnTo>
                      <a:pt x="f41" y="f39"/>
                    </a:lnTo>
                    <a:lnTo>
                      <a:pt x="f33" y="f35"/>
                    </a:lnTo>
                    <a:lnTo>
                      <a:pt x="f38" y="f42"/>
                    </a:lnTo>
                    <a:lnTo>
                      <a:pt x="f23" y="f7"/>
                    </a:lnTo>
                    <a:lnTo>
                      <a:pt x="f9" y="f43"/>
                    </a:lnTo>
                    <a:lnTo>
                      <a:pt x="f44" y="f39"/>
                    </a:lnTo>
                    <a:lnTo>
                      <a:pt x="f45" y="f18"/>
                    </a:lnTo>
                    <a:lnTo>
                      <a:pt x="f46" y="f16"/>
                    </a:lnTo>
                    <a:lnTo>
                      <a:pt x="f47" y="f25"/>
                    </a:lnTo>
                    <a:lnTo>
                      <a:pt x="f30" y="f48"/>
                    </a:lnTo>
                    <a:lnTo>
                      <a:pt x="f49" y="f18"/>
                    </a:lnTo>
                    <a:lnTo>
                      <a:pt x="f50" y="f51"/>
                    </a:lnTo>
                    <a:lnTo>
                      <a:pt x="f52" y="f33"/>
                    </a:lnTo>
                    <a:lnTo>
                      <a:pt x="f53" y="f33"/>
                    </a:lnTo>
                    <a:lnTo>
                      <a:pt x="f54" y="f20"/>
                    </a:lnTo>
                    <a:lnTo>
                      <a:pt x="f55" y="f31"/>
                    </a:lnTo>
                    <a:lnTo>
                      <a:pt x="f56" y="f14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5" y="f27"/>
                    </a:lnTo>
                    <a:lnTo>
                      <a:pt x="f63" y="f65"/>
                    </a:lnTo>
                    <a:lnTo>
                      <a:pt x="f66" y="f22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13" y="f21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6"/>
                    </a:lnTo>
                    <a:lnTo>
                      <a:pt x="f78" y="f74"/>
                    </a:lnTo>
                    <a:lnTo>
                      <a:pt x="f19" y="f79"/>
                    </a:lnTo>
                    <a:lnTo>
                      <a:pt x="f80" y="f70"/>
                    </a:lnTo>
                    <a:lnTo>
                      <a:pt x="f53" y="f54"/>
                    </a:lnTo>
                    <a:lnTo>
                      <a:pt x="f22" y="f81"/>
                    </a:lnTo>
                    <a:lnTo>
                      <a:pt x="f82" y="f78"/>
                    </a:lnTo>
                    <a:lnTo>
                      <a:pt x="f83" y="f55"/>
                    </a:lnTo>
                    <a:lnTo>
                      <a:pt x="f84" y="f17"/>
                    </a:lnTo>
                    <a:lnTo>
                      <a:pt x="f27" y="f85"/>
                    </a:lnTo>
                    <a:lnTo>
                      <a:pt x="f50" y="f13"/>
                    </a:lnTo>
                    <a:lnTo>
                      <a:pt x="f64" y="f13"/>
                    </a:lnTo>
                    <a:lnTo>
                      <a:pt x="f28" y="f57"/>
                    </a:lnTo>
                    <a:lnTo>
                      <a:pt x="f86" y="f85"/>
                    </a:lnTo>
                    <a:lnTo>
                      <a:pt x="f87" y="f56"/>
                    </a:lnTo>
                    <a:lnTo>
                      <a:pt x="f88" y="f75"/>
                    </a:lnTo>
                    <a:lnTo>
                      <a:pt x="f62" y="f55"/>
                    </a:lnTo>
                    <a:lnTo>
                      <a:pt x="f32" y="f89"/>
                    </a:lnTo>
                    <a:lnTo>
                      <a:pt x="f90" y="f89"/>
                    </a:lnTo>
                    <a:lnTo>
                      <a:pt x="f47" y="f91"/>
                    </a:lnTo>
                    <a:lnTo>
                      <a:pt x="f92" y="f17"/>
                    </a:lnTo>
                    <a:lnTo>
                      <a:pt x="f47" y="f71"/>
                    </a:lnTo>
                    <a:lnTo>
                      <a:pt x="f93" y="f69"/>
                    </a:lnTo>
                    <a:lnTo>
                      <a:pt x="f93" y="f67"/>
                    </a:lnTo>
                    <a:lnTo>
                      <a:pt x="f90" y="f94"/>
                    </a:lnTo>
                    <a:lnTo>
                      <a:pt x="f34" y="f95"/>
                    </a:lnTo>
                    <a:lnTo>
                      <a:pt x="f96" y="f97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9D440F2A-90F5-48D5-8A2D-751F52148133}"/>
                  </a:ext>
                </a:extLst>
              </p:cNvPr>
              <p:cNvSpPr/>
              <p:nvPr/>
            </p:nvSpPr>
            <p:spPr>
              <a:xfrm rot="21447621">
                <a:off x="4544257" y="1001936"/>
                <a:ext cx="343274" cy="346283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605"/>
                  <a:gd name="f8" fmla="val 644"/>
                  <a:gd name="f9" fmla="val 53"/>
                  <a:gd name="f10" fmla="val 62"/>
                  <a:gd name="f11" fmla="val 70"/>
                  <a:gd name="f12" fmla="val 2"/>
                  <a:gd name="f13" fmla="val 78"/>
                  <a:gd name="f14" fmla="val 6"/>
                  <a:gd name="f15" fmla="val 87"/>
                  <a:gd name="f16" fmla="val 10"/>
                  <a:gd name="f17" fmla="val 97"/>
                  <a:gd name="f18" fmla="val 15"/>
                  <a:gd name="f19" fmla="val 111"/>
                  <a:gd name="f20" fmla="val 19"/>
                  <a:gd name="f21" fmla="val 126"/>
                  <a:gd name="f22" fmla="val 21"/>
                  <a:gd name="f23" fmla="val 147"/>
                  <a:gd name="f24" fmla="val 153"/>
                  <a:gd name="f25" fmla="val 23"/>
                  <a:gd name="f26" fmla="val 155"/>
                  <a:gd name="f27" fmla="val 27"/>
                  <a:gd name="f28" fmla="val 33"/>
                  <a:gd name="f29" fmla="val 154"/>
                  <a:gd name="f30" fmla="val 39"/>
                  <a:gd name="f31" fmla="val 44"/>
                  <a:gd name="f32" fmla="val 158"/>
                  <a:gd name="f33" fmla="val 48"/>
                  <a:gd name="f34" fmla="val 164"/>
                  <a:gd name="f35" fmla="val 49"/>
                  <a:gd name="f36" fmla="val 174"/>
                  <a:gd name="f37" fmla="val 47"/>
                  <a:gd name="f38" fmla="val 184"/>
                  <a:gd name="f39" fmla="val 192"/>
                  <a:gd name="f40" fmla="val 41"/>
                  <a:gd name="f41" fmla="val 197"/>
                  <a:gd name="f42" fmla="val 37"/>
                  <a:gd name="f43" fmla="val 201"/>
                  <a:gd name="f44" fmla="val 35"/>
                  <a:gd name="f45" fmla="val 207"/>
                  <a:gd name="f46" fmla="val 213"/>
                  <a:gd name="f47" fmla="val 32"/>
                  <a:gd name="f48" fmla="val 212"/>
                  <a:gd name="f49" fmla="val 34"/>
                  <a:gd name="f50" fmla="val 210"/>
                  <a:gd name="f51" fmla="val 38"/>
                  <a:gd name="f52" fmla="val 211"/>
                  <a:gd name="f53" fmla="val 40"/>
                  <a:gd name="f54" fmla="val 220"/>
                  <a:gd name="f55" fmla="val 227"/>
                  <a:gd name="f56" fmla="val 233"/>
                  <a:gd name="f57" fmla="val 29"/>
                  <a:gd name="f58" fmla="val 237"/>
                  <a:gd name="f59" fmla="val 240"/>
                  <a:gd name="f60" fmla="val 28"/>
                  <a:gd name="f61" fmla="val 242"/>
                  <a:gd name="f62" fmla="val 246"/>
                  <a:gd name="f63" fmla="val 250"/>
                  <a:gd name="f64" fmla="val 42"/>
                  <a:gd name="f65" fmla="val 255"/>
                  <a:gd name="f66" fmla="val 260"/>
                  <a:gd name="f67" fmla="val 266"/>
                  <a:gd name="f68" fmla="val 43"/>
                  <a:gd name="f69" fmla="val 273"/>
                  <a:gd name="f70" fmla="val 45"/>
                  <a:gd name="f71" fmla="val 279"/>
                  <a:gd name="f72" fmla="val 283"/>
                  <a:gd name="f73" fmla="val 54"/>
                  <a:gd name="f74" fmla="val 291"/>
                  <a:gd name="f75" fmla="val 66"/>
                  <a:gd name="f76" fmla="val 296"/>
                  <a:gd name="f77" fmla="val 69"/>
                  <a:gd name="f78" fmla="val 302"/>
                  <a:gd name="f79" fmla="val 307"/>
                  <a:gd name="f80" fmla="val 67"/>
                  <a:gd name="f81" fmla="val 311"/>
                  <a:gd name="f82" fmla="val 63"/>
                  <a:gd name="f83" fmla="val 314"/>
                  <a:gd name="f84" fmla="val 58"/>
                  <a:gd name="f85" fmla="val 316"/>
                  <a:gd name="f86" fmla="val 319"/>
                  <a:gd name="f87" fmla="val 324"/>
                  <a:gd name="f88" fmla="val 56"/>
                  <a:gd name="f89" fmla="val 329"/>
                  <a:gd name="f90" fmla="val 337"/>
                  <a:gd name="f91" fmla="val 77"/>
                  <a:gd name="f92" fmla="val 339"/>
                  <a:gd name="f93" fmla="val 82"/>
                  <a:gd name="f94" fmla="val 341"/>
                  <a:gd name="f95" fmla="val 88"/>
                  <a:gd name="f96" fmla="val 342"/>
                  <a:gd name="f97" fmla="val 92"/>
                  <a:gd name="f98" fmla="val 340"/>
                  <a:gd name="f99" fmla="val 94"/>
                  <a:gd name="f100" fmla="val 336"/>
                  <a:gd name="f101" fmla="val 95"/>
                  <a:gd name="f102" fmla="val 330"/>
                  <a:gd name="f103" fmla="val 96"/>
                  <a:gd name="f104" fmla="val 325"/>
                  <a:gd name="f105" fmla="val 98"/>
                  <a:gd name="f106" fmla="val 323"/>
                  <a:gd name="f107" fmla="val 99"/>
                  <a:gd name="f108" fmla="val 100"/>
                  <a:gd name="f109" fmla="val 331"/>
                  <a:gd name="f110" fmla="val 101"/>
                  <a:gd name="f111" fmla="val 104"/>
                  <a:gd name="f112" fmla="val 344"/>
                  <a:gd name="f113" fmla="val 109"/>
                  <a:gd name="f114" fmla="val 115"/>
                  <a:gd name="f115" fmla="val 345"/>
                  <a:gd name="f116" fmla="val 125"/>
                  <a:gd name="f117" fmla="val 136"/>
                  <a:gd name="f118" fmla="val 156"/>
                  <a:gd name="f119" fmla="val 338"/>
                  <a:gd name="f120" fmla="val 163"/>
                  <a:gd name="f121" fmla="val 315"/>
                  <a:gd name="f122" fmla="val 178"/>
                  <a:gd name="f123" fmla="val 310"/>
                  <a:gd name="f124" fmla="val 182"/>
                  <a:gd name="f125" fmla="val 186"/>
                  <a:gd name="f126" fmla="val 188"/>
                  <a:gd name="f127" fmla="val 181"/>
                  <a:gd name="f128" fmla="val 353"/>
                  <a:gd name="f129" fmla="val 177"/>
                  <a:gd name="f130" fmla="val 363"/>
                  <a:gd name="f131" fmla="val 176"/>
                  <a:gd name="f132" fmla="val 373"/>
                  <a:gd name="f133" fmla="val 179"/>
                  <a:gd name="f134" fmla="val 380"/>
                  <a:gd name="f135" fmla="val 383"/>
                  <a:gd name="f136" fmla="val 189"/>
                  <a:gd name="f137" fmla="val 384"/>
                  <a:gd name="f138" fmla="val 193"/>
                  <a:gd name="f139" fmla="val 195"/>
                  <a:gd name="f140" fmla="val 198"/>
                  <a:gd name="f141" fmla="val 386"/>
                  <a:gd name="f142" fmla="val 202"/>
                  <a:gd name="f143" fmla="val 387"/>
                  <a:gd name="f144" fmla="val 385"/>
                  <a:gd name="f145" fmla="val 214"/>
                  <a:gd name="f146" fmla="val 217"/>
                  <a:gd name="f147" fmla="val 381"/>
                  <a:gd name="f148" fmla="val 219"/>
                  <a:gd name="f149" fmla="val 378"/>
                  <a:gd name="f150" fmla="val 222"/>
                  <a:gd name="f151" fmla="val 232"/>
                  <a:gd name="f152" fmla="val 376"/>
                  <a:gd name="f153" fmla="val 244"/>
                  <a:gd name="f154" fmla="val 247"/>
                  <a:gd name="f155" fmla="val 241"/>
                  <a:gd name="f156" fmla="val 389"/>
                  <a:gd name="f157" fmla="val 394"/>
                  <a:gd name="f158" fmla="val 399"/>
                  <a:gd name="f159" fmla="val 209"/>
                  <a:gd name="f160" fmla="val 405"/>
                  <a:gd name="f161" fmla="val 205"/>
                  <a:gd name="f162" fmla="val 412"/>
                  <a:gd name="f163" fmla="val 200"/>
                  <a:gd name="f164" fmla="val 419"/>
                  <a:gd name="f165" fmla="val 425"/>
                  <a:gd name="f166" fmla="val 199"/>
                  <a:gd name="f167" fmla="val 432"/>
                  <a:gd name="f168" fmla="val 204"/>
                  <a:gd name="f169" fmla="val 443"/>
                  <a:gd name="f170" fmla="val 454"/>
                  <a:gd name="f171" fmla="val 463"/>
                  <a:gd name="f172" fmla="val 473"/>
                  <a:gd name="f173" fmla="val 226"/>
                  <a:gd name="f174" fmla="val 481"/>
                  <a:gd name="f175" fmla="val 230"/>
                  <a:gd name="f176" fmla="val 488"/>
                  <a:gd name="f177" fmla="val 235"/>
                  <a:gd name="f178" fmla="val 493"/>
                  <a:gd name="f179" fmla="val 238"/>
                  <a:gd name="f180" fmla="val 496"/>
                  <a:gd name="f181" fmla="val 502"/>
                  <a:gd name="f182" fmla="val 509"/>
                  <a:gd name="f183" fmla="val 251"/>
                  <a:gd name="f184" fmla="val 518"/>
                  <a:gd name="f185" fmla="val 524"/>
                  <a:gd name="f186" fmla="val 248"/>
                  <a:gd name="f187" fmla="val 532"/>
                  <a:gd name="f188" fmla="val 243"/>
                  <a:gd name="f189" fmla="val 541"/>
                  <a:gd name="f190" fmla="val 236"/>
                  <a:gd name="f191" fmla="val 549"/>
                  <a:gd name="f192" fmla="val 556"/>
                  <a:gd name="f193" fmla="val 224"/>
                  <a:gd name="f194" fmla="val 561"/>
                  <a:gd name="f195" fmla="val 569"/>
                  <a:gd name="f196" fmla="val 578"/>
                  <a:gd name="f197" fmla="val 587"/>
                  <a:gd name="f198" fmla="val 223"/>
                  <a:gd name="f199" fmla="val 592"/>
                  <a:gd name="f200" fmla="val 595"/>
                  <a:gd name="f201" fmla="val 225"/>
                  <a:gd name="f202" fmla="val 597"/>
                  <a:gd name="f203" fmla="val 599"/>
                  <a:gd name="f204" fmla="val 600"/>
                  <a:gd name="f205" fmla="val 601"/>
                  <a:gd name="f206" fmla="val 603"/>
                  <a:gd name="f207" fmla="val 261"/>
                  <a:gd name="f208" fmla="val 604"/>
                  <a:gd name="f209" fmla="val 284"/>
                  <a:gd name="f210" fmla="val 292"/>
                  <a:gd name="f211" fmla="val 297"/>
                  <a:gd name="f212" fmla="val 322"/>
                  <a:gd name="f213" fmla="val 570"/>
                  <a:gd name="f214" fmla="val 562"/>
                  <a:gd name="f215" fmla="val 552"/>
                  <a:gd name="f216" fmla="val 343"/>
                  <a:gd name="f217" fmla="val 546"/>
                  <a:gd name="f218" fmla="val 540"/>
                  <a:gd name="f219" fmla="val 534"/>
                  <a:gd name="f220" fmla="val 531"/>
                  <a:gd name="f221" fmla="val 348"/>
                  <a:gd name="f222" fmla="val 527"/>
                  <a:gd name="f223" fmla="val 358"/>
                  <a:gd name="f224" fmla="val 522"/>
                  <a:gd name="f225" fmla="val 366"/>
                  <a:gd name="f226" fmla="val 523"/>
                  <a:gd name="f227" fmla="val 369"/>
                  <a:gd name="f228" fmla="val 377"/>
                  <a:gd name="f229" fmla="val 536"/>
                  <a:gd name="f230" fmla="val 382"/>
                  <a:gd name="f231" fmla="val 544"/>
                  <a:gd name="f232" fmla="val 547"/>
                  <a:gd name="f233" fmla="val 551"/>
                  <a:gd name="f234" fmla="val 555"/>
                  <a:gd name="f235" fmla="val 392"/>
                  <a:gd name="f236" fmla="val 558"/>
                  <a:gd name="f237" fmla="val 393"/>
                  <a:gd name="f238" fmla="val 402"/>
                  <a:gd name="f239" fmla="val 559"/>
                  <a:gd name="f240" fmla="val 410"/>
                  <a:gd name="f241" fmla="val 415"/>
                  <a:gd name="f242" fmla="val 417"/>
                  <a:gd name="f243" fmla="val 550"/>
                  <a:gd name="f244" fmla="val 543"/>
                  <a:gd name="f245" fmla="val 422"/>
                  <a:gd name="f246" fmla="val 433"/>
                  <a:gd name="f247" fmla="val 530"/>
                  <a:gd name="f248" fmla="val 438"/>
                  <a:gd name="f249" fmla="val 449"/>
                  <a:gd name="f250" fmla="val 528"/>
                  <a:gd name="f251" fmla="val 462"/>
                  <a:gd name="f252" fmla="val 477"/>
                  <a:gd name="f253" fmla="val 483"/>
                  <a:gd name="f254" fmla="val 525"/>
                  <a:gd name="f255" fmla="val 487"/>
                  <a:gd name="f256" fmla="val 491"/>
                  <a:gd name="f257" fmla="val 494"/>
                  <a:gd name="f258" fmla="val 500"/>
                  <a:gd name="f259" fmla="val 504"/>
                  <a:gd name="f260" fmla="val 564"/>
                  <a:gd name="f261" fmla="val 506"/>
                  <a:gd name="f262" fmla="val 508"/>
                  <a:gd name="f263" fmla="val 573"/>
                  <a:gd name="f264" fmla="val 512"/>
                  <a:gd name="f265" fmla="val 574"/>
                  <a:gd name="f266" fmla="val 517"/>
                  <a:gd name="f267" fmla="val 571"/>
                  <a:gd name="f268" fmla="val 572"/>
                  <a:gd name="f269" fmla="val 548"/>
                  <a:gd name="f270" fmla="val 553"/>
                  <a:gd name="f271" fmla="val 560"/>
                  <a:gd name="f272" fmla="val 567"/>
                  <a:gd name="f273" fmla="val 565"/>
                  <a:gd name="f274" fmla="val 563"/>
                  <a:gd name="f275" fmla="val 542"/>
                  <a:gd name="f276" fmla="val 538"/>
                  <a:gd name="f277" fmla="val 581"/>
                  <a:gd name="f278" fmla="val 533"/>
                  <a:gd name="f279" fmla="val 590"/>
                  <a:gd name="f280" fmla="val 529"/>
                  <a:gd name="f281" fmla="val 596"/>
                  <a:gd name="f282" fmla="val 514"/>
                  <a:gd name="f283" fmla="val 602"/>
                  <a:gd name="f284" fmla="val 499"/>
                  <a:gd name="f285" fmla="val 608"/>
                  <a:gd name="f286" fmla="val 497"/>
                  <a:gd name="f287" fmla="val 613"/>
                  <a:gd name="f288" fmla="val 495"/>
                  <a:gd name="f289" fmla="val 621"/>
                  <a:gd name="f290" fmla="val 631"/>
                  <a:gd name="f291" fmla="val 480"/>
                  <a:gd name="f292" fmla="val 642"/>
                  <a:gd name="f293" fmla="val 464"/>
                  <a:gd name="f294" fmla="val 638"/>
                  <a:gd name="f295" fmla="val 633"/>
                  <a:gd name="f296" fmla="val 444"/>
                  <a:gd name="f297" fmla="val 629"/>
                  <a:gd name="f298" fmla="val 436"/>
                  <a:gd name="f299" fmla="val 624"/>
                  <a:gd name="f300" fmla="val 430"/>
                  <a:gd name="f301" fmla="val 619"/>
                  <a:gd name="f302" fmla="val 414"/>
                  <a:gd name="f303" fmla="val 407"/>
                  <a:gd name="f304" fmla="val 598"/>
                  <a:gd name="f305" fmla="val 588"/>
                  <a:gd name="f306" fmla="val 577"/>
                  <a:gd name="f307" fmla="val 388"/>
                  <a:gd name="f308" fmla="val 557"/>
                  <a:gd name="f309" fmla="val 391"/>
                  <a:gd name="f310" fmla="val 395"/>
                  <a:gd name="f311" fmla="val 397"/>
                  <a:gd name="f312" fmla="val 537"/>
                  <a:gd name="f313" fmla="val 390"/>
                  <a:gd name="f314" fmla="val 519"/>
                  <a:gd name="f315" fmla="val 515"/>
                  <a:gd name="f316" fmla="val 374"/>
                  <a:gd name="f317" fmla="val 498"/>
                  <a:gd name="f318" fmla="val 365"/>
                  <a:gd name="f319" fmla="val 501"/>
                  <a:gd name="f320" fmla="val 361"/>
                  <a:gd name="f321" fmla="val 362"/>
                  <a:gd name="f322" fmla="val 356"/>
                  <a:gd name="f323" fmla="val 355"/>
                  <a:gd name="f324" fmla="val 520"/>
                  <a:gd name="f325" fmla="val 352"/>
                  <a:gd name="f326" fmla="val 349"/>
                  <a:gd name="f327" fmla="val 516"/>
                  <a:gd name="f328" fmla="val 347"/>
                  <a:gd name="f329" fmla="val 335"/>
                  <a:gd name="f330" fmla="val 526"/>
                  <a:gd name="f331" fmla="val 321"/>
                  <a:gd name="f332" fmla="val 303"/>
                  <a:gd name="f333" fmla="val 301"/>
                  <a:gd name="f334" fmla="val 299"/>
                  <a:gd name="f335" fmla="val 298"/>
                  <a:gd name="f336" fmla="val 295"/>
                  <a:gd name="f337" fmla="val 289"/>
                  <a:gd name="f338" fmla="val 285"/>
                  <a:gd name="f339" fmla="val 280"/>
                  <a:gd name="f340" fmla="val 276"/>
                  <a:gd name="f341" fmla="val 554"/>
                  <a:gd name="f342" fmla="val 272"/>
                  <a:gd name="f343" fmla="val 271"/>
                  <a:gd name="f344" fmla="val 259"/>
                  <a:gd name="f345" fmla="val 228"/>
                  <a:gd name="f346" fmla="val 535"/>
                  <a:gd name="f347" fmla="val 196"/>
                  <a:gd name="f348" fmla="val 482"/>
                  <a:gd name="f349" fmla="val 194"/>
                  <a:gd name="f350" fmla="val 474"/>
                  <a:gd name="f351" fmla="val 190"/>
                  <a:gd name="f352" fmla="val 465"/>
                  <a:gd name="f353" fmla="val 185"/>
                  <a:gd name="f354" fmla="val 445"/>
                  <a:gd name="f355" fmla="val 172"/>
                  <a:gd name="f356" fmla="val 439"/>
                  <a:gd name="f357" fmla="val 434"/>
                  <a:gd name="f358" fmla="val 429"/>
                  <a:gd name="f359" fmla="val 144"/>
                  <a:gd name="f360" fmla="val 135"/>
                  <a:gd name="f361" fmla="val 116"/>
                  <a:gd name="f362" fmla="val 107"/>
                  <a:gd name="f363" fmla="val 421"/>
                  <a:gd name="f364" fmla="val 93"/>
                  <a:gd name="f365" fmla="val 80"/>
                  <a:gd name="f366" fmla="val 72"/>
                  <a:gd name="f367" fmla="val 403"/>
                  <a:gd name="f368" fmla="val 57"/>
                  <a:gd name="f369" fmla="val 367"/>
                  <a:gd name="f370" fmla="val 60"/>
                  <a:gd name="f371" fmla="val 65"/>
                  <a:gd name="f372" fmla="val 71"/>
                  <a:gd name="f373" fmla="val 364"/>
                  <a:gd name="f374" fmla="val 85"/>
                  <a:gd name="f375" fmla="val 91"/>
                  <a:gd name="f376" fmla="val 333"/>
                  <a:gd name="f377" fmla="val 318"/>
                  <a:gd name="f378" fmla="val 79"/>
                  <a:gd name="f379" fmla="val 317"/>
                  <a:gd name="f380" fmla="val 73"/>
                  <a:gd name="f381" fmla="val 59"/>
                  <a:gd name="f382" fmla="val 52"/>
                  <a:gd name="f383" fmla="val 305"/>
                  <a:gd name="f384" fmla="val 55"/>
                  <a:gd name="f385" fmla="val 290"/>
                  <a:gd name="f386" fmla="val 61"/>
                  <a:gd name="f387" fmla="val 274"/>
                  <a:gd name="f388" fmla="val 64"/>
                  <a:gd name="f389" fmla="val 269"/>
                  <a:gd name="f390" fmla="val 76"/>
                  <a:gd name="f391" fmla="val 265"/>
                  <a:gd name="f392" fmla="val 257"/>
                  <a:gd name="f393" fmla="val 252"/>
                  <a:gd name="f394" fmla="val 84"/>
                  <a:gd name="f395" fmla="val 249"/>
                  <a:gd name="f396" fmla="val 253"/>
                  <a:gd name="f397" fmla="val 258"/>
                  <a:gd name="f398" fmla="val 30"/>
                  <a:gd name="f399" fmla="val 25"/>
                  <a:gd name="f400" fmla="val 262"/>
                  <a:gd name="f401" fmla="val 264"/>
                  <a:gd name="f402" fmla="val 14"/>
                  <a:gd name="f403" fmla="val 7"/>
                  <a:gd name="f404" fmla="val 4"/>
                  <a:gd name="f405" fmla="val 3"/>
                  <a:gd name="f406" fmla="val 231"/>
                  <a:gd name="f407" fmla="val 8"/>
                  <a:gd name="f408" fmla="val 18"/>
                  <a:gd name="f409" fmla="val 20"/>
                  <a:gd name="f410" fmla="val 221"/>
                  <a:gd name="f411" fmla="val 17"/>
                  <a:gd name="f412" fmla="val 12"/>
                  <a:gd name="f413" fmla="val 11"/>
                  <a:gd name="f414" fmla="val 215"/>
                  <a:gd name="f415" fmla="val 50"/>
                  <a:gd name="f416" fmla="val 83"/>
                  <a:gd name="f417" fmla="val 102"/>
                  <a:gd name="f418" fmla="val 105"/>
                  <a:gd name="f419" fmla="val 175"/>
                  <a:gd name="f420" fmla="val 166"/>
                  <a:gd name="f421" fmla="val 90"/>
                  <a:gd name="f422" fmla="val 152"/>
                  <a:gd name="f423" fmla="val 143"/>
                  <a:gd name="f424" fmla="val 129"/>
                  <a:gd name="f425" fmla="val 124"/>
                  <a:gd name="f426" fmla="val 121"/>
                  <a:gd name="f427" fmla="val 118"/>
                  <a:gd name="f428" fmla="val 113"/>
                  <a:gd name="f429" fmla="val 81"/>
                  <a:gd name="f430" fmla="val 26"/>
                  <a:gd name="f431" fmla="val 16"/>
                  <a:gd name="f432" fmla="val 22"/>
                  <a:gd name="f433" fmla="val 24"/>
                  <a:gd name="f434" fmla="+- 0 0 -90"/>
                  <a:gd name="f435" fmla="*/ f4 1 605"/>
                  <a:gd name="f436" fmla="*/ f5 1 644"/>
                  <a:gd name="f437" fmla="+- f8 0 f6"/>
                  <a:gd name="f438" fmla="+- f7 0 f6"/>
                  <a:gd name="f439" fmla="*/ f434 f0 1"/>
                  <a:gd name="f440" fmla="*/ f438 1 605"/>
                  <a:gd name="f441" fmla="*/ f437 1 644"/>
                  <a:gd name="f442" fmla="*/ f439 1 f3"/>
                  <a:gd name="f443" fmla="*/ 111 1 f440"/>
                  <a:gd name="f444" fmla="*/ 19 1 f441"/>
                  <a:gd name="f445" fmla="*/ 155 1 f440"/>
                  <a:gd name="f446" fmla="*/ 44 1 f441"/>
                  <a:gd name="f447" fmla="*/ 201 1 f440"/>
                  <a:gd name="f448" fmla="*/ 35 1 f441"/>
                  <a:gd name="f449" fmla="*/ 213 1 f440"/>
                  <a:gd name="f450" fmla="*/ 40 1 f441"/>
                  <a:gd name="f451" fmla="*/ 246 1 f440"/>
                  <a:gd name="f452" fmla="*/ 38 1 f441"/>
                  <a:gd name="f453" fmla="*/ 283 1 f440"/>
                  <a:gd name="f454" fmla="*/ 54 1 f441"/>
                  <a:gd name="f455" fmla="*/ 316 1 f440"/>
                  <a:gd name="f456" fmla="*/ 342 1 f440"/>
                  <a:gd name="f457" fmla="*/ 92 1 f441"/>
                  <a:gd name="f458" fmla="*/ 331 1 f440"/>
                  <a:gd name="f459" fmla="*/ 100 1 f441"/>
                  <a:gd name="f460" fmla="*/ 344 1 f440"/>
                  <a:gd name="f461" fmla="*/ 147 1 f441"/>
                  <a:gd name="f462" fmla="*/ 323 1 f440"/>
                  <a:gd name="f463" fmla="*/ 188 1 f441"/>
                  <a:gd name="f464" fmla="*/ 380 1 f440"/>
                  <a:gd name="f465" fmla="*/ 184 1 f441"/>
                  <a:gd name="f466" fmla="*/ 385 1 f440"/>
                  <a:gd name="f467" fmla="*/ 214 1 f441"/>
                  <a:gd name="f468" fmla="*/ 376 1 f440"/>
                  <a:gd name="f469" fmla="*/ 247 1 f441"/>
                  <a:gd name="f470" fmla="*/ 405 1 f440"/>
                  <a:gd name="f471" fmla="*/ 205 1 f441"/>
                  <a:gd name="f472" fmla="*/ 463 1 f440"/>
                  <a:gd name="f473" fmla="*/ 222 1 f441"/>
                  <a:gd name="f474" fmla="*/ 509 1 f440"/>
                  <a:gd name="f475" fmla="*/ 251 1 f441"/>
                  <a:gd name="f476" fmla="*/ 561 1 f440"/>
                  <a:gd name="f477" fmla="*/ 220 1 f441"/>
                  <a:gd name="f478" fmla="*/ 599 1 f440"/>
                  <a:gd name="f479" fmla="*/ 232 1 f441"/>
                  <a:gd name="f480" fmla="*/ 604 1 f440"/>
                  <a:gd name="f481" fmla="*/ 292 1 f441"/>
                  <a:gd name="f482" fmla="*/ 552 1 f440"/>
                  <a:gd name="f483" fmla="*/ 343 1 f441"/>
                  <a:gd name="f484" fmla="*/ 522 1 f440"/>
                  <a:gd name="f485" fmla="*/ 363 1 f441"/>
                  <a:gd name="f486" fmla="*/ 547 1 f440"/>
                  <a:gd name="f487" fmla="*/ 381 1 f441"/>
                  <a:gd name="f488" fmla="*/ 558 1 f440"/>
                  <a:gd name="f489" fmla="*/ 402 1 f441"/>
                  <a:gd name="f490" fmla="*/ 530 1 f440"/>
                  <a:gd name="f491" fmla="*/ 438 1 f441"/>
                  <a:gd name="f492" fmla="*/ 534 1 f440"/>
                  <a:gd name="f493" fmla="*/ 494 1 f441"/>
                  <a:gd name="f494" fmla="*/ 574 1 f440"/>
                  <a:gd name="f495" fmla="*/ 523 1 f441"/>
                  <a:gd name="f496" fmla="*/ 567 1 f440"/>
                  <a:gd name="f497" fmla="*/ 564 1 f441"/>
                  <a:gd name="f498" fmla="*/ 538 1 f440"/>
                  <a:gd name="f499" fmla="*/ 581 1 f441"/>
                  <a:gd name="f500" fmla="*/ 497 1 f440"/>
                  <a:gd name="f501" fmla="*/ 613 1 f441"/>
                  <a:gd name="f502" fmla="*/ 454 1 f440"/>
                  <a:gd name="f503" fmla="*/ 633 1 f441"/>
                  <a:gd name="f504" fmla="*/ 399 1 f440"/>
                  <a:gd name="f505" fmla="*/ 588 1 f441"/>
                  <a:gd name="f506" fmla="*/ 395 1 f440"/>
                  <a:gd name="f507" fmla="*/ 544 1 f441"/>
                  <a:gd name="f508" fmla="*/ 495 1 f441"/>
                  <a:gd name="f509" fmla="*/ 362 1 f440"/>
                  <a:gd name="f510" fmla="*/ 518 1 f441"/>
                  <a:gd name="f511" fmla="*/ 353 1 f440"/>
                  <a:gd name="f512" fmla="*/ 520 1 f441"/>
                  <a:gd name="f513" fmla="*/ 335 1 f440"/>
                  <a:gd name="f514" fmla="*/ 525 1 f441"/>
                  <a:gd name="f515" fmla="*/ 301 1 f440"/>
                  <a:gd name="f516" fmla="*/ 547 1 f441"/>
                  <a:gd name="f517" fmla="*/ 280 1 f440"/>
                  <a:gd name="f518" fmla="*/ 233 1 f440"/>
                  <a:gd name="f519" fmla="*/ 540 1 f441"/>
                  <a:gd name="f520" fmla="*/ 194 1 f440"/>
                  <a:gd name="f521" fmla="*/ 474 1 f441"/>
                  <a:gd name="f522" fmla="*/ 144 1 f440"/>
                  <a:gd name="f523" fmla="*/ 425 1 f441"/>
                  <a:gd name="f524" fmla="*/ 72 1 f440"/>
                  <a:gd name="f525" fmla="*/ 403 1 f441"/>
                  <a:gd name="f526" fmla="*/ 78 1 f440"/>
                  <a:gd name="f527" fmla="*/ 364 1 f441"/>
                  <a:gd name="f528" fmla="*/ 100 1 f440"/>
                  <a:gd name="f529" fmla="*/ 342 1 f441"/>
                  <a:gd name="f530" fmla="*/ 67 1 f440"/>
                  <a:gd name="f531" fmla="*/ 322 1 f441"/>
                  <a:gd name="f532" fmla="*/ 61 1 f440"/>
                  <a:gd name="f533" fmla="*/ 284 1 f441"/>
                  <a:gd name="f534" fmla="*/ 87 1 f440"/>
                  <a:gd name="f535" fmla="*/ 257 1 f441"/>
                  <a:gd name="f536" fmla="*/ 52 1 f440"/>
                  <a:gd name="f537" fmla="*/ 259 1 f441"/>
                  <a:gd name="f538" fmla="*/ 14 1 f440"/>
                  <a:gd name="f539" fmla="*/ 265 1 f441"/>
                  <a:gd name="f540" fmla="*/ 3 1 f440"/>
                  <a:gd name="f541" fmla="*/ 231 1 f441"/>
                  <a:gd name="f542" fmla="*/ 18 1 f440"/>
                  <a:gd name="f543" fmla="*/ 221 1 f441"/>
                  <a:gd name="f544" fmla="*/ 10 1 f440"/>
                  <a:gd name="f545" fmla="*/ 215 1 f441"/>
                  <a:gd name="f546" fmla="*/ 50 1 f440"/>
                  <a:gd name="f547" fmla="*/ 207 1 f441"/>
                  <a:gd name="f548" fmla="*/ 98 1 f440"/>
                  <a:gd name="f549" fmla="*/ 80 1 f440"/>
                  <a:gd name="f550" fmla="*/ 143 1 f441"/>
                  <a:gd name="f551" fmla="*/ 58 1 f440"/>
                  <a:gd name="f552" fmla="*/ 105 1 f441"/>
                  <a:gd name="f553" fmla="*/ 26 1 f440"/>
                  <a:gd name="f554" fmla="*/ 66 1 f441"/>
                  <a:gd name="f555" fmla="*/ 27 1 f440"/>
                  <a:gd name="f556" fmla="*/ 6 1 f441"/>
                  <a:gd name="f557" fmla="*/ 0 1 f440"/>
                  <a:gd name="f558" fmla="*/ f7 1 f440"/>
                  <a:gd name="f559" fmla="*/ 0 1 f441"/>
                  <a:gd name="f560" fmla="*/ f8 1 f441"/>
                  <a:gd name="f561" fmla="+- f442 0 f1"/>
                  <a:gd name="f562" fmla="*/ f557 f435 1"/>
                  <a:gd name="f563" fmla="*/ f558 f435 1"/>
                  <a:gd name="f564" fmla="*/ f560 f436 1"/>
                  <a:gd name="f565" fmla="*/ f559 f436 1"/>
                  <a:gd name="f566" fmla="*/ f443 f435 1"/>
                  <a:gd name="f567" fmla="*/ f444 f436 1"/>
                  <a:gd name="f568" fmla="*/ f445 f435 1"/>
                  <a:gd name="f569" fmla="*/ f446 f436 1"/>
                  <a:gd name="f570" fmla="*/ f447 f435 1"/>
                  <a:gd name="f571" fmla="*/ f448 f436 1"/>
                  <a:gd name="f572" fmla="*/ f449 f435 1"/>
                  <a:gd name="f573" fmla="*/ f450 f436 1"/>
                  <a:gd name="f574" fmla="*/ f451 f435 1"/>
                  <a:gd name="f575" fmla="*/ f452 f436 1"/>
                  <a:gd name="f576" fmla="*/ f453 f435 1"/>
                  <a:gd name="f577" fmla="*/ f454 f436 1"/>
                  <a:gd name="f578" fmla="*/ f455 f435 1"/>
                  <a:gd name="f579" fmla="*/ f456 f435 1"/>
                  <a:gd name="f580" fmla="*/ f457 f436 1"/>
                  <a:gd name="f581" fmla="*/ f458 f435 1"/>
                  <a:gd name="f582" fmla="*/ f459 f436 1"/>
                  <a:gd name="f583" fmla="*/ f460 f435 1"/>
                  <a:gd name="f584" fmla="*/ f461 f436 1"/>
                  <a:gd name="f585" fmla="*/ f462 f435 1"/>
                  <a:gd name="f586" fmla="*/ f463 f436 1"/>
                  <a:gd name="f587" fmla="*/ f464 f435 1"/>
                  <a:gd name="f588" fmla="*/ f465 f436 1"/>
                  <a:gd name="f589" fmla="*/ f466 f435 1"/>
                  <a:gd name="f590" fmla="*/ f467 f436 1"/>
                  <a:gd name="f591" fmla="*/ f468 f435 1"/>
                  <a:gd name="f592" fmla="*/ f469 f436 1"/>
                  <a:gd name="f593" fmla="*/ f470 f435 1"/>
                  <a:gd name="f594" fmla="*/ f471 f436 1"/>
                  <a:gd name="f595" fmla="*/ f472 f435 1"/>
                  <a:gd name="f596" fmla="*/ f473 f436 1"/>
                  <a:gd name="f597" fmla="*/ f474 f435 1"/>
                  <a:gd name="f598" fmla="*/ f475 f436 1"/>
                  <a:gd name="f599" fmla="*/ f476 f435 1"/>
                  <a:gd name="f600" fmla="*/ f477 f436 1"/>
                  <a:gd name="f601" fmla="*/ f478 f435 1"/>
                  <a:gd name="f602" fmla="*/ f479 f436 1"/>
                  <a:gd name="f603" fmla="*/ f480 f435 1"/>
                  <a:gd name="f604" fmla="*/ f481 f436 1"/>
                  <a:gd name="f605" fmla="*/ f482 f435 1"/>
                  <a:gd name="f606" fmla="*/ f483 f436 1"/>
                  <a:gd name="f607" fmla="*/ f484 f435 1"/>
                  <a:gd name="f608" fmla="*/ f485 f436 1"/>
                  <a:gd name="f609" fmla="*/ f486 f435 1"/>
                  <a:gd name="f610" fmla="*/ f487 f436 1"/>
                  <a:gd name="f611" fmla="*/ f488 f435 1"/>
                  <a:gd name="f612" fmla="*/ f489 f436 1"/>
                  <a:gd name="f613" fmla="*/ f490 f435 1"/>
                  <a:gd name="f614" fmla="*/ f491 f436 1"/>
                  <a:gd name="f615" fmla="*/ f492 f435 1"/>
                  <a:gd name="f616" fmla="*/ f493 f436 1"/>
                  <a:gd name="f617" fmla="*/ f494 f435 1"/>
                  <a:gd name="f618" fmla="*/ f495 f436 1"/>
                  <a:gd name="f619" fmla="*/ f496 f435 1"/>
                  <a:gd name="f620" fmla="*/ f497 f436 1"/>
                  <a:gd name="f621" fmla="*/ f498 f435 1"/>
                  <a:gd name="f622" fmla="*/ f499 f436 1"/>
                  <a:gd name="f623" fmla="*/ f500 f435 1"/>
                  <a:gd name="f624" fmla="*/ f501 f436 1"/>
                  <a:gd name="f625" fmla="*/ f502 f435 1"/>
                  <a:gd name="f626" fmla="*/ f503 f436 1"/>
                  <a:gd name="f627" fmla="*/ f504 f435 1"/>
                  <a:gd name="f628" fmla="*/ f505 f436 1"/>
                  <a:gd name="f629" fmla="*/ f506 f435 1"/>
                  <a:gd name="f630" fmla="*/ f507 f436 1"/>
                  <a:gd name="f631" fmla="*/ f508 f436 1"/>
                  <a:gd name="f632" fmla="*/ f509 f435 1"/>
                  <a:gd name="f633" fmla="*/ f510 f436 1"/>
                  <a:gd name="f634" fmla="*/ f511 f435 1"/>
                  <a:gd name="f635" fmla="*/ f512 f436 1"/>
                  <a:gd name="f636" fmla="*/ f513 f435 1"/>
                  <a:gd name="f637" fmla="*/ f514 f436 1"/>
                  <a:gd name="f638" fmla="*/ f515 f435 1"/>
                  <a:gd name="f639" fmla="*/ f516 f436 1"/>
                  <a:gd name="f640" fmla="*/ f517 f435 1"/>
                  <a:gd name="f641" fmla="*/ f518 f435 1"/>
                  <a:gd name="f642" fmla="*/ f519 f436 1"/>
                  <a:gd name="f643" fmla="*/ f520 f435 1"/>
                  <a:gd name="f644" fmla="*/ f521 f436 1"/>
                  <a:gd name="f645" fmla="*/ f522 f435 1"/>
                  <a:gd name="f646" fmla="*/ f523 f436 1"/>
                  <a:gd name="f647" fmla="*/ f524 f435 1"/>
                  <a:gd name="f648" fmla="*/ f525 f436 1"/>
                  <a:gd name="f649" fmla="*/ f526 f435 1"/>
                  <a:gd name="f650" fmla="*/ f527 f436 1"/>
                  <a:gd name="f651" fmla="*/ f528 f435 1"/>
                  <a:gd name="f652" fmla="*/ f529 f436 1"/>
                  <a:gd name="f653" fmla="*/ f530 f435 1"/>
                  <a:gd name="f654" fmla="*/ f531 f436 1"/>
                  <a:gd name="f655" fmla="*/ f532 f435 1"/>
                  <a:gd name="f656" fmla="*/ f533 f436 1"/>
                  <a:gd name="f657" fmla="*/ f534 f435 1"/>
                  <a:gd name="f658" fmla="*/ f535 f436 1"/>
                  <a:gd name="f659" fmla="*/ f536 f435 1"/>
                  <a:gd name="f660" fmla="*/ f537 f436 1"/>
                  <a:gd name="f661" fmla="*/ f538 f435 1"/>
                  <a:gd name="f662" fmla="*/ f539 f436 1"/>
                  <a:gd name="f663" fmla="*/ f540 f435 1"/>
                  <a:gd name="f664" fmla="*/ f541 f436 1"/>
                  <a:gd name="f665" fmla="*/ f542 f435 1"/>
                  <a:gd name="f666" fmla="*/ f543 f436 1"/>
                  <a:gd name="f667" fmla="*/ f544 f435 1"/>
                  <a:gd name="f668" fmla="*/ f545 f436 1"/>
                  <a:gd name="f669" fmla="*/ f546 f435 1"/>
                  <a:gd name="f670" fmla="*/ f547 f436 1"/>
                  <a:gd name="f671" fmla="*/ f548 f435 1"/>
                  <a:gd name="f672" fmla="*/ f549 f435 1"/>
                  <a:gd name="f673" fmla="*/ f550 f436 1"/>
                  <a:gd name="f674" fmla="*/ f551 f435 1"/>
                  <a:gd name="f675" fmla="*/ f552 f436 1"/>
                  <a:gd name="f676" fmla="*/ f553 f435 1"/>
                  <a:gd name="f677" fmla="*/ f554 f436 1"/>
                  <a:gd name="f678" fmla="*/ f555 f435 1"/>
                  <a:gd name="f679" fmla="*/ f556 f43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61">
                    <a:pos x="f566" y="f567"/>
                  </a:cxn>
                  <a:cxn ang="f561">
                    <a:pos x="f568" y="f569"/>
                  </a:cxn>
                  <a:cxn ang="f561">
                    <a:pos x="f570" y="f571"/>
                  </a:cxn>
                  <a:cxn ang="f561">
                    <a:pos x="f572" y="f573"/>
                  </a:cxn>
                  <a:cxn ang="f561">
                    <a:pos x="f574" y="f575"/>
                  </a:cxn>
                  <a:cxn ang="f561">
                    <a:pos x="f576" y="f577"/>
                  </a:cxn>
                  <a:cxn ang="f561">
                    <a:pos x="f578" y="f577"/>
                  </a:cxn>
                  <a:cxn ang="f561">
                    <a:pos x="f579" y="f580"/>
                  </a:cxn>
                  <a:cxn ang="f561">
                    <a:pos x="f581" y="f582"/>
                  </a:cxn>
                  <a:cxn ang="f561">
                    <a:pos x="f583" y="f584"/>
                  </a:cxn>
                  <a:cxn ang="f561">
                    <a:pos x="f585" y="f586"/>
                  </a:cxn>
                  <a:cxn ang="f561">
                    <a:pos x="f587" y="f588"/>
                  </a:cxn>
                  <a:cxn ang="f561">
                    <a:pos x="f589" y="f590"/>
                  </a:cxn>
                  <a:cxn ang="f561">
                    <a:pos x="f591" y="f592"/>
                  </a:cxn>
                  <a:cxn ang="f561">
                    <a:pos x="f593" y="f594"/>
                  </a:cxn>
                  <a:cxn ang="f561">
                    <a:pos x="f595" y="f596"/>
                  </a:cxn>
                  <a:cxn ang="f561">
                    <a:pos x="f597" y="f598"/>
                  </a:cxn>
                  <a:cxn ang="f561">
                    <a:pos x="f599" y="f600"/>
                  </a:cxn>
                  <a:cxn ang="f561">
                    <a:pos x="f601" y="f602"/>
                  </a:cxn>
                  <a:cxn ang="f561">
                    <a:pos x="f603" y="f604"/>
                  </a:cxn>
                  <a:cxn ang="f561">
                    <a:pos x="f605" y="f606"/>
                  </a:cxn>
                  <a:cxn ang="f561">
                    <a:pos x="f607" y="f608"/>
                  </a:cxn>
                  <a:cxn ang="f561">
                    <a:pos x="f609" y="f610"/>
                  </a:cxn>
                  <a:cxn ang="f561">
                    <a:pos x="f611" y="f612"/>
                  </a:cxn>
                  <a:cxn ang="f561">
                    <a:pos x="f613" y="f614"/>
                  </a:cxn>
                  <a:cxn ang="f561">
                    <a:pos x="f615" y="f616"/>
                  </a:cxn>
                  <a:cxn ang="f561">
                    <a:pos x="f617" y="f618"/>
                  </a:cxn>
                  <a:cxn ang="f561">
                    <a:pos x="f619" y="f620"/>
                  </a:cxn>
                  <a:cxn ang="f561">
                    <a:pos x="f621" y="f622"/>
                  </a:cxn>
                  <a:cxn ang="f561">
                    <a:pos x="f623" y="f624"/>
                  </a:cxn>
                  <a:cxn ang="f561">
                    <a:pos x="f625" y="f626"/>
                  </a:cxn>
                  <a:cxn ang="f561">
                    <a:pos x="f627" y="f628"/>
                  </a:cxn>
                  <a:cxn ang="f561">
                    <a:pos x="f629" y="f630"/>
                  </a:cxn>
                  <a:cxn ang="f561">
                    <a:pos x="f589" y="f631"/>
                  </a:cxn>
                  <a:cxn ang="f561">
                    <a:pos x="f632" y="f633"/>
                  </a:cxn>
                  <a:cxn ang="f561">
                    <a:pos x="f634" y="f635"/>
                  </a:cxn>
                  <a:cxn ang="f561">
                    <a:pos x="f636" y="f637"/>
                  </a:cxn>
                  <a:cxn ang="f561">
                    <a:pos x="f638" y="f639"/>
                  </a:cxn>
                  <a:cxn ang="f561">
                    <a:pos x="f640" y="f630"/>
                  </a:cxn>
                  <a:cxn ang="f561">
                    <a:pos x="f641" y="f642"/>
                  </a:cxn>
                  <a:cxn ang="f561">
                    <a:pos x="f643" y="f644"/>
                  </a:cxn>
                  <a:cxn ang="f561">
                    <a:pos x="f645" y="f646"/>
                  </a:cxn>
                  <a:cxn ang="f561">
                    <a:pos x="f647" y="f648"/>
                  </a:cxn>
                  <a:cxn ang="f561">
                    <a:pos x="f649" y="f650"/>
                  </a:cxn>
                  <a:cxn ang="f561">
                    <a:pos x="f651" y="f652"/>
                  </a:cxn>
                  <a:cxn ang="f561">
                    <a:pos x="f653" y="f654"/>
                  </a:cxn>
                  <a:cxn ang="f561">
                    <a:pos x="f655" y="f656"/>
                  </a:cxn>
                  <a:cxn ang="f561">
                    <a:pos x="f657" y="f658"/>
                  </a:cxn>
                  <a:cxn ang="f561">
                    <a:pos x="f659" y="f660"/>
                  </a:cxn>
                  <a:cxn ang="f561">
                    <a:pos x="f661" y="f662"/>
                  </a:cxn>
                  <a:cxn ang="f561">
                    <a:pos x="f663" y="f664"/>
                  </a:cxn>
                  <a:cxn ang="f561">
                    <a:pos x="f665" y="f666"/>
                  </a:cxn>
                  <a:cxn ang="f561">
                    <a:pos x="f667" y="f668"/>
                  </a:cxn>
                  <a:cxn ang="f561">
                    <a:pos x="f669" y="f670"/>
                  </a:cxn>
                  <a:cxn ang="f561">
                    <a:pos x="f671" y="f586"/>
                  </a:cxn>
                  <a:cxn ang="f561">
                    <a:pos x="f672" y="f673"/>
                  </a:cxn>
                  <a:cxn ang="f561">
                    <a:pos x="f674" y="f675"/>
                  </a:cxn>
                  <a:cxn ang="f561">
                    <a:pos x="f676" y="f677"/>
                  </a:cxn>
                  <a:cxn ang="f561">
                    <a:pos x="f678" y="f679"/>
                  </a:cxn>
                </a:cxnLst>
                <a:rect l="f562" t="f565" r="f563" b="f564"/>
                <a:pathLst>
                  <a:path w="605" h="644">
                    <a:moveTo>
                      <a:pt x="f9" y="f6"/>
                    </a:moveTo>
                    <a:lnTo>
                      <a:pt x="f10" y="f6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2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6" y="f28"/>
                    </a:lnTo>
                    <a:lnTo>
                      <a:pt x="f29" y="f30"/>
                    </a:lnTo>
                    <a:lnTo>
                      <a:pt x="f26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31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28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51"/>
                    </a:lnTo>
                    <a:lnTo>
                      <a:pt x="f50" y="f30"/>
                    </a:lnTo>
                    <a:lnTo>
                      <a:pt x="f52" y="f53"/>
                    </a:lnTo>
                    <a:lnTo>
                      <a:pt x="f46" y="f53"/>
                    </a:lnTo>
                    <a:lnTo>
                      <a:pt x="f54" y="f51"/>
                    </a:lnTo>
                    <a:lnTo>
                      <a:pt x="f55" y="f28"/>
                    </a:lnTo>
                    <a:lnTo>
                      <a:pt x="f56" y="f57"/>
                    </a:lnTo>
                    <a:lnTo>
                      <a:pt x="f58" y="f27"/>
                    </a:lnTo>
                    <a:lnTo>
                      <a:pt x="f59" y="f60"/>
                    </a:lnTo>
                    <a:lnTo>
                      <a:pt x="f61" y="f28"/>
                    </a:lnTo>
                    <a:lnTo>
                      <a:pt x="f62" y="f51"/>
                    </a:lnTo>
                    <a:lnTo>
                      <a:pt x="f63" y="f64"/>
                    </a:lnTo>
                    <a:lnTo>
                      <a:pt x="f65" y="f31"/>
                    </a:lnTo>
                    <a:lnTo>
                      <a:pt x="f66" y="f31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35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lnTo>
                      <a:pt x="f78" y="f11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73"/>
                    </a:lnTo>
                    <a:lnTo>
                      <a:pt x="f86" y="f9"/>
                    </a:lnTo>
                    <a:lnTo>
                      <a:pt x="f87" y="f88"/>
                    </a:lnTo>
                    <a:lnTo>
                      <a:pt x="f89" y="f82"/>
                    </a:lnTo>
                    <a:lnTo>
                      <a:pt x="f90" y="f91"/>
                    </a:ln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4" y="f108"/>
                    </a:lnTo>
                    <a:lnTo>
                      <a:pt x="f109" y="f108"/>
                    </a:lnTo>
                    <a:lnTo>
                      <a:pt x="f90" y="f110"/>
                    </a:lnTo>
                    <a:lnTo>
                      <a:pt x="f96" y="f111"/>
                    </a:lnTo>
                    <a:lnTo>
                      <a:pt x="f112" y="f113"/>
                    </a:lnTo>
                    <a:lnTo>
                      <a:pt x="f112" y="f114"/>
                    </a:lnTo>
                    <a:lnTo>
                      <a:pt x="f115" y="f116"/>
                    </a:lnTo>
                    <a:lnTo>
                      <a:pt x="f115" y="f117"/>
                    </a:lnTo>
                    <a:lnTo>
                      <a:pt x="f112" y="f23"/>
                    </a:lnTo>
                    <a:lnTo>
                      <a:pt x="f96" y="f118"/>
                    </a:lnTo>
                    <a:lnTo>
                      <a:pt x="f119" y="f120"/>
                    </a:lnTo>
                    <a:lnTo>
                      <a:pt x="f121" y="f122"/>
                    </a:lnTo>
                    <a:lnTo>
                      <a:pt x="f123" y="f124"/>
                    </a:lnTo>
                    <a:lnTo>
                      <a:pt x="f123" y="f125"/>
                    </a:lnTo>
                    <a:lnTo>
                      <a:pt x="f121" y="f126"/>
                    </a:lnTo>
                    <a:lnTo>
                      <a:pt x="f106" y="f126"/>
                    </a:lnTo>
                    <a:lnTo>
                      <a:pt x="f109" y="f125"/>
                    </a:lnTo>
                    <a:lnTo>
                      <a:pt x="f90" y="f38"/>
                    </a:lnTo>
                    <a:lnTo>
                      <a:pt x="f112" y="f127"/>
                    </a:lnTo>
                    <a:lnTo>
                      <a:pt x="f128" y="f129"/>
                    </a:ln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38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5" y="f139"/>
                    </a:lnTo>
                    <a:lnTo>
                      <a:pt x="f137" y="f140"/>
                    </a:lnTo>
                    <a:lnTo>
                      <a:pt x="f141" y="f142"/>
                    </a:lnTo>
                    <a:lnTo>
                      <a:pt x="f143" y="f45"/>
                    </a:lnTo>
                    <a:lnTo>
                      <a:pt x="f144" y="f145"/>
                    </a:lnTo>
                    <a:lnTo>
                      <a:pt x="f135" y="f146"/>
                    </a:lnTo>
                    <a:lnTo>
                      <a:pt x="f147" y="f148"/>
                    </a:lnTo>
                    <a:lnTo>
                      <a:pt x="f134" y="f54"/>
                    </a:lnTo>
                    <a:lnTo>
                      <a:pt x="f149" y="f150"/>
                    </a:lnTo>
                    <a:lnTo>
                      <a:pt x="f149" y="f151"/>
                    </a:lnTo>
                    <a:lnTo>
                      <a:pt x="f152" y="f153"/>
                    </a:lnTo>
                    <a:lnTo>
                      <a:pt x="f152" y="f154"/>
                    </a:lnTo>
                    <a:lnTo>
                      <a:pt x="f149" y="f62"/>
                    </a:lnTo>
                    <a:lnTo>
                      <a:pt x="f147" y="f155"/>
                    </a:lnTo>
                    <a:lnTo>
                      <a:pt x="f137" y="f151"/>
                    </a:lnTo>
                    <a:lnTo>
                      <a:pt x="f156" y="f150"/>
                    </a:lnTo>
                    <a:lnTo>
                      <a:pt x="f157" y="f145"/>
                    </a:lnTo>
                    <a:lnTo>
                      <a:pt x="f158" y="f159"/>
                    </a:lnTo>
                    <a:lnTo>
                      <a:pt x="f160" y="f161"/>
                    </a:lnTo>
                    <a:lnTo>
                      <a:pt x="f162" y="f163"/>
                    </a:lnTo>
                    <a:lnTo>
                      <a:pt x="f164" y="f41"/>
                    </a:lnTo>
                    <a:lnTo>
                      <a:pt x="f165" y="f166"/>
                    </a:lnTo>
                    <a:lnTo>
                      <a:pt x="f167" y="f168"/>
                    </a:lnTo>
                    <a:lnTo>
                      <a:pt x="f169" y="f52"/>
                    </a:lnTo>
                    <a:lnTo>
                      <a:pt x="f170" y="f146"/>
                    </a:lnTo>
                    <a:lnTo>
                      <a:pt x="f171" y="f150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lnTo>
                      <a:pt x="f180" y="f61"/>
                    </a:lnTo>
                    <a:lnTo>
                      <a:pt x="f181" y="f154"/>
                    </a:lnTo>
                    <a:lnTo>
                      <a:pt x="f182" y="f183"/>
                    </a:lnTo>
                    <a:lnTo>
                      <a:pt x="f184" y="f183"/>
                    </a:lnTo>
                    <a:lnTo>
                      <a:pt x="f185" y="f186"/>
                    </a:lnTo>
                    <a:lnTo>
                      <a:pt x="f187" y="f188"/>
                    </a:lnTo>
                    <a:lnTo>
                      <a:pt x="f189" y="f190"/>
                    </a:lnTo>
                    <a:lnTo>
                      <a:pt x="f191" y="f175"/>
                    </a:lnTo>
                    <a:lnTo>
                      <a:pt x="f192" y="f193"/>
                    </a:lnTo>
                    <a:lnTo>
                      <a:pt x="f194" y="f54"/>
                    </a:lnTo>
                    <a:lnTo>
                      <a:pt x="f195" y="f54"/>
                    </a:lnTo>
                    <a:lnTo>
                      <a:pt x="f196" y="f54"/>
                    </a:lnTo>
                    <a:lnTo>
                      <a:pt x="f197" y="f198"/>
                    </a:lnTo>
                    <a:lnTo>
                      <a:pt x="f199" y="f193"/>
                    </a:lnTo>
                    <a:lnTo>
                      <a:pt x="f200" y="f201"/>
                    </a:lnTo>
                    <a:lnTo>
                      <a:pt x="f202" y="f173"/>
                    </a:lnTo>
                    <a:lnTo>
                      <a:pt x="f203" y="f151"/>
                    </a:lnTo>
                    <a:lnTo>
                      <a:pt x="f203" y="f190"/>
                    </a:lnTo>
                    <a:lnTo>
                      <a:pt x="f204" y="f155"/>
                    </a:lnTo>
                    <a:lnTo>
                      <a:pt x="f205" y="f63"/>
                    </a:lnTo>
                    <a:lnTo>
                      <a:pt x="f206" y="f207"/>
                    </a:lnTo>
                    <a:lnTo>
                      <a:pt x="f208" y="f69"/>
                    </a:lnTo>
                    <a:lnTo>
                      <a:pt x="f7" y="f209"/>
                    </a:lnTo>
                    <a:lnTo>
                      <a:pt x="f208" y="f210"/>
                    </a:lnTo>
                    <a:lnTo>
                      <a:pt x="f206" y="f211"/>
                    </a:lnTo>
                    <a:lnTo>
                      <a:pt x="f197" y="f83"/>
                    </a:lnTo>
                    <a:lnTo>
                      <a:pt x="f196" y="f212"/>
                    </a:lnTo>
                    <a:lnTo>
                      <a:pt x="f213" y="f102"/>
                    </a:lnTo>
                    <a:lnTo>
                      <a:pt x="f214" y="f90"/>
                    </a:lnTo>
                    <a:lnTo>
                      <a:pt x="f192" y="f94"/>
                    </a:lnTo>
                    <a:lnTo>
                      <a:pt x="f215" y="f216"/>
                    </a:lnTo>
                    <a:lnTo>
                      <a:pt x="f217" y="f96"/>
                    </a:lnTo>
                    <a:lnTo>
                      <a:pt x="f218" y="f96"/>
                    </a:lnTo>
                    <a:lnTo>
                      <a:pt x="f219" y="f112"/>
                    </a:lnTo>
                    <a:lnTo>
                      <a:pt x="f220" y="f221"/>
                    </a:lnTo>
                    <a:lnTo>
                      <a:pt x="f222" y="f128"/>
                    </a:lnTo>
                    <a:lnTo>
                      <a:pt x="f185" y="f223"/>
                    </a:lnTo>
                    <a:lnTo>
                      <a:pt x="f224" y="f130"/>
                    </a:lnTo>
                    <a:lnTo>
                      <a:pt x="f224" y="f225"/>
                    </a:lnTo>
                    <a:lnTo>
                      <a:pt x="f226" y="f227"/>
                    </a:lnTo>
                    <a:lnTo>
                      <a:pt x="f222" y="f228"/>
                    </a:lnTo>
                    <a:lnTo>
                      <a:pt x="f220" y="f147"/>
                    </a:lnTo>
                    <a:lnTo>
                      <a:pt x="f229" y="f230"/>
                    </a:lnTo>
                    <a:lnTo>
                      <a:pt x="f231" y="f230"/>
                    </a:lnTo>
                    <a:lnTo>
                      <a:pt x="f232" y="f147"/>
                    </a:lnTo>
                    <a:lnTo>
                      <a:pt x="f191" y="f230"/>
                    </a:lnTo>
                    <a:lnTo>
                      <a:pt x="f233" y="f230"/>
                    </a:lnTo>
                    <a:lnTo>
                      <a:pt x="f233" y="f143"/>
                    </a:lnTo>
                    <a:lnTo>
                      <a:pt x="f215" y="f156"/>
                    </a:lnTo>
                    <a:lnTo>
                      <a:pt x="f234" y="f235"/>
                    </a:lnTo>
                    <a:lnTo>
                      <a:pt x="f236" y="f237"/>
                    </a:lnTo>
                    <a:lnTo>
                      <a:pt x="f236" y="f238"/>
                    </a:lnTo>
                    <a:lnTo>
                      <a:pt x="f239" y="f240"/>
                    </a:lnTo>
                    <a:lnTo>
                      <a:pt x="f236" y="f241"/>
                    </a:lnTo>
                    <a:lnTo>
                      <a:pt x="f192" y="f242"/>
                    </a:lnTo>
                    <a:lnTo>
                      <a:pt x="f243" y="f164"/>
                    </a:lnTo>
                    <a:lnTo>
                      <a:pt x="f244" y="f245"/>
                    </a:lnTo>
                    <a:lnTo>
                      <a:pt x="f187" y="f246"/>
                    </a:lnTo>
                    <a:lnTo>
                      <a:pt x="f247" y="f248"/>
                    </a:lnTo>
                    <a:lnTo>
                      <a:pt x="f247" y="f249"/>
                    </a:lnTo>
                    <a:lnTo>
                      <a:pt x="f250" y="f251"/>
                    </a:lnTo>
                    <a:lnTo>
                      <a:pt x="f185" y="f252"/>
                    </a:lnTo>
                    <a:lnTo>
                      <a:pt x="f226" y="f253"/>
                    </a:lnTo>
                    <a:lnTo>
                      <a:pt x="f254" y="f255"/>
                    </a:lnTo>
                    <a:lnTo>
                      <a:pt x="f220" y="f256"/>
                    </a:lnTo>
                    <a:lnTo>
                      <a:pt x="f219" y="f257"/>
                    </a:lnTo>
                    <a:lnTo>
                      <a:pt x="f189" y="f258"/>
                    </a:lnTo>
                    <a:lnTo>
                      <a:pt x="f233" y="f259"/>
                    </a:lnTo>
                    <a:lnTo>
                      <a:pt x="f260" y="f261"/>
                    </a:lnTo>
                    <a:lnTo>
                      <a:pt x="f195" y="f262"/>
                    </a:lnTo>
                    <a:lnTo>
                      <a:pt x="f263" y="f264"/>
                    </a:lnTo>
                    <a:lnTo>
                      <a:pt x="f265" y="f266"/>
                    </a:lnTo>
                    <a:lnTo>
                      <a:pt x="f265" y="f226"/>
                    </a:lnTo>
                    <a:lnTo>
                      <a:pt x="f263" y="f247"/>
                    </a:lnTo>
                    <a:lnTo>
                      <a:pt x="f267" y="f218"/>
                    </a:lnTo>
                    <a:lnTo>
                      <a:pt x="f267" y="f231"/>
                    </a:lnTo>
                    <a:lnTo>
                      <a:pt x="f268" y="f269"/>
                    </a:lnTo>
                    <a:lnTo>
                      <a:pt x="f263" y="f270"/>
                    </a:lnTo>
                    <a:lnTo>
                      <a:pt x="f267" y="f271"/>
                    </a:lnTo>
                    <a:lnTo>
                      <a:pt x="f272" y="f260"/>
                    </a:lnTo>
                    <a:lnTo>
                      <a:pt x="f214" y="f273"/>
                    </a:lnTo>
                    <a:lnTo>
                      <a:pt x="f192" y="f260"/>
                    </a:lnTo>
                    <a:lnTo>
                      <a:pt x="f233" y="f274"/>
                    </a:lnTo>
                    <a:lnTo>
                      <a:pt x="f217" y="f274"/>
                    </a:lnTo>
                    <a:lnTo>
                      <a:pt x="f231" y="f273"/>
                    </a:lnTo>
                    <a:lnTo>
                      <a:pt x="f275" y="f268"/>
                    </a:lnTo>
                    <a:lnTo>
                      <a:pt x="f276" y="f277"/>
                    </a:lnTo>
                    <a:lnTo>
                      <a:pt x="f278" y="f279"/>
                    </a:lnTo>
                    <a:lnTo>
                      <a:pt x="f280" y="f281"/>
                    </a:lnTo>
                    <a:lnTo>
                      <a:pt x="f226" y="f203"/>
                    </a:lnTo>
                    <a:lnTo>
                      <a:pt x="f282" y="f283"/>
                    </a:lnTo>
                    <a:lnTo>
                      <a:pt x="f261" y="f7"/>
                    </a:lnTo>
                    <a:lnTo>
                      <a:pt x="f284" y="f285"/>
                    </a:lnTo>
                    <a:lnTo>
                      <a:pt x="f286" y="f287"/>
                    </a:lnTo>
                    <a:lnTo>
                      <a:pt x="f288" y="f289"/>
                    </a:lnTo>
                    <a:lnTo>
                      <a:pt x="f257" y="f290"/>
                    </a:lnTo>
                    <a:lnTo>
                      <a:pt x="f178" y="f8"/>
                    </a:lnTo>
                    <a:lnTo>
                      <a:pt x="f291" y="f8"/>
                    </a:lnTo>
                    <a:lnTo>
                      <a:pt x="f172" y="f292"/>
                    </a:lnTo>
                    <a:lnTo>
                      <a:pt x="f293" y="f294"/>
                    </a:lnTo>
                    <a:lnTo>
                      <a:pt x="f170" y="f295"/>
                    </a:lnTo>
                    <a:lnTo>
                      <a:pt x="f296" y="f297"/>
                    </a:lnTo>
                    <a:lnTo>
                      <a:pt x="f298" y="f299"/>
                    </a:lnTo>
                    <a:lnTo>
                      <a:pt x="f300" y="f289"/>
                    </a:lnTo>
                    <a:lnTo>
                      <a:pt x="f245" y="f301"/>
                    </a:lnTo>
                    <a:lnTo>
                      <a:pt x="f302" y="f285"/>
                    </a:lnTo>
                    <a:lnTo>
                      <a:pt x="f303" y="f304"/>
                    </a:lnTo>
                    <a:lnTo>
                      <a:pt x="f158" y="f305"/>
                    </a:lnTo>
                    <a:lnTo>
                      <a:pt x="f237" y="f277"/>
                    </a:lnTo>
                    <a:lnTo>
                      <a:pt x="f156" y="f306"/>
                    </a:lnTo>
                    <a:lnTo>
                      <a:pt x="f141" y="f268"/>
                    </a:lnTo>
                    <a:lnTo>
                      <a:pt x="f141" y="f273"/>
                    </a:lnTo>
                    <a:lnTo>
                      <a:pt x="f307" y="f308"/>
                    </a:lnTo>
                    <a:lnTo>
                      <a:pt x="f309" y="f243"/>
                    </a:lnTo>
                    <a:lnTo>
                      <a:pt x="f310" y="f231"/>
                    </a:lnTo>
                    <a:lnTo>
                      <a:pt x="f311" y="f312"/>
                    </a:lnTo>
                    <a:lnTo>
                      <a:pt x="f310" y="f247"/>
                    </a:lnTo>
                    <a:lnTo>
                      <a:pt x="f313" y="f226"/>
                    </a:lnTo>
                    <a:lnTo>
                      <a:pt x="f141" y="f314"/>
                    </a:lnTo>
                    <a:lnTo>
                      <a:pt x="f137" y="f315"/>
                    </a:lnTo>
                    <a:lnTo>
                      <a:pt x="f143" y="f286"/>
                    </a:lnTo>
                    <a:lnTo>
                      <a:pt x="f144" y="f288"/>
                    </a:lnTo>
                    <a:lnTo>
                      <a:pt x="f147" y="f288"/>
                    </a:lnTo>
                    <a:lnTo>
                      <a:pt x="f316" y="f317"/>
                    </a:lnTo>
                    <a:lnTo>
                      <a:pt x="f318" y="f319"/>
                    </a:lnTo>
                    <a:lnTo>
                      <a:pt x="f320" y="f259"/>
                    </a:lnTo>
                    <a:lnTo>
                      <a:pt x="f2" y="f262"/>
                    </a:lnTo>
                    <a:lnTo>
                      <a:pt x="f2" y="f264"/>
                    </a:lnTo>
                    <a:lnTo>
                      <a:pt x="f321" y="f184"/>
                    </a:lnTo>
                    <a:lnTo>
                      <a:pt x="f130" y="f226"/>
                    </a:lnTo>
                    <a:lnTo>
                      <a:pt x="f321" y="f222"/>
                    </a:lnTo>
                    <a:lnTo>
                      <a:pt x="f320" y="f280"/>
                    </a:lnTo>
                    <a:lnTo>
                      <a:pt x="f223" y="f280"/>
                    </a:lnTo>
                    <a:lnTo>
                      <a:pt x="f322" y="f254"/>
                    </a:lnTo>
                    <a:lnTo>
                      <a:pt x="f323" y="f224"/>
                    </a:lnTo>
                    <a:lnTo>
                      <a:pt x="f128" y="f324"/>
                    </a:lnTo>
                    <a:lnTo>
                      <a:pt x="f325" y="f266"/>
                    </a:lnTo>
                    <a:lnTo>
                      <a:pt x="f326" y="f327"/>
                    </a:lnTo>
                    <a:lnTo>
                      <a:pt x="f328" y="f315"/>
                    </a:lnTo>
                    <a:lnTo>
                      <a:pt x="f112" y="f315"/>
                    </a:lnTo>
                    <a:lnTo>
                      <a:pt x="f96" y="f266"/>
                    </a:lnTo>
                    <a:lnTo>
                      <a:pt x="f119" y="f226"/>
                    </a:lnTo>
                    <a:lnTo>
                      <a:pt x="f329" y="f254"/>
                    </a:lnTo>
                    <a:lnTo>
                      <a:pt x="f89" y="f330"/>
                    </a:lnTo>
                    <a:lnTo>
                      <a:pt x="f331" y="f250"/>
                    </a:lnTo>
                    <a:lnTo>
                      <a:pt x="f85" y="f220"/>
                    </a:lnTo>
                    <a:lnTo>
                      <a:pt x="f81" y="f229"/>
                    </a:lnTo>
                    <a:lnTo>
                      <a:pt x="f79" y="f275"/>
                    </a:lnTo>
                    <a:lnTo>
                      <a:pt x="f332" y="f217"/>
                    </a:lnTo>
                    <a:lnTo>
                      <a:pt x="f333" y="f232"/>
                    </a:lnTo>
                    <a:lnTo>
                      <a:pt x="f334" y="f232"/>
                    </a:lnTo>
                    <a:lnTo>
                      <a:pt x="f335" y="f217"/>
                    </a:lnTo>
                    <a:lnTo>
                      <a:pt x="f336" y="f218"/>
                    </a:lnTo>
                    <a:lnTo>
                      <a:pt x="f210" y="f312"/>
                    </a:lnTo>
                    <a:lnTo>
                      <a:pt x="f337" y="f229"/>
                    </a:lnTo>
                    <a:lnTo>
                      <a:pt x="f338" y="f276"/>
                    </a:lnTo>
                    <a:lnTo>
                      <a:pt x="f339" y="f231"/>
                    </a:lnTo>
                    <a:lnTo>
                      <a:pt x="f340" y="f341"/>
                    </a:lnTo>
                    <a:lnTo>
                      <a:pt x="f342" y="f273"/>
                    </a:lnTo>
                    <a:lnTo>
                      <a:pt x="f343" y="f273"/>
                    </a:lnTo>
                    <a:lnTo>
                      <a:pt x="f67" y="f214"/>
                    </a:lnTo>
                    <a:lnTo>
                      <a:pt x="f344" y="f236"/>
                    </a:lnTo>
                    <a:lnTo>
                      <a:pt x="f155" y="f217"/>
                    </a:lnTo>
                    <a:lnTo>
                      <a:pt x="f56" y="f218"/>
                    </a:lnTo>
                    <a:lnTo>
                      <a:pt x="f345" y="f346"/>
                    </a:lnTo>
                    <a:lnTo>
                      <a:pt x="f201" y="f280"/>
                    </a:lnTo>
                    <a:lnTo>
                      <a:pt x="f148" y="f324"/>
                    </a:lnTo>
                    <a:lnTo>
                      <a:pt x="f48" y="f262"/>
                    </a:lnTo>
                    <a:lnTo>
                      <a:pt x="f161" y="f257"/>
                    </a:lnTo>
                    <a:lnTo>
                      <a:pt x="f347" y="f348"/>
                    </a:lnTo>
                    <a:lnTo>
                      <a:pt x="f349" y="f350"/>
                    </a:lnTo>
                    <a:lnTo>
                      <a:pt x="f351" y="f352"/>
                    </a:lnTo>
                    <a:lnTo>
                      <a:pt x="f353" y="f170"/>
                    </a:lnTo>
                    <a:lnTo>
                      <a:pt x="f133" y="f354"/>
                    </a:lnTo>
                    <a:lnTo>
                      <a:pt x="f355" y="f356"/>
                    </a:lnTo>
                    <a:lnTo>
                      <a:pt x="f120" y="f357"/>
                    </a:lnTo>
                    <a:lnTo>
                      <a:pt x="f24" y="f358"/>
                    </a:lnTo>
                    <a:lnTo>
                      <a:pt x="f359" y="f165"/>
                    </a:lnTo>
                    <a:lnTo>
                      <a:pt x="f360" y="f245"/>
                    </a:lnTo>
                    <a:lnTo>
                      <a:pt x="f361" y="f245"/>
                    </a:lnTo>
                    <a:lnTo>
                      <a:pt x="f362" y="f363"/>
                    </a:lnTo>
                    <a:lnTo>
                      <a:pt x="f364" y="f363"/>
                    </a:lnTo>
                    <a:lnTo>
                      <a:pt x="f15" y="f164"/>
                    </a:lnTo>
                    <a:lnTo>
                      <a:pt x="f365" y="f302"/>
                    </a:lnTo>
                    <a:lnTo>
                      <a:pt x="f366" y="f367"/>
                    </a:lnTo>
                    <a:lnTo>
                      <a:pt x="f75" y="f235"/>
                    </a:lnTo>
                    <a:lnTo>
                      <a:pt x="f368" y="f316"/>
                    </a:lnTo>
                    <a:lnTo>
                      <a:pt x="f368" y="f369"/>
                    </a:lnTo>
                    <a:lnTo>
                      <a:pt x="f370" y="f321"/>
                    </a:lnTo>
                    <a:lnTo>
                      <a:pt x="f371" y="f320"/>
                    </a:lnTo>
                    <a:lnTo>
                      <a:pt x="f372" y="f321"/>
                    </a:lnTo>
                    <a:lnTo>
                      <a:pt x="f13" y="f373"/>
                    </a:lnTo>
                    <a:lnTo>
                      <a:pt x="f374" y="f369"/>
                    </a:lnTo>
                    <a:lnTo>
                      <a:pt x="f375" y="f227"/>
                    </a:lnTo>
                    <a:lnTo>
                      <a:pt x="f103" y="f227"/>
                    </a:lnTo>
                    <a:lnTo>
                      <a:pt x="f107" y="f225"/>
                    </a:lnTo>
                    <a:lnTo>
                      <a:pt x="f110" y="f2"/>
                    </a:lnTo>
                    <a:lnTo>
                      <a:pt x="f110" y="f325"/>
                    </a:lnTo>
                    <a:lnTo>
                      <a:pt x="f108" y="f96"/>
                    </a:lnTo>
                    <a:lnTo>
                      <a:pt x="f105" y="f376"/>
                    </a:lnTo>
                    <a:lnTo>
                      <a:pt x="f101" y="f87"/>
                    </a:lnTo>
                    <a:lnTo>
                      <a:pt x="f375" y="f377"/>
                    </a:lnTo>
                    <a:lnTo>
                      <a:pt x="f15" y="f85"/>
                    </a:lnTo>
                    <a:lnTo>
                      <a:pt x="f378" y="f379"/>
                    </a:lnTo>
                    <a:lnTo>
                      <a:pt x="f380" y="f86"/>
                    </a:lnTo>
                    <a:lnTo>
                      <a:pt x="f80" y="f212"/>
                    </a:lnTo>
                    <a:lnTo>
                      <a:pt x="f10" y="f106"/>
                    </a:lnTo>
                    <a:lnTo>
                      <a:pt x="f381" y="f331"/>
                    </a:lnTo>
                    <a:lnTo>
                      <a:pt x="f9" y="f81"/>
                    </a:lnTo>
                    <a:lnTo>
                      <a:pt x="f382" y="f383"/>
                    </a:lnTo>
                    <a:lnTo>
                      <a:pt x="f384" y="f211"/>
                    </a:lnTo>
                    <a:lnTo>
                      <a:pt x="f381" y="f385"/>
                    </a:lnTo>
                    <a:lnTo>
                      <a:pt x="f386" y="f209"/>
                    </a:lnTo>
                    <a:lnTo>
                      <a:pt x="f10" y="f71"/>
                    </a:lnTo>
                    <a:lnTo>
                      <a:pt x="f10" y="f387"/>
                    </a:lnTo>
                    <a:lnTo>
                      <a:pt x="f388" y="f343"/>
                    </a:lnTo>
                    <a:lnTo>
                      <a:pt x="f77" y="f389"/>
                    </a:lnTo>
                    <a:lnTo>
                      <a:pt x="f390" y="f391"/>
                    </a:lnTo>
                    <a:lnTo>
                      <a:pt x="f93" y="f207"/>
                    </a:lnTo>
                    <a:lnTo>
                      <a:pt x="f15" y="f392"/>
                    </a:lnTo>
                    <a:lnTo>
                      <a:pt x="f15" y="f393"/>
                    </a:lnTo>
                    <a:lnTo>
                      <a:pt x="f394" y="f395"/>
                    </a:lnTo>
                    <a:lnTo>
                      <a:pt x="f378" y="f395"/>
                    </a:lnTo>
                    <a:lnTo>
                      <a:pt x="f77" y="f396"/>
                    </a:lnTo>
                    <a:lnTo>
                      <a:pt x="f82" y="f183"/>
                    </a:lnTo>
                    <a:lnTo>
                      <a:pt x="f368" y="f392"/>
                    </a:lnTo>
                    <a:lnTo>
                      <a:pt x="f382" y="f344"/>
                    </a:lnTo>
                    <a:lnTo>
                      <a:pt x="f37" y="f344"/>
                    </a:lnTo>
                    <a:lnTo>
                      <a:pt x="f51" y="f397"/>
                    </a:lnTo>
                    <a:lnTo>
                      <a:pt x="f398" y="f344"/>
                    </a:lnTo>
                    <a:lnTo>
                      <a:pt x="f399" y="f400"/>
                    </a:lnTo>
                    <a:lnTo>
                      <a:pt x="f25" y="f401"/>
                    </a:lnTo>
                    <a:lnTo>
                      <a:pt x="f20" y="f391"/>
                    </a:lnTo>
                    <a:lnTo>
                      <a:pt x="f402" y="f391"/>
                    </a:lnTo>
                    <a:lnTo>
                      <a:pt x="f16" y="f400"/>
                    </a:lnTo>
                    <a:lnTo>
                      <a:pt x="f403" y="f392"/>
                    </a:lnTo>
                    <a:lnTo>
                      <a:pt x="f404" y="f63"/>
                    </a:lnTo>
                    <a:lnTo>
                      <a:pt x="f12" y="f188"/>
                    </a:lnTo>
                    <a:lnTo>
                      <a:pt x="f6" y="f58"/>
                    </a:lnTo>
                    <a:lnTo>
                      <a:pt x="f6" y="f56"/>
                    </a:lnTo>
                    <a:lnTo>
                      <a:pt x="f405" y="f406"/>
                    </a:lnTo>
                    <a:lnTo>
                      <a:pt x="f407" y="f151"/>
                    </a:lnTo>
                    <a:lnTo>
                      <a:pt x="f402" y="f151"/>
                    </a:lnTo>
                    <a:lnTo>
                      <a:pt x="f408" y="f406"/>
                    </a:lnTo>
                    <a:lnTo>
                      <a:pt x="f22" y="f345"/>
                    </a:lnTo>
                    <a:lnTo>
                      <a:pt x="f22" y="f193"/>
                    </a:lnTo>
                    <a:lnTo>
                      <a:pt x="f409" y="f150"/>
                    </a:lnTo>
                    <a:lnTo>
                      <a:pt x="f408" y="f410"/>
                    </a:lnTo>
                    <a:lnTo>
                      <a:pt x="f411" y="f410"/>
                    </a:lnTo>
                    <a:lnTo>
                      <a:pt x="f18" y="f150"/>
                    </a:lnTo>
                    <a:lnTo>
                      <a:pt x="f402" y="f198"/>
                    </a:lnTo>
                    <a:lnTo>
                      <a:pt x="f412" y="f198"/>
                    </a:lnTo>
                    <a:lnTo>
                      <a:pt x="f413" y="f150"/>
                    </a:lnTo>
                    <a:lnTo>
                      <a:pt x="f16" y="f54"/>
                    </a:lnTo>
                    <a:lnTo>
                      <a:pt x="f16" y="f414"/>
                    </a:lnTo>
                    <a:lnTo>
                      <a:pt x="f402" y="f52"/>
                    </a:lnTo>
                    <a:lnTo>
                      <a:pt x="f411" y="f50"/>
                    </a:lnTo>
                    <a:lnTo>
                      <a:pt x="f409" y="f50"/>
                    </a:lnTo>
                    <a:lnTo>
                      <a:pt x="f27" y="f159"/>
                    </a:lnTo>
                    <a:lnTo>
                      <a:pt x="f49" y="f159"/>
                    </a:lnTo>
                    <a:lnTo>
                      <a:pt x="f68" y="f45"/>
                    </a:lnTo>
                    <a:lnTo>
                      <a:pt x="f415" y="f45"/>
                    </a:lnTo>
                    <a:lnTo>
                      <a:pt x="f84" y="f50"/>
                    </a:lnTo>
                    <a:lnTo>
                      <a:pt x="f371" y="f48"/>
                    </a:lnTo>
                    <a:lnTo>
                      <a:pt x="f372" y="f50"/>
                    </a:lnTo>
                    <a:lnTo>
                      <a:pt x="f91" y="f161"/>
                    </a:lnTo>
                    <a:lnTo>
                      <a:pt x="f416" y="f166"/>
                    </a:lnTo>
                    <a:lnTo>
                      <a:pt x="f95" y="f349"/>
                    </a:lnTo>
                    <a:lnTo>
                      <a:pt x="f105" y="f126"/>
                    </a:lnTo>
                    <a:lnTo>
                      <a:pt x="f417" y="f124"/>
                    </a:lnTo>
                    <a:lnTo>
                      <a:pt x="f418" y="f419"/>
                    </a:lnTo>
                    <a:lnTo>
                      <a:pt x="f111" y="f420"/>
                    </a:lnTo>
                    <a:lnTo>
                      <a:pt x="f105" y="f32"/>
                    </a:lnTo>
                    <a:lnTo>
                      <a:pt x="f421" y="f422"/>
                    </a:lnTo>
                    <a:lnTo>
                      <a:pt x="f394" y="f23"/>
                    </a:lnTo>
                    <a:lnTo>
                      <a:pt x="f365" y="f423"/>
                    </a:lnTo>
                    <a:lnTo>
                      <a:pt x="f91" y="f117"/>
                    </a:lnTo>
                    <a:lnTo>
                      <a:pt x="f366" y="f424"/>
                    </a:lnTo>
                    <a:lnTo>
                      <a:pt x="f371" y="f425"/>
                    </a:lnTo>
                    <a:lnTo>
                      <a:pt x="f386" y="f426"/>
                    </a:lnTo>
                    <a:lnTo>
                      <a:pt x="f386" y="f427"/>
                    </a:lnTo>
                    <a:lnTo>
                      <a:pt x="f370" y="f428"/>
                    </a:lnTo>
                    <a:lnTo>
                      <a:pt x="f84" y="f418"/>
                    </a:lnTo>
                    <a:lnTo>
                      <a:pt x="f9" y="f103"/>
                    </a:lnTo>
                    <a:lnTo>
                      <a:pt x="f37" y="f95"/>
                    </a:lnTo>
                    <a:lnTo>
                      <a:pt x="f53" y="f429"/>
                    </a:lnTo>
                    <a:lnTo>
                      <a:pt x="f47" y="f390"/>
                    </a:lnTo>
                    <a:lnTo>
                      <a:pt x="f27" y="f380"/>
                    </a:lnTo>
                    <a:lnTo>
                      <a:pt x="f430" y="f11"/>
                    </a:lnTo>
                    <a:lnTo>
                      <a:pt x="f430" y="f75"/>
                    </a:lnTo>
                    <a:lnTo>
                      <a:pt x="f399" y="f10"/>
                    </a:lnTo>
                    <a:lnTo>
                      <a:pt x="f25" y="f368"/>
                    </a:lnTo>
                    <a:lnTo>
                      <a:pt x="f408" y="f37"/>
                    </a:lnTo>
                    <a:lnTo>
                      <a:pt x="f431" y="f44"/>
                    </a:lnTo>
                    <a:lnTo>
                      <a:pt x="f408" y="f432"/>
                    </a:lnTo>
                    <a:lnTo>
                      <a:pt x="f433" y="f404"/>
                    </a:lnTo>
                    <a:lnTo>
                      <a:pt x="f27" y="f14"/>
                    </a:lnTo>
                    <a:lnTo>
                      <a:pt x="f398" y="f403"/>
                    </a:lnTo>
                    <a:lnTo>
                      <a:pt x="f47" y="f407"/>
                    </a:lnTo>
                    <a:lnTo>
                      <a:pt x="f49" y="f407"/>
                    </a:lnTo>
                    <a:lnTo>
                      <a:pt x="f30" y="f14"/>
                    </a:lnTo>
                    <a:lnTo>
                      <a:pt x="f70" y="f12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2CDDF0AC-E906-4E06-AA04-93039ACC5347}"/>
                  </a:ext>
                </a:extLst>
              </p:cNvPr>
              <p:cNvSpPr/>
              <p:nvPr/>
            </p:nvSpPr>
            <p:spPr>
              <a:xfrm rot="21447621">
                <a:off x="4827218" y="1076679"/>
                <a:ext cx="532217" cy="325855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938"/>
                  <a:gd name="f8" fmla="val 606"/>
                  <a:gd name="f9" fmla="val 500"/>
                  <a:gd name="f10" fmla="val 393"/>
                  <a:gd name="f11" fmla="val 394"/>
                  <a:gd name="f12" fmla="val 498"/>
                  <a:gd name="f13" fmla="val 398"/>
                  <a:gd name="f14" fmla="val 497"/>
                  <a:gd name="f15" fmla="val 401"/>
                  <a:gd name="f16" fmla="val 495"/>
                  <a:gd name="f17" fmla="val 408"/>
                  <a:gd name="f18" fmla="val 491"/>
                  <a:gd name="f19" fmla="val 416"/>
                  <a:gd name="f20" fmla="val 486"/>
                  <a:gd name="f21" fmla="val 424"/>
                  <a:gd name="f22" fmla="val 482"/>
                  <a:gd name="f23" fmla="val 431"/>
                  <a:gd name="f24" fmla="val 480"/>
                  <a:gd name="f25" fmla="val 435"/>
                  <a:gd name="f26" fmla="val 436"/>
                  <a:gd name="f27" fmla="val 481"/>
                  <a:gd name="f28" fmla="val 437"/>
                  <a:gd name="f29" fmla="val 483"/>
                  <a:gd name="f30" fmla="val 438"/>
                  <a:gd name="f31" fmla="val 492"/>
                  <a:gd name="f32" fmla="val 494"/>
                  <a:gd name="f33" fmla="val 440"/>
                  <a:gd name="f34" fmla="val 442"/>
                  <a:gd name="f35" fmla="val 443"/>
                  <a:gd name="f36" fmla="val 501"/>
                  <a:gd name="f37" fmla="val 447"/>
                  <a:gd name="f38" fmla="val 504"/>
                  <a:gd name="f39" fmla="val 506"/>
                  <a:gd name="f40" fmla="val 449"/>
                  <a:gd name="f41" fmla="val 507"/>
                  <a:gd name="f42" fmla="val 453"/>
                  <a:gd name="f43" fmla="val 464"/>
                  <a:gd name="f44" fmla="val 508"/>
                  <a:gd name="f45" fmla="val 470"/>
                  <a:gd name="f46" fmla="val 510"/>
                  <a:gd name="f47" fmla="val 473"/>
                  <a:gd name="f48" fmla="val 514"/>
                  <a:gd name="f49" fmla="val 516"/>
                  <a:gd name="f50" fmla="val 518"/>
                  <a:gd name="f51" fmla="val 466"/>
                  <a:gd name="f52" fmla="val 520"/>
                  <a:gd name="f53" fmla="val 461"/>
                  <a:gd name="f54" fmla="val 523"/>
                  <a:gd name="f55" fmla="val 458"/>
                  <a:gd name="f56" fmla="val 527"/>
                  <a:gd name="f57" fmla="val 456"/>
                  <a:gd name="f58" fmla="val 530"/>
                  <a:gd name="f59" fmla="val 455"/>
                  <a:gd name="f60" fmla="val 532"/>
                  <a:gd name="f61" fmla="val 454"/>
                  <a:gd name="f62" fmla="val 533"/>
                  <a:gd name="f63" fmla="val 534"/>
                  <a:gd name="f64" fmla="val 451"/>
                  <a:gd name="f65" fmla="val 444"/>
                  <a:gd name="f66" fmla="val 524"/>
                  <a:gd name="f67" fmla="val 425"/>
                  <a:gd name="f68" fmla="val 419"/>
                  <a:gd name="f69" fmla="val 411"/>
                  <a:gd name="f70" fmla="val 404"/>
                  <a:gd name="f71" fmla="val 503"/>
                  <a:gd name="f72" fmla="val 396"/>
                  <a:gd name="f73" fmla="val 502"/>
                  <a:gd name="f74" fmla="val 452"/>
                  <a:gd name="f75" fmla="val 2"/>
                  <a:gd name="f76" fmla="val 459"/>
                  <a:gd name="f77" fmla="val 7"/>
                  <a:gd name="f78" fmla="val 468"/>
                  <a:gd name="f79" fmla="val 10"/>
                  <a:gd name="f80" fmla="val 14"/>
                  <a:gd name="f81" fmla="val 488"/>
                  <a:gd name="f82" fmla="val 15"/>
                  <a:gd name="f83" fmla="val 542"/>
                  <a:gd name="f84" fmla="val 545"/>
                  <a:gd name="f85" fmla="val 16"/>
                  <a:gd name="f86" fmla="val 18"/>
                  <a:gd name="f87" fmla="val 544"/>
                  <a:gd name="f88" fmla="val 19"/>
                  <a:gd name="f89" fmla="val 543"/>
                  <a:gd name="f90" fmla="val 22"/>
                  <a:gd name="f91" fmla="val 541"/>
                  <a:gd name="f92" fmla="val 24"/>
                  <a:gd name="f93" fmla="val 538"/>
                  <a:gd name="f94" fmla="val 25"/>
                  <a:gd name="f95" fmla="val 535"/>
                  <a:gd name="f96" fmla="val 27"/>
                  <a:gd name="f97" fmla="val 526"/>
                  <a:gd name="f98" fmla="val 26"/>
                  <a:gd name="f99" fmla="val 509"/>
                  <a:gd name="f100" fmla="val 23"/>
                  <a:gd name="f101" fmla="val 493"/>
                  <a:gd name="f102" fmla="val 28"/>
                  <a:gd name="f103" fmla="val 29"/>
                  <a:gd name="f104" fmla="val 478"/>
                  <a:gd name="f105" fmla="val 30"/>
                  <a:gd name="f106" fmla="val 474"/>
                  <a:gd name="f107" fmla="val 33"/>
                  <a:gd name="f108" fmla="val 465"/>
                  <a:gd name="f109" fmla="val 41"/>
                  <a:gd name="f110" fmla="val 460"/>
                  <a:gd name="f111" fmla="val 43"/>
                  <a:gd name="f112" fmla="val 446"/>
                  <a:gd name="f113" fmla="val 42"/>
                  <a:gd name="f114" fmla="val 44"/>
                  <a:gd name="f115" fmla="val 49"/>
                  <a:gd name="f116" fmla="val 432"/>
                  <a:gd name="f117" fmla="val 56"/>
                  <a:gd name="f118" fmla="val 427"/>
                  <a:gd name="f119" fmla="val 63"/>
                  <a:gd name="f120" fmla="val 420"/>
                  <a:gd name="f121" fmla="val 77"/>
                  <a:gd name="f122" fmla="val 81"/>
                  <a:gd name="f123" fmla="val 86"/>
                  <a:gd name="f124" fmla="val 421"/>
                  <a:gd name="f125" fmla="val 92"/>
                  <a:gd name="f126" fmla="val 422"/>
                  <a:gd name="f127" fmla="val 98"/>
                  <a:gd name="f128" fmla="val 101"/>
                  <a:gd name="f129" fmla="val 100"/>
                  <a:gd name="f130" fmla="val 439"/>
                  <a:gd name="f131" fmla="val 95"/>
                  <a:gd name="f132" fmla="val 90"/>
                  <a:gd name="f133" fmla="val 85"/>
                  <a:gd name="f134" fmla="val 82"/>
                  <a:gd name="f135" fmla="val 441"/>
                  <a:gd name="f136" fmla="val 75"/>
                  <a:gd name="f137" fmla="val 445"/>
                  <a:gd name="f138" fmla="val 66"/>
                  <a:gd name="f139" fmla="val 450"/>
                  <a:gd name="f140" fmla="val 61"/>
                  <a:gd name="f141" fmla="val 57"/>
                  <a:gd name="f142" fmla="val 55"/>
                  <a:gd name="f143" fmla="val 50"/>
                  <a:gd name="f144" fmla="val 40"/>
                  <a:gd name="f145" fmla="val 39"/>
                  <a:gd name="f146" fmla="val 499"/>
                  <a:gd name="f147" fmla="val 46"/>
                  <a:gd name="f148" fmla="val 515"/>
                  <a:gd name="f149" fmla="val 45"/>
                  <a:gd name="f150" fmla="val 519"/>
                  <a:gd name="f151" fmla="val 525"/>
                  <a:gd name="f152" fmla="val 54"/>
                  <a:gd name="f153" fmla="val 548"/>
                  <a:gd name="f154" fmla="val 34"/>
                  <a:gd name="f155" fmla="val 553"/>
                  <a:gd name="f156" fmla="val 559"/>
                  <a:gd name="f157" fmla="val 567"/>
                  <a:gd name="f158" fmla="val 17"/>
                  <a:gd name="f159" fmla="val 571"/>
                  <a:gd name="f160" fmla="val 573"/>
                  <a:gd name="f161" fmla="val 21"/>
                  <a:gd name="f162" fmla="val 574"/>
                  <a:gd name="f163" fmla="val 575"/>
                  <a:gd name="f164" fmla="val 38"/>
                  <a:gd name="f165" fmla="val 577"/>
                  <a:gd name="f166" fmla="val 584"/>
                  <a:gd name="f167" fmla="val 587"/>
                  <a:gd name="f168" fmla="val 591"/>
                  <a:gd name="f169" fmla="val 590"/>
                  <a:gd name="f170" fmla="val 47"/>
                  <a:gd name="f171" fmla="val 588"/>
                  <a:gd name="f172" fmla="val 52"/>
                  <a:gd name="f173" fmla="val 58"/>
                  <a:gd name="f174" fmla="val 65"/>
                  <a:gd name="f175" fmla="val 595"/>
                  <a:gd name="f176" fmla="val 600"/>
                  <a:gd name="f177" fmla="val 80"/>
                  <a:gd name="f178" fmla="val 604"/>
                  <a:gd name="f179" fmla="val 608"/>
                  <a:gd name="f180" fmla="val 87"/>
                  <a:gd name="f181" fmla="val 613"/>
                  <a:gd name="f182" fmla="val 88"/>
                  <a:gd name="f183" fmla="val 620"/>
                  <a:gd name="f184" fmla="val 91"/>
                  <a:gd name="f185" fmla="val 626"/>
                  <a:gd name="f186" fmla="val 629"/>
                  <a:gd name="f187" fmla="val 632"/>
                  <a:gd name="f188" fmla="val 99"/>
                  <a:gd name="f189" fmla="val 642"/>
                  <a:gd name="f190" fmla="val 646"/>
                  <a:gd name="f191" fmla="val 104"/>
                  <a:gd name="f192" fmla="val 648"/>
                  <a:gd name="f193" fmla="val 109"/>
                  <a:gd name="f194" fmla="val 651"/>
                  <a:gd name="f195" fmla="val 115"/>
                  <a:gd name="f196" fmla="val 656"/>
                  <a:gd name="f197" fmla="val 120"/>
                  <a:gd name="f198" fmla="val 665"/>
                  <a:gd name="f199" fmla="val 123"/>
                  <a:gd name="f200" fmla="val 667"/>
                  <a:gd name="f201" fmla="val 124"/>
                  <a:gd name="f202" fmla="val 668"/>
                  <a:gd name="f203" fmla="val 125"/>
                  <a:gd name="f204" fmla="val 671"/>
                  <a:gd name="f205" fmla="val 131"/>
                  <a:gd name="f206" fmla="val 672"/>
                  <a:gd name="f207" fmla="val 132"/>
                  <a:gd name="f208" fmla="val 674"/>
                  <a:gd name="f209" fmla="val 133"/>
                  <a:gd name="f210" fmla="val 677"/>
                  <a:gd name="f211" fmla="val 137"/>
                  <a:gd name="f212" fmla="val 679"/>
                  <a:gd name="f213" fmla="val 143"/>
                  <a:gd name="f214" fmla="val 682"/>
                  <a:gd name="f215" fmla="val 150"/>
                  <a:gd name="f216" fmla="val 685"/>
                  <a:gd name="f217" fmla="val 156"/>
                  <a:gd name="f218" fmla="val 689"/>
                  <a:gd name="f219" fmla="val 158"/>
                  <a:gd name="f220" fmla="val 692"/>
                  <a:gd name="f221" fmla="val 693"/>
                  <a:gd name="f222" fmla="val 153"/>
                  <a:gd name="f223" fmla="val 694"/>
                  <a:gd name="f224" fmla="val 148"/>
                  <a:gd name="f225" fmla="val 144"/>
                  <a:gd name="f226" fmla="val 695"/>
                  <a:gd name="f227" fmla="val 141"/>
                  <a:gd name="f228" fmla="val 698"/>
                  <a:gd name="f229" fmla="val 139"/>
                  <a:gd name="f230" fmla="val 714"/>
                  <a:gd name="f231" fmla="val 720"/>
                  <a:gd name="f232" fmla="val 136"/>
                  <a:gd name="f233" fmla="val 726"/>
                  <a:gd name="f234" fmla="val 730"/>
                  <a:gd name="f235" fmla="val 130"/>
                  <a:gd name="f236" fmla="val 735"/>
                  <a:gd name="f237" fmla="val 740"/>
                  <a:gd name="f238" fmla="val 121"/>
                  <a:gd name="f239" fmla="val 744"/>
                  <a:gd name="f240" fmla="val 746"/>
                  <a:gd name="f241" fmla="val 747"/>
                  <a:gd name="f242" fmla="val 127"/>
                  <a:gd name="f243" fmla="val 129"/>
                  <a:gd name="f244" fmla="val 749"/>
                  <a:gd name="f245" fmla="val 135"/>
                  <a:gd name="f246" fmla="val 752"/>
                  <a:gd name="f247" fmla="val 758"/>
                  <a:gd name="f248" fmla="val 764"/>
                  <a:gd name="f249" fmla="val 768"/>
                  <a:gd name="f250" fmla="val 146"/>
                  <a:gd name="f251" fmla="val 770"/>
                  <a:gd name="f252" fmla="val 151"/>
                  <a:gd name="f253" fmla="val 767"/>
                  <a:gd name="f254" fmla="val 762"/>
                  <a:gd name="f255" fmla="val 166"/>
                  <a:gd name="f256" fmla="val 174"/>
                  <a:gd name="f257" fmla="val 757"/>
                  <a:gd name="f258" fmla="val 759"/>
                  <a:gd name="f259" fmla="val 184"/>
                  <a:gd name="f260" fmla="val 187"/>
                  <a:gd name="f261" fmla="val 769"/>
                  <a:gd name="f262" fmla="val 188"/>
                  <a:gd name="f263" fmla="val 773"/>
                  <a:gd name="f264" fmla="val 190"/>
                  <a:gd name="f265" fmla="val 775"/>
                  <a:gd name="f266" fmla="val 192"/>
                  <a:gd name="f267" fmla="val 776"/>
                  <a:gd name="f268" fmla="val 195"/>
                  <a:gd name="f269" fmla="val 779"/>
                  <a:gd name="f270" fmla="val 200"/>
                  <a:gd name="f271" fmla="val 783"/>
                  <a:gd name="f272" fmla="val 205"/>
                  <a:gd name="f273" fmla="val 786"/>
                  <a:gd name="f274" fmla="val 208"/>
                  <a:gd name="f275" fmla="val 789"/>
                  <a:gd name="f276" fmla="val 210"/>
                  <a:gd name="f277" fmla="val 792"/>
                  <a:gd name="f278" fmla="val 213"/>
                  <a:gd name="f279" fmla="val 795"/>
                  <a:gd name="f280" fmla="val 217"/>
                  <a:gd name="f281" fmla="val 797"/>
                  <a:gd name="f282" fmla="val 220"/>
                  <a:gd name="f283" fmla="val 223"/>
                  <a:gd name="f284" fmla="val 793"/>
                  <a:gd name="f285" fmla="val 225"/>
                  <a:gd name="f286" fmla="val 226"/>
                  <a:gd name="f287" fmla="val 787"/>
                  <a:gd name="f288" fmla="val 227"/>
                  <a:gd name="f289" fmla="val 231"/>
                  <a:gd name="f290" fmla="val 782"/>
                  <a:gd name="f291" fmla="val 233"/>
                  <a:gd name="f292" fmla="val 780"/>
                  <a:gd name="f293" fmla="val 236"/>
                  <a:gd name="f294" fmla="val 778"/>
                  <a:gd name="f295" fmla="val 240"/>
                  <a:gd name="f296" fmla="val 243"/>
                  <a:gd name="f297" fmla="val 245"/>
                  <a:gd name="f298" fmla="val 248"/>
                  <a:gd name="f299" fmla="val 250"/>
                  <a:gd name="f300" fmla="val 251"/>
                  <a:gd name="f301" fmla="val 253"/>
                  <a:gd name="f302" fmla="val 255"/>
                  <a:gd name="f303" fmla="val 791"/>
                  <a:gd name="f304" fmla="val 262"/>
                  <a:gd name="f305" fmla="val 799"/>
                  <a:gd name="f306" fmla="val 268"/>
                  <a:gd name="f307" fmla="val 810"/>
                  <a:gd name="f308" fmla="val 275"/>
                  <a:gd name="f309" fmla="val 818"/>
                  <a:gd name="f310" fmla="val 279"/>
                  <a:gd name="f311" fmla="val 827"/>
                  <a:gd name="f312" fmla="val 284"/>
                  <a:gd name="f313" fmla="val 838"/>
                  <a:gd name="f314" fmla="val 290"/>
                  <a:gd name="f315" fmla="val 848"/>
                  <a:gd name="f316" fmla="val 294"/>
                  <a:gd name="f317" fmla="val 858"/>
                  <a:gd name="f318" fmla="val 296"/>
                  <a:gd name="f319" fmla="val 866"/>
                  <a:gd name="f320" fmla="val 295"/>
                  <a:gd name="f321" fmla="val 874"/>
                  <a:gd name="f322" fmla="val 878"/>
                  <a:gd name="f323" fmla="val 286"/>
                  <a:gd name="f324" fmla="val 881"/>
                  <a:gd name="f325" fmla="val 883"/>
                  <a:gd name="f326" fmla="val 285"/>
                  <a:gd name="f327" fmla="val 884"/>
                  <a:gd name="f328" fmla="val 288"/>
                  <a:gd name="f329" fmla="val 880"/>
                  <a:gd name="f330" fmla="val 298"/>
                  <a:gd name="f331" fmla="val 879"/>
                  <a:gd name="f332" fmla="val 304"/>
                  <a:gd name="f333" fmla="val 307"/>
                  <a:gd name="f334" fmla="val 882"/>
                  <a:gd name="f335" fmla="val 309"/>
                  <a:gd name="f336" fmla="val 887"/>
                  <a:gd name="f337" fmla="val 893"/>
                  <a:gd name="f338" fmla="val 895"/>
                  <a:gd name="f339" fmla="val 306"/>
                  <a:gd name="f340" fmla="val 899"/>
                  <a:gd name="f341" fmla="val 317"/>
                  <a:gd name="f342" fmla="val 904"/>
                  <a:gd name="f343" fmla="val 327"/>
                  <a:gd name="f344" fmla="val 907"/>
                  <a:gd name="f345" fmla="val 337"/>
                  <a:gd name="f346" fmla="val 910"/>
                  <a:gd name="f347" fmla="val 345"/>
                  <a:gd name="f348" fmla="val 911"/>
                  <a:gd name="f349" fmla="val 351"/>
                  <a:gd name="f350" fmla="val 363"/>
                  <a:gd name="f351" fmla="val 912"/>
                  <a:gd name="f352" fmla="val 375"/>
                  <a:gd name="f353" fmla="val 915"/>
                  <a:gd name="f354" fmla="val 387"/>
                  <a:gd name="f355" fmla="val 918"/>
                  <a:gd name="f356" fmla="val 921"/>
                  <a:gd name="f357" fmla="val 403"/>
                  <a:gd name="f358" fmla="val 925"/>
                  <a:gd name="f359" fmla="val 415"/>
                  <a:gd name="f360" fmla="val 930"/>
                  <a:gd name="f361" fmla="val 429"/>
                  <a:gd name="f362" fmla="val 934"/>
                  <a:gd name="f363" fmla="val 929"/>
                  <a:gd name="f364" fmla="val 463"/>
                  <a:gd name="f365" fmla="val 891"/>
                  <a:gd name="f366" fmla="val 484"/>
                  <a:gd name="f367" fmla="val 886"/>
                  <a:gd name="f368" fmla="val 489"/>
                  <a:gd name="f369" fmla="val 872"/>
                  <a:gd name="f370" fmla="val 864"/>
                  <a:gd name="f371" fmla="val 859"/>
                  <a:gd name="f372" fmla="val 855"/>
                  <a:gd name="f373" fmla="val 476"/>
                  <a:gd name="f374" fmla="val 851"/>
                  <a:gd name="f375" fmla="val 840"/>
                  <a:gd name="f376" fmla="val 833"/>
                  <a:gd name="f377" fmla="val 426"/>
                  <a:gd name="f378" fmla="val 822"/>
                  <a:gd name="f379" fmla="val 817"/>
                  <a:gd name="f380" fmla="val 812"/>
                  <a:gd name="f381" fmla="val 428"/>
                  <a:gd name="f382" fmla="val 808"/>
                  <a:gd name="f383" fmla="val 802"/>
                  <a:gd name="f384" fmla="val 766"/>
                  <a:gd name="f385" fmla="val 753"/>
                  <a:gd name="f386" fmla="val 743"/>
                  <a:gd name="f387" fmla="val 734"/>
                  <a:gd name="f388" fmla="val 727"/>
                  <a:gd name="f389" fmla="val 721"/>
                  <a:gd name="f390" fmla="val 718"/>
                  <a:gd name="f391" fmla="val 717"/>
                  <a:gd name="f392" fmla="val 716"/>
                  <a:gd name="f393" fmla="val 715"/>
                  <a:gd name="f394" fmla="val 477"/>
                  <a:gd name="f395" fmla="val 712"/>
                  <a:gd name="f396" fmla="val 706"/>
                  <a:gd name="f397" fmla="val 699"/>
                  <a:gd name="f398" fmla="val 696"/>
                  <a:gd name="f399" fmla="val 691"/>
                  <a:gd name="f400" fmla="val 512"/>
                  <a:gd name="f401" fmla="val 688"/>
                  <a:gd name="f402" fmla="val 511"/>
                  <a:gd name="f403" fmla="val 686"/>
                  <a:gd name="f404" fmla="val 505"/>
                  <a:gd name="f405" fmla="val 683"/>
                  <a:gd name="f406" fmla="val 678"/>
                  <a:gd name="f407" fmla="val 496"/>
                  <a:gd name="f408" fmla="val 661"/>
                  <a:gd name="f409" fmla="val 658"/>
                  <a:gd name="f410" fmla="val 652"/>
                  <a:gd name="f411" fmla="val 647"/>
                  <a:gd name="f412" fmla="val 644"/>
                  <a:gd name="f413" fmla="val 643"/>
                  <a:gd name="f414" fmla="val 517"/>
                  <a:gd name="f415" fmla="val 641"/>
                  <a:gd name="f416" fmla="val 640"/>
                  <a:gd name="f417" fmla="val 638"/>
                  <a:gd name="f418" fmla="val 636"/>
                  <a:gd name="f419" fmla="val 633"/>
                  <a:gd name="f420" fmla="val 623"/>
                  <a:gd name="f421" fmla="val 619"/>
                  <a:gd name="f422" fmla="val 616"/>
                  <a:gd name="f423" fmla="val 522"/>
                  <a:gd name="f424" fmla="val 610"/>
                  <a:gd name="f425" fmla="val 528"/>
                  <a:gd name="f426" fmla="val 601"/>
                  <a:gd name="f427" fmla="val 593"/>
                  <a:gd name="f428" fmla="val 540"/>
                  <a:gd name="f429" fmla="val 585"/>
                  <a:gd name="f430" fmla="val 582"/>
                  <a:gd name="f431" fmla="val 546"/>
                  <a:gd name="f432" fmla="val 580"/>
                  <a:gd name="f433" fmla="val 547"/>
                  <a:gd name="f434" fmla="val 578"/>
                  <a:gd name="f435" fmla="val 539"/>
                  <a:gd name="f436" fmla="val 537"/>
                  <a:gd name="f437" fmla="val 565"/>
                  <a:gd name="f438" fmla="val 536"/>
                  <a:gd name="f439" fmla="val 521"/>
                  <a:gd name="f440" fmla="val 409"/>
                  <a:gd name="f441" fmla="val 400"/>
                  <a:gd name="f442" fmla="val 469"/>
                  <a:gd name="f443" fmla="val 389"/>
                  <a:gd name="f444" fmla="val 467"/>
                  <a:gd name="f445" fmla="val 384"/>
                  <a:gd name="f446" fmla="val 377"/>
                  <a:gd name="f447" fmla="val 371"/>
                  <a:gd name="f448" fmla="val 367"/>
                  <a:gd name="f449" fmla="val 475"/>
                  <a:gd name="f450" fmla="val 472"/>
                  <a:gd name="f451" fmla="val 357"/>
                  <a:gd name="f452" fmla="val 346"/>
                  <a:gd name="f453" fmla="val 343"/>
                  <a:gd name="f454" fmla="val 479"/>
                  <a:gd name="f455" fmla="val 342"/>
                  <a:gd name="f456" fmla="val 340"/>
                  <a:gd name="f457" fmla="val 335"/>
                  <a:gd name="f458" fmla="val 329"/>
                  <a:gd name="f459" fmla="val 321"/>
                  <a:gd name="f460" fmla="val 315"/>
                  <a:gd name="f461" fmla="val 305"/>
                  <a:gd name="f462" fmla="val 299"/>
                  <a:gd name="f463" fmla="val 293"/>
                  <a:gd name="f464" fmla="val 273"/>
                  <a:gd name="f465" fmla="val 266"/>
                  <a:gd name="f466" fmla="val 259"/>
                  <a:gd name="f467" fmla="val 242"/>
                  <a:gd name="f468" fmla="val 232"/>
                  <a:gd name="f469" fmla="val 216"/>
                  <a:gd name="f470" fmla="val 552"/>
                  <a:gd name="f471" fmla="val 556"/>
                  <a:gd name="f472" fmla="val 561"/>
                  <a:gd name="f473" fmla="val 234"/>
                  <a:gd name="f474" fmla="val 241"/>
                  <a:gd name="f475" fmla="val 570"/>
                  <a:gd name="f476" fmla="val 246"/>
                  <a:gd name="f477" fmla="val 576"/>
                  <a:gd name="f478" fmla="val 254"/>
                  <a:gd name="f479" fmla="val 257"/>
                  <a:gd name="f480" fmla="val 263"/>
                  <a:gd name="f481" fmla="val 586"/>
                  <a:gd name="f482" fmla="val 596"/>
                  <a:gd name="f483" fmla="val 264"/>
                  <a:gd name="f484" fmla="val 599"/>
                  <a:gd name="f485" fmla="val 261"/>
                  <a:gd name="f486" fmla="val 249"/>
                  <a:gd name="f487" fmla="val 244"/>
                  <a:gd name="f488" fmla="val 605"/>
                  <a:gd name="f489" fmla="val 237"/>
                  <a:gd name="f490" fmla="val 229"/>
                  <a:gd name="f491" fmla="val 603"/>
                  <a:gd name="f492" fmla="val 221"/>
                  <a:gd name="f493" fmla="val 209"/>
                  <a:gd name="f494" fmla="val 592"/>
                  <a:gd name="f495" fmla="val 181"/>
                  <a:gd name="f496" fmla="val 594"/>
                  <a:gd name="f497" fmla="val 176"/>
                  <a:gd name="f498" fmla="val 172"/>
                  <a:gd name="f499" fmla="val 169"/>
                  <a:gd name="f500" fmla="val 161"/>
                  <a:gd name="f501" fmla="val 157"/>
                  <a:gd name="f502" fmla="val 568"/>
                  <a:gd name="f503" fmla="val 564"/>
                  <a:gd name="f504" fmla="val 149"/>
                  <a:gd name="f505" fmla="val 147"/>
                  <a:gd name="f506" fmla="val 145"/>
                  <a:gd name="f507" fmla="val 569"/>
                  <a:gd name="f508" fmla="val 142"/>
                  <a:gd name="f509" fmla="val 138"/>
                  <a:gd name="f510" fmla="val 566"/>
                  <a:gd name="f511" fmla="val 563"/>
                  <a:gd name="f512" fmla="val 558"/>
                  <a:gd name="f513" fmla="val 134"/>
                  <a:gd name="f514" fmla="val 555"/>
                  <a:gd name="f515" fmla="val 116"/>
                  <a:gd name="f516" fmla="val 111"/>
                  <a:gd name="f517" fmla="val 560"/>
                  <a:gd name="f518" fmla="val 107"/>
                  <a:gd name="f519" fmla="val 557"/>
                  <a:gd name="f520" fmla="val 93"/>
                  <a:gd name="f521" fmla="val 83"/>
                  <a:gd name="f522" fmla="val 72"/>
                  <a:gd name="f523" fmla="val 62"/>
                  <a:gd name="f524" fmla="val 53"/>
                  <a:gd name="f525" fmla="val 35"/>
                  <a:gd name="f526" fmla="val 31"/>
                  <a:gd name="f527" fmla="val 487"/>
                  <a:gd name="f528" fmla="val 20"/>
                  <a:gd name="f529" fmla="val 1"/>
                  <a:gd name="f530" fmla="val 4"/>
                  <a:gd name="f531" fmla="val 6"/>
                  <a:gd name="f532" fmla="val 13"/>
                  <a:gd name="f533" fmla="val 36"/>
                  <a:gd name="f534" fmla="val 402"/>
                  <a:gd name="f535" fmla="val 51"/>
                  <a:gd name="f536" fmla="val 395"/>
                  <a:gd name="f537" fmla="val 69"/>
                  <a:gd name="f538" fmla="val 74"/>
                  <a:gd name="f539" fmla="val 78"/>
                  <a:gd name="f540" fmla="val 390"/>
                  <a:gd name="f541" fmla="val 383"/>
                  <a:gd name="f542" fmla="val 79"/>
                  <a:gd name="f543" fmla="val 378"/>
                  <a:gd name="f544" fmla="val 374"/>
                  <a:gd name="f545" fmla="val 370"/>
                  <a:gd name="f546" fmla="val 353"/>
                  <a:gd name="f547" fmla="val 347"/>
                  <a:gd name="f548" fmla="val 76"/>
                  <a:gd name="f549" fmla="val 338"/>
                  <a:gd name="f550" fmla="val 71"/>
                  <a:gd name="f551" fmla="val 336"/>
                  <a:gd name="f552" fmla="val 334"/>
                  <a:gd name="f553" fmla="val 48"/>
                  <a:gd name="f554" fmla="val 330"/>
                  <a:gd name="f555" fmla="val 324"/>
                  <a:gd name="f556" fmla="val 32"/>
                  <a:gd name="f557" fmla="val 313"/>
                  <a:gd name="f558" fmla="val 292"/>
                  <a:gd name="f559" fmla="val 37"/>
                  <a:gd name="f560" fmla="val 252"/>
                  <a:gd name="f561" fmla="val 247"/>
                  <a:gd name="f562" fmla="val 67"/>
                  <a:gd name="f563" fmla="val 70"/>
                  <a:gd name="f564" fmla="val 222"/>
                  <a:gd name="f565" fmla="val 219"/>
                  <a:gd name="f566" fmla="val 89"/>
                  <a:gd name="f567" fmla="val 215"/>
                  <a:gd name="f568" fmla="val 206"/>
                  <a:gd name="f569" fmla="val 122"/>
                  <a:gd name="f570" fmla="val 204"/>
                  <a:gd name="f571" fmla="val 207"/>
                  <a:gd name="f572" fmla="val 211"/>
                  <a:gd name="f573" fmla="val 214"/>
                  <a:gd name="f574" fmla="val 218"/>
                  <a:gd name="f575" fmla="val 168"/>
                  <a:gd name="f576" fmla="val 173"/>
                  <a:gd name="f577" fmla="val 175"/>
                  <a:gd name="f578" fmla="val 230"/>
                  <a:gd name="f579" fmla="val 177"/>
                  <a:gd name="f580" fmla="val 178"/>
                  <a:gd name="f581" fmla="val 235"/>
                  <a:gd name="f582" fmla="val 191"/>
                  <a:gd name="f583" fmla="val 238"/>
                  <a:gd name="f584" fmla="val 196"/>
                  <a:gd name="f585" fmla="val 199"/>
                  <a:gd name="f586" fmla="val 202"/>
                  <a:gd name="f587" fmla="val 194"/>
                  <a:gd name="f588" fmla="val 228"/>
                  <a:gd name="f589" fmla="val 189"/>
                  <a:gd name="f590" fmla="val 183"/>
                  <a:gd name="f591" fmla="val 239"/>
                  <a:gd name="f592" fmla="val 303"/>
                  <a:gd name="f593" fmla="val 316"/>
                  <a:gd name="f594" fmla="val 361"/>
                  <a:gd name="f595" fmla="val 118"/>
                  <a:gd name="f596" fmla="val 365"/>
                  <a:gd name="f597" fmla="val 391"/>
                  <a:gd name="f598" fmla="val 405"/>
                  <a:gd name="f599" fmla="val 9"/>
                  <a:gd name="f600" fmla="val 448"/>
                  <a:gd name="f601" fmla="val 3"/>
                  <a:gd name="f602" fmla="+- 0 0 -90"/>
                  <a:gd name="f603" fmla="*/ f4 1 938"/>
                  <a:gd name="f604" fmla="*/ f5 1 606"/>
                  <a:gd name="f605" fmla="+- f8 0 f6"/>
                  <a:gd name="f606" fmla="+- f7 0 f6"/>
                  <a:gd name="f607" fmla="*/ f602 f0 1"/>
                  <a:gd name="f608" fmla="*/ f606 1 938"/>
                  <a:gd name="f609" fmla="*/ f605 1 606"/>
                  <a:gd name="f610" fmla="*/ f607 1 f3"/>
                  <a:gd name="f611" fmla="*/ 480 1 f608"/>
                  <a:gd name="f612" fmla="*/ 436 1 f609"/>
                  <a:gd name="f613" fmla="*/ 507 1 f608"/>
                  <a:gd name="f614" fmla="*/ 453 1 f609"/>
                  <a:gd name="f615" fmla="*/ 530 1 f608"/>
                  <a:gd name="f616" fmla="*/ 455 1 f609"/>
                  <a:gd name="f617" fmla="*/ 516 1 f608"/>
                  <a:gd name="f618" fmla="*/ 425 1 f609"/>
                  <a:gd name="f619" fmla="*/ 454 1 f608"/>
                  <a:gd name="f620" fmla="*/ 2 1 f609"/>
                  <a:gd name="f621" fmla="*/ 541 1 f608"/>
                  <a:gd name="f622" fmla="*/ 24 1 f609"/>
                  <a:gd name="f623" fmla="*/ 488 1 f608"/>
                  <a:gd name="f624" fmla="*/ 28 1 f609"/>
                  <a:gd name="f625" fmla="*/ 432 1 f608"/>
                  <a:gd name="f626" fmla="*/ 56 1 f609"/>
                  <a:gd name="f627" fmla="*/ 439 1 f608"/>
                  <a:gd name="f628" fmla="*/ 100 1 f609"/>
                  <a:gd name="f629" fmla="*/ 465 1 f608"/>
                  <a:gd name="f630" fmla="*/ 55 1 f609"/>
                  <a:gd name="f631" fmla="*/ 525 1 f608"/>
                  <a:gd name="f632" fmla="*/ 50 1 f609"/>
                  <a:gd name="f633" fmla="*/ 571 1 f608"/>
                  <a:gd name="f634" fmla="*/ 18 1 f609"/>
                  <a:gd name="f635" fmla="*/ 590 1 f608"/>
                  <a:gd name="f636" fmla="*/ 47 1 f609"/>
                  <a:gd name="f637" fmla="*/ 626 1 f608"/>
                  <a:gd name="f638" fmla="*/ 95 1 f609"/>
                  <a:gd name="f639" fmla="*/ 668 1 f608"/>
                  <a:gd name="f640" fmla="*/ 125 1 f609"/>
                  <a:gd name="f641" fmla="*/ 693 1 f608"/>
                  <a:gd name="f642" fmla="*/ 153 1 f609"/>
                  <a:gd name="f643" fmla="*/ 740 1 f608"/>
                  <a:gd name="f644" fmla="*/ 121 1 f609"/>
                  <a:gd name="f645" fmla="*/ 758 1 f608"/>
                  <a:gd name="f646" fmla="*/ 137 1 f609"/>
                  <a:gd name="f647" fmla="*/ 769 1 f608"/>
                  <a:gd name="f648" fmla="*/ 188 1 f609"/>
                  <a:gd name="f649" fmla="*/ 797 1 f608"/>
                  <a:gd name="f650" fmla="*/ 220 1 f609"/>
                  <a:gd name="f651" fmla="*/ 775 1 f608"/>
                  <a:gd name="f652" fmla="*/ 245 1 f609"/>
                  <a:gd name="f653" fmla="*/ 827 1 f608"/>
                  <a:gd name="f654" fmla="*/ 284 1 f609"/>
                  <a:gd name="f655" fmla="*/ 880 1 f608"/>
                  <a:gd name="f656" fmla="*/ 298 1 f609"/>
                  <a:gd name="f657" fmla="*/ 910 1 f608"/>
                  <a:gd name="f658" fmla="*/ 345 1 f609"/>
                  <a:gd name="f659" fmla="*/ 938 1 f608"/>
                  <a:gd name="f660" fmla="*/ 458 1 f609"/>
                  <a:gd name="f661" fmla="*/ 864 1 f608"/>
                  <a:gd name="f662" fmla="*/ 489 1 f609"/>
                  <a:gd name="f663" fmla="*/ 808 1 f608"/>
                  <a:gd name="f664" fmla="*/ 432 1 f609"/>
                  <a:gd name="f665" fmla="*/ 718 1 f608"/>
                  <a:gd name="f666" fmla="*/ 464 1 f609"/>
                  <a:gd name="f667" fmla="*/ 691 1 f608"/>
                  <a:gd name="f668" fmla="*/ 512 1 f609"/>
                  <a:gd name="f669" fmla="*/ 665 1 f608"/>
                  <a:gd name="f670" fmla="*/ 495 1 f609"/>
                  <a:gd name="f671" fmla="*/ 641 1 f608"/>
                  <a:gd name="f672" fmla="*/ 514 1 f609"/>
                  <a:gd name="f673" fmla="*/ 619 1 f608"/>
                  <a:gd name="f674" fmla="*/ 516 1 f609"/>
                  <a:gd name="f675" fmla="*/ 577 1 f608"/>
                  <a:gd name="f676" fmla="*/ 545 1 f609"/>
                  <a:gd name="f677" fmla="*/ 527 1 f608"/>
                  <a:gd name="f678" fmla="*/ 526 1 f609"/>
                  <a:gd name="f679" fmla="*/ 477 1 f608"/>
                  <a:gd name="f680" fmla="*/ 505 1 f609"/>
                  <a:gd name="f681" fmla="*/ 431 1 f608"/>
                  <a:gd name="f682" fmla="*/ 491 1 f609"/>
                  <a:gd name="f683" fmla="*/ 363 1 f608"/>
                  <a:gd name="f684" fmla="*/ 472 1 f609"/>
                  <a:gd name="f685" fmla="*/ 315 1 f608"/>
                  <a:gd name="f686" fmla="*/ 507 1 f609"/>
                  <a:gd name="f687" fmla="*/ 273 1 f608"/>
                  <a:gd name="f688" fmla="*/ 510 1 f609"/>
                  <a:gd name="f689" fmla="*/ 226 1 f608"/>
                  <a:gd name="f690" fmla="*/ 561 1 f609"/>
                  <a:gd name="f691" fmla="*/ 264 1 f608"/>
                  <a:gd name="f692" fmla="*/ 599 1 f609"/>
                  <a:gd name="f693" fmla="*/ 200 1 f608"/>
                  <a:gd name="f694" fmla="*/ 592 1 f609"/>
                  <a:gd name="f695" fmla="*/ 153 1 f608"/>
                  <a:gd name="f696" fmla="*/ 564 1 f609"/>
                  <a:gd name="f697" fmla="*/ 135 1 f608"/>
                  <a:gd name="f698" fmla="*/ 559 1 f609"/>
                  <a:gd name="f699" fmla="*/ 93 1 f608"/>
                  <a:gd name="f700" fmla="*/ 547 1 f609"/>
                  <a:gd name="f701" fmla="*/ 28 1 f608"/>
                  <a:gd name="f702" fmla="*/ 499 1 f609"/>
                  <a:gd name="f703" fmla="*/ 2 1 f608"/>
                  <a:gd name="f704" fmla="*/ 451 1 f609"/>
                  <a:gd name="f705" fmla="*/ 51 1 f608"/>
                  <a:gd name="f706" fmla="*/ 395 1 f609"/>
                  <a:gd name="f707" fmla="*/ 78 1 f608"/>
                  <a:gd name="f708" fmla="*/ 370 1 f609"/>
                  <a:gd name="f709" fmla="*/ 38 1 f608"/>
                  <a:gd name="f710" fmla="*/ 321 1 f609"/>
                  <a:gd name="f711" fmla="*/ 63 1 f608"/>
                  <a:gd name="f712" fmla="*/ 247 1 f609"/>
                  <a:gd name="f713" fmla="*/ 111 1 f608"/>
                  <a:gd name="f714" fmla="*/ 206 1 f609"/>
                  <a:gd name="f715" fmla="*/ 145 1 f608"/>
                  <a:gd name="f716" fmla="*/ 221 1 f609"/>
                  <a:gd name="f717" fmla="*/ 176 1 f608"/>
                  <a:gd name="f718" fmla="*/ 231 1 f609"/>
                  <a:gd name="f719" fmla="*/ 206 1 f608"/>
                  <a:gd name="f720" fmla="*/ 229 1 f609"/>
                  <a:gd name="f721" fmla="*/ 239 1 f608"/>
                  <a:gd name="f722" fmla="*/ 168 1 f609"/>
                  <a:gd name="f723" fmla="*/ 330 1 f608"/>
                  <a:gd name="f724" fmla="*/ 132 1 f609"/>
                  <a:gd name="f725" fmla="*/ 415 1 f608"/>
                  <a:gd name="f726" fmla="*/ 72 1 f609"/>
                  <a:gd name="f727" fmla="*/ 450 1 f608"/>
                  <a:gd name="f728" fmla="*/ 1 1 f609"/>
                  <a:gd name="f729" fmla="*/ 0 1 f608"/>
                  <a:gd name="f730" fmla="*/ f7 1 f608"/>
                  <a:gd name="f731" fmla="*/ 0 1 f609"/>
                  <a:gd name="f732" fmla="*/ f8 1 f609"/>
                  <a:gd name="f733" fmla="+- f610 0 f1"/>
                  <a:gd name="f734" fmla="*/ f729 f603 1"/>
                  <a:gd name="f735" fmla="*/ f730 f603 1"/>
                  <a:gd name="f736" fmla="*/ f732 f604 1"/>
                  <a:gd name="f737" fmla="*/ f731 f604 1"/>
                  <a:gd name="f738" fmla="*/ f611 f603 1"/>
                  <a:gd name="f739" fmla="*/ f612 f604 1"/>
                  <a:gd name="f740" fmla="*/ f613 f603 1"/>
                  <a:gd name="f741" fmla="*/ f614 f604 1"/>
                  <a:gd name="f742" fmla="*/ f615 f603 1"/>
                  <a:gd name="f743" fmla="*/ f616 f604 1"/>
                  <a:gd name="f744" fmla="*/ f617 f603 1"/>
                  <a:gd name="f745" fmla="*/ f618 f604 1"/>
                  <a:gd name="f746" fmla="*/ f619 f603 1"/>
                  <a:gd name="f747" fmla="*/ f620 f604 1"/>
                  <a:gd name="f748" fmla="*/ f621 f603 1"/>
                  <a:gd name="f749" fmla="*/ f622 f604 1"/>
                  <a:gd name="f750" fmla="*/ f623 f603 1"/>
                  <a:gd name="f751" fmla="*/ f624 f604 1"/>
                  <a:gd name="f752" fmla="*/ f625 f603 1"/>
                  <a:gd name="f753" fmla="*/ f626 f604 1"/>
                  <a:gd name="f754" fmla="*/ f627 f603 1"/>
                  <a:gd name="f755" fmla="*/ f628 f604 1"/>
                  <a:gd name="f756" fmla="*/ f629 f603 1"/>
                  <a:gd name="f757" fmla="*/ f630 f604 1"/>
                  <a:gd name="f758" fmla="*/ f631 f603 1"/>
                  <a:gd name="f759" fmla="*/ f632 f604 1"/>
                  <a:gd name="f760" fmla="*/ f633 f603 1"/>
                  <a:gd name="f761" fmla="*/ f634 f604 1"/>
                  <a:gd name="f762" fmla="*/ f635 f603 1"/>
                  <a:gd name="f763" fmla="*/ f636 f604 1"/>
                  <a:gd name="f764" fmla="*/ f637 f603 1"/>
                  <a:gd name="f765" fmla="*/ f638 f604 1"/>
                  <a:gd name="f766" fmla="*/ f639 f603 1"/>
                  <a:gd name="f767" fmla="*/ f640 f604 1"/>
                  <a:gd name="f768" fmla="*/ f641 f603 1"/>
                  <a:gd name="f769" fmla="*/ f642 f604 1"/>
                  <a:gd name="f770" fmla="*/ f643 f603 1"/>
                  <a:gd name="f771" fmla="*/ f644 f604 1"/>
                  <a:gd name="f772" fmla="*/ f645 f603 1"/>
                  <a:gd name="f773" fmla="*/ f646 f604 1"/>
                  <a:gd name="f774" fmla="*/ f647 f603 1"/>
                  <a:gd name="f775" fmla="*/ f648 f604 1"/>
                  <a:gd name="f776" fmla="*/ f649 f603 1"/>
                  <a:gd name="f777" fmla="*/ f650 f604 1"/>
                  <a:gd name="f778" fmla="*/ f651 f603 1"/>
                  <a:gd name="f779" fmla="*/ f652 f604 1"/>
                  <a:gd name="f780" fmla="*/ f653 f603 1"/>
                  <a:gd name="f781" fmla="*/ f654 f604 1"/>
                  <a:gd name="f782" fmla="*/ f655 f603 1"/>
                  <a:gd name="f783" fmla="*/ f656 f604 1"/>
                  <a:gd name="f784" fmla="*/ f657 f603 1"/>
                  <a:gd name="f785" fmla="*/ f658 f604 1"/>
                  <a:gd name="f786" fmla="*/ f659 f603 1"/>
                  <a:gd name="f787" fmla="*/ f660 f604 1"/>
                  <a:gd name="f788" fmla="*/ f661 f603 1"/>
                  <a:gd name="f789" fmla="*/ f662 f604 1"/>
                  <a:gd name="f790" fmla="*/ f663 f603 1"/>
                  <a:gd name="f791" fmla="*/ f664 f604 1"/>
                  <a:gd name="f792" fmla="*/ f665 f603 1"/>
                  <a:gd name="f793" fmla="*/ f666 f604 1"/>
                  <a:gd name="f794" fmla="*/ f667 f603 1"/>
                  <a:gd name="f795" fmla="*/ f668 f604 1"/>
                  <a:gd name="f796" fmla="*/ f669 f603 1"/>
                  <a:gd name="f797" fmla="*/ f670 f604 1"/>
                  <a:gd name="f798" fmla="*/ f671 f603 1"/>
                  <a:gd name="f799" fmla="*/ f672 f604 1"/>
                  <a:gd name="f800" fmla="*/ f673 f603 1"/>
                  <a:gd name="f801" fmla="*/ f674 f604 1"/>
                  <a:gd name="f802" fmla="*/ f675 f603 1"/>
                  <a:gd name="f803" fmla="*/ f676 f604 1"/>
                  <a:gd name="f804" fmla="*/ f677 f603 1"/>
                  <a:gd name="f805" fmla="*/ f678 f604 1"/>
                  <a:gd name="f806" fmla="*/ f679 f603 1"/>
                  <a:gd name="f807" fmla="*/ f680 f604 1"/>
                  <a:gd name="f808" fmla="*/ f681 f603 1"/>
                  <a:gd name="f809" fmla="*/ f682 f604 1"/>
                  <a:gd name="f810" fmla="*/ f683 f603 1"/>
                  <a:gd name="f811" fmla="*/ f684 f604 1"/>
                  <a:gd name="f812" fmla="*/ f685 f603 1"/>
                  <a:gd name="f813" fmla="*/ f686 f604 1"/>
                  <a:gd name="f814" fmla="*/ f687 f603 1"/>
                  <a:gd name="f815" fmla="*/ f688 f604 1"/>
                  <a:gd name="f816" fmla="*/ f689 f603 1"/>
                  <a:gd name="f817" fmla="*/ f690 f604 1"/>
                  <a:gd name="f818" fmla="*/ f691 f603 1"/>
                  <a:gd name="f819" fmla="*/ f692 f604 1"/>
                  <a:gd name="f820" fmla="*/ f693 f603 1"/>
                  <a:gd name="f821" fmla="*/ f694 f604 1"/>
                  <a:gd name="f822" fmla="*/ f695 f603 1"/>
                  <a:gd name="f823" fmla="*/ f696 f604 1"/>
                  <a:gd name="f824" fmla="*/ f697 f603 1"/>
                  <a:gd name="f825" fmla="*/ f698 f604 1"/>
                  <a:gd name="f826" fmla="*/ f699 f603 1"/>
                  <a:gd name="f827" fmla="*/ f700 f604 1"/>
                  <a:gd name="f828" fmla="*/ f701 f603 1"/>
                  <a:gd name="f829" fmla="*/ f702 f604 1"/>
                  <a:gd name="f830" fmla="*/ f703 f603 1"/>
                  <a:gd name="f831" fmla="*/ f704 f604 1"/>
                  <a:gd name="f832" fmla="*/ f705 f603 1"/>
                  <a:gd name="f833" fmla="*/ f706 f604 1"/>
                  <a:gd name="f834" fmla="*/ f707 f603 1"/>
                  <a:gd name="f835" fmla="*/ f708 f604 1"/>
                  <a:gd name="f836" fmla="*/ f709 f603 1"/>
                  <a:gd name="f837" fmla="*/ f710 f604 1"/>
                  <a:gd name="f838" fmla="*/ f711 f603 1"/>
                  <a:gd name="f839" fmla="*/ f712 f604 1"/>
                  <a:gd name="f840" fmla="*/ f713 f603 1"/>
                  <a:gd name="f841" fmla="*/ f714 f604 1"/>
                  <a:gd name="f842" fmla="*/ f715 f603 1"/>
                  <a:gd name="f843" fmla="*/ f716 f604 1"/>
                  <a:gd name="f844" fmla="*/ f717 f603 1"/>
                  <a:gd name="f845" fmla="*/ f718 f604 1"/>
                  <a:gd name="f846" fmla="*/ f719 f603 1"/>
                  <a:gd name="f847" fmla="*/ f720 f604 1"/>
                  <a:gd name="f848" fmla="*/ f721 f603 1"/>
                  <a:gd name="f849" fmla="*/ f722 f604 1"/>
                  <a:gd name="f850" fmla="*/ f723 f603 1"/>
                  <a:gd name="f851" fmla="*/ f724 f604 1"/>
                  <a:gd name="f852" fmla="*/ f725 f603 1"/>
                  <a:gd name="f853" fmla="*/ f726 f604 1"/>
                  <a:gd name="f854" fmla="*/ f727 f603 1"/>
                  <a:gd name="f855" fmla="*/ f728 f60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733">
                    <a:pos x="f738" y="f739"/>
                  </a:cxn>
                  <a:cxn ang="f733">
                    <a:pos x="f740" y="f741"/>
                  </a:cxn>
                  <a:cxn ang="f733">
                    <a:pos x="f742" y="f743"/>
                  </a:cxn>
                  <a:cxn ang="f733">
                    <a:pos x="f744" y="f745"/>
                  </a:cxn>
                  <a:cxn ang="f733">
                    <a:pos x="f746" y="f747"/>
                  </a:cxn>
                  <a:cxn ang="f733">
                    <a:pos x="f748" y="f749"/>
                  </a:cxn>
                  <a:cxn ang="f733">
                    <a:pos x="f750" y="f751"/>
                  </a:cxn>
                  <a:cxn ang="f733">
                    <a:pos x="f752" y="f753"/>
                  </a:cxn>
                  <a:cxn ang="f733">
                    <a:pos x="f754" y="f755"/>
                  </a:cxn>
                  <a:cxn ang="f733">
                    <a:pos x="f756" y="f757"/>
                  </a:cxn>
                  <a:cxn ang="f733">
                    <a:pos x="f758" y="f759"/>
                  </a:cxn>
                  <a:cxn ang="f733">
                    <a:pos x="f760" y="f761"/>
                  </a:cxn>
                  <a:cxn ang="f733">
                    <a:pos x="f762" y="f763"/>
                  </a:cxn>
                  <a:cxn ang="f733">
                    <a:pos x="f764" y="f765"/>
                  </a:cxn>
                  <a:cxn ang="f733">
                    <a:pos x="f766" y="f767"/>
                  </a:cxn>
                  <a:cxn ang="f733">
                    <a:pos x="f768" y="f769"/>
                  </a:cxn>
                  <a:cxn ang="f733">
                    <a:pos x="f770" y="f771"/>
                  </a:cxn>
                  <a:cxn ang="f733">
                    <a:pos x="f772" y="f773"/>
                  </a:cxn>
                  <a:cxn ang="f733">
                    <a:pos x="f774" y="f775"/>
                  </a:cxn>
                  <a:cxn ang="f733">
                    <a:pos x="f776" y="f777"/>
                  </a:cxn>
                  <a:cxn ang="f733">
                    <a:pos x="f778" y="f779"/>
                  </a:cxn>
                  <a:cxn ang="f733">
                    <a:pos x="f780" y="f781"/>
                  </a:cxn>
                  <a:cxn ang="f733">
                    <a:pos x="f782" y="f783"/>
                  </a:cxn>
                  <a:cxn ang="f733">
                    <a:pos x="f784" y="f785"/>
                  </a:cxn>
                  <a:cxn ang="f733">
                    <a:pos x="f786" y="f787"/>
                  </a:cxn>
                  <a:cxn ang="f733">
                    <a:pos x="f788" y="f789"/>
                  </a:cxn>
                  <a:cxn ang="f733">
                    <a:pos x="f790" y="f791"/>
                  </a:cxn>
                  <a:cxn ang="f733">
                    <a:pos x="f792" y="f793"/>
                  </a:cxn>
                  <a:cxn ang="f733">
                    <a:pos x="f794" y="f795"/>
                  </a:cxn>
                  <a:cxn ang="f733">
                    <a:pos x="f796" y="f797"/>
                  </a:cxn>
                  <a:cxn ang="f733">
                    <a:pos x="f798" y="f799"/>
                  </a:cxn>
                  <a:cxn ang="f733">
                    <a:pos x="f800" y="f801"/>
                  </a:cxn>
                  <a:cxn ang="f733">
                    <a:pos x="f802" y="f803"/>
                  </a:cxn>
                  <a:cxn ang="f733">
                    <a:pos x="f804" y="f805"/>
                  </a:cxn>
                  <a:cxn ang="f733">
                    <a:pos x="f806" y="f807"/>
                  </a:cxn>
                  <a:cxn ang="f733">
                    <a:pos x="f808" y="f809"/>
                  </a:cxn>
                  <a:cxn ang="f733">
                    <a:pos x="f810" y="f811"/>
                  </a:cxn>
                  <a:cxn ang="f733">
                    <a:pos x="f812" y="f813"/>
                  </a:cxn>
                  <a:cxn ang="f733">
                    <a:pos x="f814" y="f815"/>
                  </a:cxn>
                  <a:cxn ang="f733">
                    <a:pos x="f816" y="f817"/>
                  </a:cxn>
                  <a:cxn ang="f733">
                    <a:pos x="f818" y="f819"/>
                  </a:cxn>
                  <a:cxn ang="f733">
                    <a:pos x="f820" y="f821"/>
                  </a:cxn>
                  <a:cxn ang="f733">
                    <a:pos x="f822" y="f823"/>
                  </a:cxn>
                  <a:cxn ang="f733">
                    <a:pos x="f824" y="f825"/>
                  </a:cxn>
                  <a:cxn ang="f733">
                    <a:pos x="f826" y="f827"/>
                  </a:cxn>
                  <a:cxn ang="f733">
                    <a:pos x="f828" y="f829"/>
                  </a:cxn>
                  <a:cxn ang="f733">
                    <a:pos x="f830" y="f831"/>
                  </a:cxn>
                  <a:cxn ang="f733">
                    <a:pos x="f832" y="f833"/>
                  </a:cxn>
                  <a:cxn ang="f733">
                    <a:pos x="f834" y="f835"/>
                  </a:cxn>
                  <a:cxn ang="f733">
                    <a:pos x="f836" y="f837"/>
                  </a:cxn>
                  <a:cxn ang="f733">
                    <a:pos x="f838" y="f839"/>
                  </a:cxn>
                  <a:cxn ang="f733">
                    <a:pos x="f840" y="f841"/>
                  </a:cxn>
                  <a:cxn ang="f733">
                    <a:pos x="f842" y="f843"/>
                  </a:cxn>
                  <a:cxn ang="f733">
                    <a:pos x="f844" y="f845"/>
                  </a:cxn>
                  <a:cxn ang="f733">
                    <a:pos x="f846" y="f847"/>
                  </a:cxn>
                  <a:cxn ang="f733">
                    <a:pos x="f848" y="f849"/>
                  </a:cxn>
                  <a:cxn ang="f733">
                    <a:pos x="f850" y="f851"/>
                  </a:cxn>
                  <a:cxn ang="f733">
                    <a:pos x="f852" y="f853"/>
                  </a:cxn>
                  <a:cxn ang="f733">
                    <a:pos x="f854" y="f855"/>
                  </a:cxn>
                </a:cxnLst>
                <a:rect l="f734" t="f737" r="f735" b="f736"/>
                <a:pathLst>
                  <a:path w="938" h="606">
                    <a:moveTo>
                      <a:pt x="f9" y="f10"/>
                    </a:moveTo>
                    <a:lnTo>
                      <a:pt x="f9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4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0"/>
                    </a:lnTo>
                    <a:lnTo>
                      <a:pt x="f32" y="f33"/>
                    </a:lnTo>
                    <a:lnTo>
                      <a:pt x="f16" y="f34"/>
                    </a:lnTo>
                    <a:lnTo>
                      <a:pt x="f14" y="f35"/>
                    </a:lnTo>
                    <a:lnTo>
                      <a:pt x="f36" y="f37"/>
                    </a:lnTo>
                    <a:lnTo>
                      <a:pt x="f38" y="f37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1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7"/>
                    </a:lnTo>
                    <a:lnTo>
                      <a:pt x="f49" y="f45"/>
                    </a:lnTo>
                    <a:lnTo>
                      <a:pt x="f50" y="f51"/>
                    </a:lnTo>
                    <a:lnTo>
                      <a:pt x="f52" y="f53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42"/>
                    </a:lnTo>
                    <a:lnTo>
                      <a:pt x="f63" y="f64"/>
                    </a:lnTo>
                    <a:lnTo>
                      <a:pt x="f62" y="f40"/>
                    </a:lnTo>
                    <a:lnTo>
                      <a:pt x="f62" y="f37"/>
                    </a:lnTo>
                    <a:lnTo>
                      <a:pt x="f60" y="f65"/>
                    </a:lnTo>
                    <a:lnTo>
                      <a:pt x="f60" y="f34"/>
                    </a:lnTo>
                    <a:lnTo>
                      <a:pt x="f58" y="f28"/>
                    </a:lnTo>
                    <a:lnTo>
                      <a:pt x="f66" y="f23"/>
                    </a:lnTo>
                    <a:lnTo>
                      <a:pt x="f49" y="f67"/>
                    </a:lnTo>
                    <a:lnTo>
                      <a:pt x="f46" y="f68"/>
                    </a:lnTo>
                    <a:lnTo>
                      <a:pt x="f39" y="f69"/>
                    </a:lnTo>
                    <a:lnTo>
                      <a:pt x="f38" y="f70"/>
                    </a:lnTo>
                    <a:lnTo>
                      <a:pt x="f71" y="f72"/>
                    </a:lnTo>
                    <a:lnTo>
                      <a:pt x="f73" y="f11"/>
                    </a:lnTo>
                    <a:lnTo>
                      <a:pt x="f36" y="f10"/>
                    </a:lnTo>
                    <a:lnTo>
                      <a:pt x="f9" y="f10"/>
                    </a:lnTo>
                    <a:close/>
                    <a:moveTo>
                      <a:pt x="f74" y="f6"/>
                    </a:moveTo>
                    <a:lnTo>
                      <a:pt x="f42" y="f6"/>
                    </a:lnTo>
                    <a:lnTo>
                      <a:pt x="f61" y="f75"/>
                    </a:lnTo>
                    <a:lnTo>
                      <a:pt x="f76" y="f77"/>
                    </a:lnTo>
                    <a:lnTo>
                      <a:pt x="f78" y="f79"/>
                    </a:lnTo>
                    <a:lnTo>
                      <a:pt x="f24" y="f80"/>
                    </a:lnTo>
                    <a:lnTo>
                      <a:pt x="f81" y="f82"/>
                    </a:lnTo>
                    <a:lnTo>
                      <a:pt x="f83" y="f82"/>
                    </a:lnTo>
                    <a:lnTo>
                      <a:pt x="f84" y="f85"/>
                    </a:lnTo>
                    <a:lnTo>
                      <a:pt x="f84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60" y="f96"/>
                    </a:lnTo>
                    <a:lnTo>
                      <a:pt x="f97" y="f98"/>
                    </a:lnTo>
                    <a:lnTo>
                      <a:pt x="f50" y="f94"/>
                    </a:lnTo>
                    <a:lnTo>
                      <a:pt x="f99" y="f92"/>
                    </a:lnTo>
                    <a:lnTo>
                      <a:pt x="f73" y="f100"/>
                    </a:lnTo>
                    <a:lnTo>
                      <a:pt x="f12" y="f90"/>
                    </a:lnTo>
                    <a:lnTo>
                      <a:pt x="f101" y="f92"/>
                    </a:lnTo>
                    <a:lnTo>
                      <a:pt x="f81" y="f102"/>
                    </a:lnTo>
                    <a:lnTo>
                      <a:pt x="f2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09"/>
                    </a:lnTo>
                    <a:lnTo>
                      <a:pt x="f34" y="f113"/>
                    </a:lnTo>
                    <a:lnTo>
                      <a:pt x="f33" y="f114"/>
                    </a:lnTo>
                    <a:lnTo>
                      <a:pt x="f26" y="f115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20" y="f121"/>
                    </a:lnTo>
                    <a:lnTo>
                      <a:pt x="f68" y="f122"/>
                    </a:lnTo>
                    <a:lnTo>
                      <a:pt x="f68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67" y="f128"/>
                    </a:lnTo>
                    <a:lnTo>
                      <a:pt x="f25" y="f128"/>
                    </a:lnTo>
                    <a:lnTo>
                      <a:pt x="f28" y="f129"/>
                    </a:lnTo>
                    <a:lnTo>
                      <a:pt x="f130" y="f129"/>
                    </a:lnTo>
                    <a:lnTo>
                      <a:pt x="f130" y="f127"/>
                    </a:lnTo>
                    <a:lnTo>
                      <a:pt x="f28" y="f131"/>
                    </a:lnTo>
                    <a:lnTo>
                      <a:pt x="f26" y="f132"/>
                    </a:lnTo>
                    <a:lnTo>
                      <a:pt x="f26" y="f133"/>
                    </a:lnTo>
                    <a:lnTo>
                      <a:pt x="f28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lnTo>
                      <a:pt x="f55" y="f141"/>
                    </a:lnTo>
                    <a:lnTo>
                      <a:pt x="f108" y="f142"/>
                    </a:lnTo>
                    <a:lnTo>
                      <a:pt x="f45" y="f143"/>
                    </a:lnTo>
                    <a:lnTo>
                      <a:pt x="f20" y="f114"/>
                    </a:lnTo>
                    <a:lnTo>
                      <a:pt x="f31" y="f144"/>
                    </a:lnTo>
                    <a:lnTo>
                      <a:pt x="f16" y="f145"/>
                    </a:lnTo>
                    <a:lnTo>
                      <a:pt x="f146" y="f109"/>
                    </a:lnTo>
                    <a:lnTo>
                      <a:pt x="f38" y="f114"/>
                    </a:lnTo>
                    <a:lnTo>
                      <a:pt x="f99" y="f147"/>
                    </a:lnTo>
                    <a:lnTo>
                      <a:pt x="f148" y="f149"/>
                    </a:lnTo>
                    <a:lnTo>
                      <a:pt x="f150" y="f149"/>
                    </a:lnTo>
                    <a:lnTo>
                      <a:pt x="f151" y="f143"/>
                    </a:lnTo>
                    <a:lnTo>
                      <a:pt x="f56" y="f152"/>
                    </a:lnTo>
                    <a:lnTo>
                      <a:pt x="f58" y="f142"/>
                    </a:lnTo>
                    <a:lnTo>
                      <a:pt x="f62" y="f152"/>
                    </a:lnTo>
                    <a:lnTo>
                      <a:pt x="f93" y="f115"/>
                    </a:lnTo>
                    <a:lnTo>
                      <a:pt x="f89" y="f109"/>
                    </a:lnTo>
                    <a:lnTo>
                      <a:pt x="f153" y="f154"/>
                    </a:lnTo>
                    <a:lnTo>
                      <a:pt x="f155" y="f103"/>
                    </a:lnTo>
                    <a:lnTo>
                      <a:pt x="f156" y="f94"/>
                    </a:lnTo>
                    <a:lnTo>
                      <a:pt x="f157" y="f158"/>
                    </a:lnTo>
                    <a:lnTo>
                      <a:pt x="f159" y="f86"/>
                    </a:lnTo>
                    <a:lnTo>
                      <a:pt x="f160" y="f161"/>
                    </a:lnTo>
                    <a:lnTo>
                      <a:pt x="f162" y="f96"/>
                    </a:lnTo>
                    <a:lnTo>
                      <a:pt x="f162" y="f107"/>
                    </a:lnTo>
                    <a:lnTo>
                      <a:pt x="f163" y="f164"/>
                    </a:lnTo>
                    <a:lnTo>
                      <a:pt x="f165" y="f144"/>
                    </a:lnTo>
                    <a:lnTo>
                      <a:pt x="f166" y="f144"/>
                    </a:lnTo>
                    <a:lnTo>
                      <a:pt x="f167" y="f109"/>
                    </a:lnTo>
                    <a:lnTo>
                      <a:pt x="f168" y="f111"/>
                    </a:lnTo>
                    <a:lnTo>
                      <a:pt x="f168" y="f149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1" y="f173"/>
                    </a:lnTo>
                    <a:lnTo>
                      <a:pt x="f169" y="f174"/>
                    </a:lnTo>
                    <a:lnTo>
                      <a:pt x="f175" y="f136"/>
                    </a:lnTo>
                    <a:lnTo>
                      <a:pt x="f176" y="f177"/>
                    </a:lnTo>
                    <a:lnTo>
                      <a:pt x="f178" y="f133"/>
                    </a:lnTo>
                    <a:lnTo>
                      <a:pt x="f179" y="f180"/>
                    </a:lnTo>
                    <a:lnTo>
                      <a:pt x="f181" y="f182"/>
                    </a:lnTo>
                    <a:lnTo>
                      <a:pt x="f183" y="f184"/>
                    </a:lnTo>
                    <a:lnTo>
                      <a:pt x="f185" y="f131"/>
                    </a:lnTo>
                    <a:lnTo>
                      <a:pt x="f186" y="f127"/>
                    </a:lnTo>
                    <a:lnTo>
                      <a:pt x="f187" y="f188"/>
                    </a:lnTo>
                    <a:lnTo>
                      <a:pt x="f189" y="f128"/>
                    </a:lnTo>
                    <a:lnTo>
                      <a:pt x="f190" y="f191"/>
                    </a:lnTo>
                    <a:lnTo>
                      <a:pt x="f192" y="f193"/>
                    </a:lnTo>
                    <a:lnTo>
                      <a:pt x="f194" y="f195"/>
                    </a:lnTo>
                    <a:lnTo>
                      <a:pt x="f196" y="f197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202" y="f203"/>
                    </a:lnTo>
                    <a:lnTo>
                      <a:pt x="f204" y="f205"/>
                    </a:lnTo>
                    <a:lnTo>
                      <a:pt x="f206" y="f207"/>
                    </a:lnTo>
                    <a:lnTo>
                      <a:pt x="f208" y="f209"/>
                    </a:lnTo>
                    <a:lnTo>
                      <a:pt x="f210" y="f211"/>
                    </a:lnTo>
                    <a:lnTo>
                      <a:pt x="f212" y="f213"/>
                    </a:lnTo>
                    <a:lnTo>
                      <a:pt x="f214" y="f215"/>
                    </a:lnTo>
                    <a:lnTo>
                      <a:pt x="f216" y="f217"/>
                    </a:lnTo>
                    <a:lnTo>
                      <a:pt x="f218" y="f219"/>
                    </a:lnTo>
                    <a:lnTo>
                      <a:pt x="f220" y="f217"/>
                    </a:lnTo>
                    <a:lnTo>
                      <a:pt x="f221" y="f222"/>
                    </a:lnTo>
                    <a:lnTo>
                      <a:pt x="f223" y="f224"/>
                    </a:lnTo>
                    <a:lnTo>
                      <a:pt x="f223" y="f225"/>
                    </a:lnTo>
                    <a:lnTo>
                      <a:pt x="f226" y="f227"/>
                    </a:lnTo>
                    <a:lnTo>
                      <a:pt x="f228" y="f229"/>
                    </a:lnTo>
                    <a:lnTo>
                      <a:pt x="f230" y="f211"/>
                    </a:lnTo>
                    <a:lnTo>
                      <a:pt x="f231" y="f232"/>
                    </a:lnTo>
                    <a:lnTo>
                      <a:pt x="f233" y="f209"/>
                    </a:lnTo>
                    <a:lnTo>
                      <a:pt x="f234" y="f235"/>
                    </a:lnTo>
                    <a:lnTo>
                      <a:pt x="f236" y="f203"/>
                    </a:lnTo>
                    <a:lnTo>
                      <a:pt x="f237" y="f238"/>
                    </a:lnTo>
                    <a:lnTo>
                      <a:pt x="f239" y="f197"/>
                    </a:lnTo>
                    <a:lnTo>
                      <a:pt x="f240" y="f238"/>
                    </a:lnTo>
                    <a:lnTo>
                      <a:pt x="f241" y="f199"/>
                    </a:lnTo>
                    <a:lnTo>
                      <a:pt x="f241" y="f242"/>
                    </a:lnTo>
                    <a:lnTo>
                      <a:pt x="f240" y="f243"/>
                    </a:lnTo>
                    <a:lnTo>
                      <a:pt x="f240" y="f205"/>
                    </a:lnTo>
                    <a:lnTo>
                      <a:pt x="f241" y="f209"/>
                    </a:lnTo>
                    <a:lnTo>
                      <a:pt x="f244" y="f245"/>
                    </a:lnTo>
                    <a:lnTo>
                      <a:pt x="f246" y="f232"/>
                    </a:lnTo>
                    <a:lnTo>
                      <a:pt x="f247" y="f211"/>
                    </a:lnTo>
                    <a:lnTo>
                      <a:pt x="f248" y="f227"/>
                    </a:lnTo>
                    <a:lnTo>
                      <a:pt x="f249" y="f250"/>
                    </a:lnTo>
                    <a:lnTo>
                      <a:pt x="f251" y="f252"/>
                    </a:lnTo>
                    <a:lnTo>
                      <a:pt x="f253" y="f219"/>
                    </a:lnTo>
                    <a:lnTo>
                      <a:pt x="f254" y="f255"/>
                    </a:lnTo>
                    <a:lnTo>
                      <a:pt x="f247" y="f256"/>
                    </a:lnTo>
                    <a:lnTo>
                      <a:pt x="f257" y="f3"/>
                    </a:lnTo>
                    <a:lnTo>
                      <a:pt x="f258" y="f259"/>
                    </a:lnTo>
                    <a:lnTo>
                      <a:pt x="f248" y="f260"/>
                    </a:lnTo>
                    <a:lnTo>
                      <a:pt x="f261" y="f262"/>
                    </a:lnTo>
                    <a:lnTo>
                      <a:pt x="f263" y="f264"/>
                    </a:lnTo>
                    <a:lnTo>
                      <a:pt x="f265" y="f266"/>
                    </a:lnTo>
                    <a:lnTo>
                      <a:pt x="f267" y="f268"/>
                    </a:lnTo>
                    <a:lnTo>
                      <a:pt x="f269" y="f270"/>
                    </a:lnTo>
                    <a:lnTo>
                      <a:pt x="f271" y="f272"/>
                    </a:lnTo>
                    <a:lnTo>
                      <a:pt x="f273" y="f274"/>
                    </a:lnTo>
                    <a:lnTo>
                      <a:pt x="f275" y="f276"/>
                    </a:lnTo>
                    <a:lnTo>
                      <a:pt x="f277" y="f278"/>
                    </a:lnTo>
                    <a:lnTo>
                      <a:pt x="f279" y="f280"/>
                    </a:lnTo>
                    <a:lnTo>
                      <a:pt x="f281" y="f282"/>
                    </a:lnTo>
                    <a:lnTo>
                      <a:pt x="f281" y="f283"/>
                    </a:lnTo>
                    <a:lnTo>
                      <a:pt x="f284" y="f285"/>
                    </a:lnTo>
                    <a:lnTo>
                      <a:pt x="f275" y="f286"/>
                    </a:lnTo>
                    <a:lnTo>
                      <a:pt x="f287" y="f288"/>
                    </a:lnTo>
                    <a:lnTo>
                      <a:pt x="f271" y="f289"/>
                    </a:lnTo>
                    <a:lnTo>
                      <a:pt x="f290" y="f291"/>
                    </a:lnTo>
                    <a:lnTo>
                      <a:pt x="f292" y="f293"/>
                    </a:lnTo>
                    <a:lnTo>
                      <a:pt x="f294" y="f295"/>
                    </a:lnTo>
                    <a:lnTo>
                      <a:pt x="f267" y="f296"/>
                    </a:lnTo>
                    <a:lnTo>
                      <a:pt x="f265" y="f297"/>
                    </a:lnTo>
                    <a:lnTo>
                      <a:pt x="f265" y="f298"/>
                    </a:lnTo>
                    <a:lnTo>
                      <a:pt x="f267" y="f299"/>
                    </a:lnTo>
                    <a:lnTo>
                      <a:pt x="f294" y="f300"/>
                    </a:lnTo>
                    <a:lnTo>
                      <a:pt x="f292" y="f301"/>
                    </a:lnTo>
                    <a:lnTo>
                      <a:pt x="f271" y="f302"/>
                    </a:lnTo>
                    <a:lnTo>
                      <a:pt x="f303" y="f304"/>
                    </a:lnTo>
                    <a:lnTo>
                      <a:pt x="f305" y="f306"/>
                    </a:lnTo>
                    <a:lnTo>
                      <a:pt x="f307" y="f308"/>
                    </a:lnTo>
                    <a:lnTo>
                      <a:pt x="f309" y="f310"/>
                    </a:lnTo>
                    <a:lnTo>
                      <a:pt x="f311" y="f312"/>
                    </a:lnTo>
                    <a:lnTo>
                      <a:pt x="f313" y="f314"/>
                    </a:lnTo>
                    <a:lnTo>
                      <a:pt x="f315" y="f316"/>
                    </a:lnTo>
                    <a:lnTo>
                      <a:pt x="f317" y="f318"/>
                    </a:lnTo>
                    <a:lnTo>
                      <a:pt x="f319" y="f320"/>
                    </a:lnTo>
                    <a:lnTo>
                      <a:pt x="f321" y="f314"/>
                    </a:lnTo>
                    <a:lnTo>
                      <a:pt x="f322" y="f323"/>
                    </a:lnTo>
                    <a:lnTo>
                      <a:pt x="f324" y="f312"/>
                    </a:lnTo>
                    <a:lnTo>
                      <a:pt x="f325" y="f326"/>
                    </a:lnTo>
                    <a:lnTo>
                      <a:pt x="f327" y="f328"/>
                    </a:lnTo>
                    <a:lnTo>
                      <a:pt x="f329" y="f330"/>
                    </a:lnTo>
                    <a:lnTo>
                      <a:pt x="f331" y="f332"/>
                    </a:lnTo>
                    <a:lnTo>
                      <a:pt x="f331" y="f333"/>
                    </a:lnTo>
                    <a:lnTo>
                      <a:pt x="f334" y="f335"/>
                    </a:lnTo>
                    <a:lnTo>
                      <a:pt x="f336" y="f335"/>
                    </a:lnTo>
                    <a:lnTo>
                      <a:pt x="f337" y="f333"/>
                    </a:lnTo>
                    <a:lnTo>
                      <a:pt x="f338" y="f339"/>
                    </a:lnTo>
                    <a:lnTo>
                      <a:pt x="f340" y="f341"/>
                    </a:lnTo>
                    <a:lnTo>
                      <a:pt x="f342" y="f343"/>
                    </a:lnTo>
                    <a:lnTo>
                      <a:pt x="f344" y="f345"/>
                    </a:lnTo>
                    <a:lnTo>
                      <a:pt x="f346" y="f347"/>
                    </a:lnTo>
                    <a:lnTo>
                      <a:pt x="f348" y="f349"/>
                    </a:lnTo>
                    <a:lnTo>
                      <a:pt x="f348" y="f350"/>
                    </a:lnTo>
                    <a:lnTo>
                      <a:pt x="f351" y="f352"/>
                    </a:lnTo>
                    <a:lnTo>
                      <a:pt x="f353" y="f354"/>
                    </a:lnTo>
                    <a:lnTo>
                      <a:pt x="f355" y="f10"/>
                    </a:lnTo>
                    <a:lnTo>
                      <a:pt x="f356" y="f357"/>
                    </a:lnTo>
                    <a:lnTo>
                      <a:pt x="f358" y="f359"/>
                    </a:lnTo>
                    <a:lnTo>
                      <a:pt x="f360" y="f361"/>
                    </a:lnTo>
                    <a:lnTo>
                      <a:pt x="f362" y="f65"/>
                    </a:lnTo>
                    <a:lnTo>
                      <a:pt x="f7" y="f55"/>
                    </a:lnTo>
                    <a:lnTo>
                      <a:pt x="f363" y="f110"/>
                    </a:lnTo>
                    <a:lnTo>
                      <a:pt x="f356" y="f53"/>
                    </a:lnTo>
                    <a:lnTo>
                      <a:pt x="f353" y="f364"/>
                    </a:lnTo>
                    <a:lnTo>
                      <a:pt x="f344" y="f51"/>
                    </a:lnTo>
                    <a:lnTo>
                      <a:pt x="f338" y="f104"/>
                    </a:lnTo>
                    <a:lnTo>
                      <a:pt x="f365" y="f366"/>
                    </a:lnTo>
                    <a:lnTo>
                      <a:pt x="f367" y="f368"/>
                    </a:lnTo>
                    <a:lnTo>
                      <a:pt x="f329" y="f31"/>
                    </a:lnTo>
                    <a:lnTo>
                      <a:pt x="f369" y="f31"/>
                    </a:lnTo>
                    <a:lnTo>
                      <a:pt x="f370" y="f368"/>
                    </a:lnTo>
                    <a:lnTo>
                      <a:pt x="f371" y="f366"/>
                    </a:lnTo>
                    <a:lnTo>
                      <a:pt x="f372" y="f373"/>
                    </a:lnTo>
                    <a:lnTo>
                      <a:pt x="f374" y="f108"/>
                    </a:lnTo>
                    <a:lnTo>
                      <a:pt x="f375" y="f34"/>
                    </a:lnTo>
                    <a:lnTo>
                      <a:pt x="f376" y="f23"/>
                    </a:lnTo>
                    <a:lnTo>
                      <a:pt x="f311" y="f377"/>
                    </a:lnTo>
                    <a:lnTo>
                      <a:pt x="f378" y="f21"/>
                    </a:lnTo>
                    <a:lnTo>
                      <a:pt x="f379" y="f67"/>
                    </a:lnTo>
                    <a:lnTo>
                      <a:pt x="f380" y="f381"/>
                    </a:lnTo>
                    <a:lnTo>
                      <a:pt x="f382" y="f116"/>
                    </a:lnTo>
                    <a:lnTo>
                      <a:pt x="f383" y="f26"/>
                    </a:lnTo>
                    <a:lnTo>
                      <a:pt x="f284" y="f130"/>
                    </a:lnTo>
                    <a:lnTo>
                      <a:pt x="f292" y="f33"/>
                    </a:lnTo>
                    <a:lnTo>
                      <a:pt x="f384" y="f33"/>
                    </a:lnTo>
                    <a:lnTo>
                      <a:pt x="f385" y="f130"/>
                    </a:lnTo>
                    <a:lnTo>
                      <a:pt x="f386" y="f130"/>
                    </a:lnTo>
                    <a:lnTo>
                      <a:pt x="f387" y="f135"/>
                    </a:lnTo>
                    <a:lnTo>
                      <a:pt x="f388" y="f37"/>
                    </a:lnTo>
                    <a:lnTo>
                      <a:pt x="f389" y="f57"/>
                    </a:lnTo>
                    <a:lnTo>
                      <a:pt x="f390" y="f43"/>
                    </a:lnTo>
                    <a:lnTo>
                      <a:pt x="f391" y="f45"/>
                    </a:lnTo>
                    <a:lnTo>
                      <a:pt x="f392" y="f106"/>
                    </a:lnTo>
                    <a:lnTo>
                      <a:pt x="f393" y="f394"/>
                    </a:lnTo>
                    <a:lnTo>
                      <a:pt x="f395" y="f24"/>
                    </a:lnTo>
                    <a:lnTo>
                      <a:pt x="f396" y="f366"/>
                    </a:lnTo>
                    <a:lnTo>
                      <a:pt x="f397" y="f81"/>
                    </a:lnTo>
                    <a:lnTo>
                      <a:pt x="f398" y="f32"/>
                    </a:lnTo>
                    <a:lnTo>
                      <a:pt x="f223" y="f9"/>
                    </a:lnTo>
                    <a:lnTo>
                      <a:pt x="f223" y="f39"/>
                    </a:lnTo>
                    <a:lnTo>
                      <a:pt x="f399" y="f400"/>
                    </a:lnTo>
                    <a:lnTo>
                      <a:pt x="f218" y="f400"/>
                    </a:lnTo>
                    <a:lnTo>
                      <a:pt x="f401" y="f402"/>
                    </a:lnTo>
                    <a:lnTo>
                      <a:pt x="f403" y="f41"/>
                    </a:lnTo>
                    <a:lnTo>
                      <a:pt x="f403" y="f404"/>
                    </a:lnTo>
                    <a:lnTo>
                      <a:pt x="f216" y="f73"/>
                    </a:lnTo>
                    <a:lnTo>
                      <a:pt x="f216" y="f9"/>
                    </a:lnTo>
                    <a:lnTo>
                      <a:pt x="f405" y="f14"/>
                    </a:lnTo>
                    <a:lnTo>
                      <a:pt x="f406" y="f407"/>
                    </a:lnTo>
                    <a:lnTo>
                      <a:pt x="f206" y="f16"/>
                    </a:lnTo>
                    <a:lnTo>
                      <a:pt x="f198" y="f16"/>
                    </a:lnTo>
                    <a:lnTo>
                      <a:pt x="f408" y="f407"/>
                    </a:lnTo>
                    <a:lnTo>
                      <a:pt x="f409" y="f146"/>
                    </a:lnTo>
                    <a:lnTo>
                      <a:pt x="f196" y="f38"/>
                    </a:lnTo>
                    <a:lnTo>
                      <a:pt x="f410" y="f99"/>
                    </a:lnTo>
                    <a:lnTo>
                      <a:pt x="f411" y="f148"/>
                    </a:lnTo>
                    <a:lnTo>
                      <a:pt x="f412" y="f50"/>
                    </a:lnTo>
                    <a:lnTo>
                      <a:pt x="f413" y="f50"/>
                    </a:lnTo>
                    <a:lnTo>
                      <a:pt x="f189" y="f414"/>
                    </a:lnTo>
                    <a:lnTo>
                      <a:pt x="f415" y="f148"/>
                    </a:lnTo>
                    <a:lnTo>
                      <a:pt x="f415" y="f48"/>
                    </a:lnTo>
                    <a:lnTo>
                      <a:pt x="f416" y="f400"/>
                    </a:lnTo>
                    <a:lnTo>
                      <a:pt x="f417" y="f402"/>
                    </a:lnTo>
                    <a:lnTo>
                      <a:pt x="f418" y="f99"/>
                    </a:lnTo>
                    <a:lnTo>
                      <a:pt x="f419" y="f44"/>
                    </a:lnTo>
                    <a:lnTo>
                      <a:pt x="f186" y="f41"/>
                    </a:lnTo>
                    <a:lnTo>
                      <a:pt x="f420" y="f41"/>
                    </a:lnTo>
                    <a:lnTo>
                      <a:pt x="f183" y="f46"/>
                    </a:lnTo>
                    <a:lnTo>
                      <a:pt x="f183" y="f400"/>
                    </a:lnTo>
                    <a:lnTo>
                      <a:pt x="f421" y="f48"/>
                    </a:lnTo>
                    <a:lnTo>
                      <a:pt x="f421" y="f49"/>
                    </a:lnTo>
                    <a:lnTo>
                      <a:pt x="f422" y="f423"/>
                    </a:lnTo>
                    <a:lnTo>
                      <a:pt x="f424" y="f425"/>
                    </a:lnTo>
                    <a:lnTo>
                      <a:pt x="f426" y="f95"/>
                    </a:lnTo>
                    <a:lnTo>
                      <a:pt x="f427" y="f428"/>
                    </a:lnTo>
                    <a:lnTo>
                      <a:pt x="f429" y="f84"/>
                    </a:lnTo>
                    <a:lnTo>
                      <a:pt x="f430" y="f431"/>
                    </a:lnTo>
                    <a:lnTo>
                      <a:pt x="f432" y="f433"/>
                    </a:lnTo>
                    <a:lnTo>
                      <a:pt x="f434" y="f433"/>
                    </a:lnTo>
                    <a:lnTo>
                      <a:pt x="f434" y="f431"/>
                    </a:lnTo>
                    <a:lnTo>
                      <a:pt x="f165" y="f84"/>
                    </a:lnTo>
                    <a:lnTo>
                      <a:pt x="f165" y="f89"/>
                    </a:lnTo>
                    <a:lnTo>
                      <a:pt x="f434" y="f83"/>
                    </a:lnTo>
                    <a:lnTo>
                      <a:pt x="f434" y="f435"/>
                    </a:lnTo>
                    <a:lnTo>
                      <a:pt x="f165" y="f93"/>
                    </a:lnTo>
                    <a:lnTo>
                      <a:pt x="f160" y="f436"/>
                    </a:lnTo>
                    <a:lnTo>
                      <a:pt x="f437" y="f438"/>
                    </a:lnTo>
                    <a:lnTo>
                      <a:pt x="f58" y="f438"/>
                    </a:lnTo>
                    <a:lnTo>
                      <a:pt x="f97" y="f63"/>
                    </a:lnTo>
                    <a:lnTo>
                      <a:pt x="f97" y="f425"/>
                    </a:lnTo>
                    <a:lnTo>
                      <a:pt x="f56" y="f97"/>
                    </a:lnTo>
                    <a:lnTo>
                      <a:pt x="f56" y="f66"/>
                    </a:lnTo>
                    <a:lnTo>
                      <a:pt x="f151" y="f423"/>
                    </a:lnTo>
                    <a:lnTo>
                      <a:pt x="f439" y="f439"/>
                    </a:lnTo>
                    <a:lnTo>
                      <a:pt x="f49" y="f439"/>
                    </a:lnTo>
                    <a:lnTo>
                      <a:pt x="f46" y="f150"/>
                    </a:lnTo>
                    <a:lnTo>
                      <a:pt x="f38" y="f49"/>
                    </a:lnTo>
                    <a:lnTo>
                      <a:pt x="f14" y="f400"/>
                    </a:lnTo>
                    <a:lnTo>
                      <a:pt x="f368" y="f46"/>
                    </a:lnTo>
                    <a:lnTo>
                      <a:pt x="f22" y="f44"/>
                    </a:lnTo>
                    <a:lnTo>
                      <a:pt x="f394" y="f404"/>
                    </a:lnTo>
                    <a:lnTo>
                      <a:pt x="f47" y="f71"/>
                    </a:lnTo>
                    <a:lnTo>
                      <a:pt x="f45" y="f73"/>
                    </a:lnTo>
                    <a:lnTo>
                      <a:pt x="f364" y="f38"/>
                    </a:lnTo>
                    <a:lnTo>
                      <a:pt x="f42" y="f39"/>
                    </a:lnTo>
                    <a:lnTo>
                      <a:pt x="f37" y="f41"/>
                    </a:lnTo>
                    <a:lnTo>
                      <a:pt x="f35" y="f39"/>
                    </a:lnTo>
                    <a:lnTo>
                      <a:pt x="f135" y="f38"/>
                    </a:lnTo>
                    <a:lnTo>
                      <a:pt x="f130" y="f9"/>
                    </a:lnTo>
                    <a:lnTo>
                      <a:pt x="f26" y="f407"/>
                    </a:lnTo>
                    <a:lnTo>
                      <a:pt x="f23" y="f18"/>
                    </a:lnTo>
                    <a:lnTo>
                      <a:pt x="f120" y="f366"/>
                    </a:lnTo>
                    <a:lnTo>
                      <a:pt x="f440" y="f104"/>
                    </a:lnTo>
                    <a:lnTo>
                      <a:pt x="f441" y="f47"/>
                    </a:lnTo>
                    <a:lnTo>
                      <a:pt x="f11" y="f442"/>
                    </a:lnTo>
                    <a:lnTo>
                      <a:pt x="f443" y="f444"/>
                    </a:lnTo>
                    <a:lnTo>
                      <a:pt x="f445" y="f442"/>
                    </a:lnTo>
                    <a:lnTo>
                      <a:pt x="f446" y="f106"/>
                    </a:lnTo>
                    <a:lnTo>
                      <a:pt x="f447" y="f373"/>
                    </a:lnTo>
                    <a:lnTo>
                      <a:pt x="f448" y="f449"/>
                    </a:lnTo>
                    <a:lnTo>
                      <a:pt x="f350" y="f450"/>
                    </a:lnTo>
                    <a:lnTo>
                      <a:pt x="f451" y="f45"/>
                    </a:lnTo>
                    <a:lnTo>
                      <a:pt x="f349" y="f45"/>
                    </a:lnTo>
                    <a:lnTo>
                      <a:pt x="f452" y="f106"/>
                    </a:lnTo>
                    <a:lnTo>
                      <a:pt x="f453" y="f454"/>
                    </a:lnTo>
                    <a:lnTo>
                      <a:pt x="f455" y="f20"/>
                    </a:lnTo>
                    <a:lnTo>
                      <a:pt x="f456" y="f101"/>
                    </a:lnTo>
                    <a:lnTo>
                      <a:pt x="f457" y="f146"/>
                    </a:lnTo>
                    <a:lnTo>
                      <a:pt x="f458" y="f71"/>
                    </a:lnTo>
                    <a:lnTo>
                      <a:pt x="f459" y="f404"/>
                    </a:lnTo>
                    <a:lnTo>
                      <a:pt x="f460" y="f41"/>
                    </a:lnTo>
                    <a:lnTo>
                      <a:pt x="f461" y="f148"/>
                    </a:lnTo>
                    <a:lnTo>
                      <a:pt x="f462" y="f414"/>
                    </a:lnTo>
                    <a:lnTo>
                      <a:pt x="f320" y="f49"/>
                    </a:lnTo>
                    <a:lnTo>
                      <a:pt x="f463" y="f400"/>
                    </a:lnTo>
                    <a:lnTo>
                      <a:pt x="f463" y="f36"/>
                    </a:lnTo>
                    <a:lnTo>
                      <a:pt x="f316" y="f407"/>
                    </a:lnTo>
                    <a:lnTo>
                      <a:pt x="f316" y="f31"/>
                    </a:lnTo>
                    <a:lnTo>
                      <a:pt x="f463" y="f18"/>
                    </a:lnTo>
                    <a:lnTo>
                      <a:pt x="f314" y="f101"/>
                    </a:lnTo>
                    <a:lnTo>
                      <a:pt x="f464" y="f46"/>
                    </a:lnTo>
                    <a:lnTo>
                      <a:pt x="f465" y="f49"/>
                    </a:lnTo>
                    <a:lnTo>
                      <a:pt x="f466" y="f439"/>
                    </a:lnTo>
                    <a:lnTo>
                      <a:pt x="f301" y="f54"/>
                    </a:lnTo>
                    <a:lnTo>
                      <a:pt x="f467" y="f97"/>
                    </a:lnTo>
                    <a:lnTo>
                      <a:pt x="f468" y="f60"/>
                    </a:lnTo>
                    <a:lnTo>
                      <a:pt x="f283" y="f435"/>
                    </a:lnTo>
                    <a:lnTo>
                      <a:pt x="f280" y="f433"/>
                    </a:lnTo>
                    <a:lnTo>
                      <a:pt x="f469" y="f470"/>
                    </a:lnTo>
                    <a:lnTo>
                      <a:pt x="f282" y="f471"/>
                    </a:lnTo>
                    <a:lnTo>
                      <a:pt x="f286" y="f472"/>
                    </a:lnTo>
                    <a:lnTo>
                      <a:pt x="f473" y="f437"/>
                    </a:lnTo>
                    <a:lnTo>
                      <a:pt x="f474" y="f475"/>
                    </a:lnTo>
                    <a:lnTo>
                      <a:pt x="f476" y="f477"/>
                    </a:lnTo>
                    <a:lnTo>
                      <a:pt x="f299" y="f430"/>
                    </a:lnTo>
                    <a:lnTo>
                      <a:pt x="f478" y="f166"/>
                    </a:lnTo>
                    <a:lnTo>
                      <a:pt x="f479" y="f166"/>
                    </a:lnTo>
                    <a:lnTo>
                      <a:pt x="f480" y="f481"/>
                    </a:lnTo>
                    <a:lnTo>
                      <a:pt x="f465" y="f168"/>
                    </a:lnTo>
                    <a:lnTo>
                      <a:pt x="f465" y="f482"/>
                    </a:lnTo>
                    <a:lnTo>
                      <a:pt x="f483" y="f484"/>
                    </a:lnTo>
                    <a:lnTo>
                      <a:pt x="f485" y="f426"/>
                    </a:lnTo>
                    <a:lnTo>
                      <a:pt x="f466" y="f426"/>
                    </a:lnTo>
                    <a:lnTo>
                      <a:pt x="f486" y="f8"/>
                    </a:lnTo>
                    <a:lnTo>
                      <a:pt x="f487" y="f488"/>
                    </a:lnTo>
                    <a:lnTo>
                      <a:pt x="f489" y="f178"/>
                    </a:lnTo>
                    <a:lnTo>
                      <a:pt x="f490" y="f491"/>
                    </a:lnTo>
                    <a:lnTo>
                      <a:pt x="f492" y="f426"/>
                    </a:lnTo>
                    <a:lnTo>
                      <a:pt x="f280" y="f484"/>
                    </a:lnTo>
                    <a:lnTo>
                      <a:pt x="f493" y="f175"/>
                    </a:lnTo>
                    <a:lnTo>
                      <a:pt x="f270" y="f494"/>
                    </a:lnTo>
                    <a:lnTo>
                      <a:pt x="f266" y="f494"/>
                    </a:lnTo>
                    <a:lnTo>
                      <a:pt x="f260" y="f427"/>
                    </a:lnTo>
                    <a:lnTo>
                      <a:pt x="f495" y="f496"/>
                    </a:lnTo>
                    <a:lnTo>
                      <a:pt x="f497" y="f175"/>
                    </a:lnTo>
                    <a:lnTo>
                      <a:pt x="f498" y="f175"/>
                    </a:lnTo>
                    <a:lnTo>
                      <a:pt x="f499" y="f494"/>
                    </a:lnTo>
                    <a:lnTo>
                      <a:pt x="f255" y="f429"/>
                    </a:lnTo>
                    <a:lnTo>
                      <a:pt x="f500" y="f477"/>
                    </a:lnTo>
                    <a:lnTo>
                      <a:pt x="f501" y="f502"/>
                    </a:lnTo>
                    <a:lnTo>
                      <a:pt x="f222" y="f503"/>
                    </a:lnTo>
                    <a:lnTo>
                      <a:pt x="f215" y="f503"/>
                    </a:lnTo>
                    <a:lnTo>
                      <a:pt x="f504" y="f437"/>
                    </a:lnTo>
                    <a:lnTo>
                      <a:pt x="f224" y="f157"/>
                    </a:lnTo>
                    <a:lnTo>
                      <a:pt x="f505" y="f502"/>
                    </a:lnTo>
                    <a:lnTo>
                      <a:pt x="f506" y="f507"/>
                    </a:lnTo>
                    <a:lnTo>
                      <a:pt x="f225" y="f475"/>
                    </a:lnTo>
                    <a:lnTo>
                      <a:pt x="f508" y="f475"/>
                    </a:lnTo>
                    <a:lnTo>
                      <a:pt x="f509" y="f510"/>
                    </a:lnTo>
                    <a:lnTo>
                      <a:pt x="f211" y="f511"/>
                    </a:lnTo>
                    <a:lnTo>
                      <a:pt x="f245" y="f156"/>
                    </a:lnTo>
                    <a:lnTo>
                      <a:pt x="f245" y="f512"/>
                    </a:lnTo>
                    <a:lnTo>
                      <a:pt x="f513" y="f471"/>
                    </a:lnTo>
                    <a:lnTo>
                      <a:pt x="f207" y="f514"/>
                    </a:lnTo>
                    <a:lnTo>
                      <a:pt x="f235" y="f514"/>
                    </a:lnTo>
                    <a:lnTo>
                      <a:pt x="f201" y="f471"/>
                    </a:lnTo>
                    <a:lnTo>
                      <a:pt x="f197" y="f156"/>
                    </a:lnTo>
                    <a:lnTo>
                      <a:pt x="f515" y="f472"/>
                    </a:lnTo>
                    <a:lnTo>
                      <a:pt x="f516" y="f517"/>
                    </a:lnTo>
                    <a:lnTo>
                      <a:pt x="f518" y="f519"/>
                    </a:lnTo>
                    <a:lnTo>
                      <a:pt x="f520" y="f433"/>
                    </a:lnTo>
                    <a:lnTo>
                      <a:pt x="f521" y="f435"/>
                    </a:lnTo>
                    <a:lnTo>
                      <a:pt x="f522" y="f60"/>
                    </a:lnTo>
                    <a:lnTo>
                      <a:pt x="f523" y="f66"/>
                    </a:lnTo>
                    <a:lnTo>
                      <a:pt x="f524" y="f414"/>
                    </a:lnTo>
                    <a:lnTo>
                      <a:pt x="f147" y="f402"/>
                    </a:lnTo>
                    <a:lnTo>
                      <a:pt x="f113" y="f39"/>
                    </a:lnTo>
                    <a:lnTo>
                      <a:pt x="f164" y="f73"/>
                    </a:lnTo>
                    <a:lnTo>
                      <a:pt x="f525" y="f36"/>
                    </a:lnTo>
                    <a:lnTo>
                      <a:pt x="f526" y="f9"/>
                    </a:lnTo>
                    <a:lnTo>
                      <a:pt x="f102" y="f146"/>
                    </a:lnTo>
                    <a:lnTo>
                      <a:pt x="f98" y="f16"/>
                    </a:lnTo>
                    <a:lnTo>
                      <a:pt x="f94" y="f527"/>
                    </a:lnTo>
                    <a:lnTo>
                      <a:pt x="f98" y="f27"/>
                    </a:lnTo>
                    <a:lnTo>
                      <a:pt x="f98" y="f394"/>
                    </a:lnTo>
                    <a:lnTo>
                      <a:pt x="f100" y="f106"/>
                    </a:lnTo>
                    <a:lnTo>
                      <a:pt x="f528" y="f47"/>
                    </a:lnTo>
                    <a:lnTo>
                      <a:pt x="f80" y="f450"/>
                    </a:lnTo>
                    <a:lnTo>
                      <a:pt x="f6" y="f106"/>
                    </a:lnTo>
                    <a:lnTo>
                      <a:pt x="f529" y="f53"/>
                    </a:lnTo>
                    <a:lnTo>
                      <a:pt x="f75" y="f64"/>
                    </a:lnTo>
                    <a:lnTo>
                      <a:pt x="f530" y="f35"/>
                    </a:lnTo>
                    <a:lnTo>
                      <a:pt x="f531" y="f30"/>
                    </a:lnTo>
                    <a:lnTo>
                      <a:pt x="f532" y="f25"/>
                    </a:lnTo>
                    <a:lnTo>
                      <a:pt x="f161" y="f116"/>
                    </a:lnTo>
                    <a:lnTo>
                      <a:pt x="f105" y="f361"/>
                    </a:lnTo>
                    <a:lnTo>
                      <a:pt x="f533" y="f377"/>
                    </a:lnTo>
                    <a:lnTo>
                      <a:pt x="f144" y="f120"/>
                    </a:lnTo>
                    <a:lnTo>
                      <a:pt x="f149" y="f69"/>
                    </a:lnTo>
                    <a:lnTo>
                      <a:pt x="f115" y="f534"/>
                    </a:lnTo>
                    <a:lnTo>
                      <a:pt x="f535" y="f536"/>
                    </a:lnTo>
                    <a:lnTo>
                      <a:pt x="f524" y="f10"/>
                    </a:lnTo>
                    <a:lnTo>
                      <a:pt x="f173" y="f10"/>
                    </a:lnTo>
                    <a:lnTo>
                      <a:pt x="f119" y="f11"/>
                    </a:lnTo>
                    <a:lnTo>
                      <a:pt x="f537" y="f536"/>
                    </a:lnTo>
                    <a:lnTo>
                      <a:pt x="f538" y="f11"/>
                    </a:lnTo>
                    <a:lnTo>
                      <a:pt x="f539" y="f540"/>
                    </a:lnTo>
                    <a:lnTo>
                      <a:pt x="f177" y="f541"/>
                    </a:lnTo>
                    <a:lnTo>
                      <a:pt x="f542" y="f543"/>
                    </a:lnTo>
                    <a:lnTo>
                      <a:pt x="f539" y="f544"/>
                    </a:lnTo>
                    <a:lnTo>
                      <a:pt x="f539" y="f545"/>
                    </a:lnTo>
                    <a:lnTo>
                      <a:pt x="f177" y="f2"/>
                    </a:lnTo>
                    <a:lnTo>
                      <a:pt x="f122" y="f546"/>
                    </a:lnTo>
                    <a:lnTo>
                      <a:pt x="f122" y="f547"/>
                    </a:lnTo>
                    <a:lnTo>
                      <a:pt x="f177" y="f455"/>
                    </a:lnTo>
                    <a:lnTo>
                      <a:pt x="f548" y="f549"/>
                    </a:lnTo>
                    <a:lnTo>
                      <a:pt x="f550" y="f551"/>
                    </a:lnTo>
                    <a:lnTo>
                      <a:pt x="f173" y="f552"/>
                    </a:lnTo>
                    <a:lnTo>
                      <a:pt x="f553" y="f554"/>
                    </a:lnTo>
                    <a:lnTo>
                      <a:pt x="f109" y="f555"/>
                    </a:lnTo>
                    <a:lnTo>
                      <a:pt x="f164" y="f459"/>
                    </a:lnTo>
                    <a:lnTo>
                      <a:pt x="f556" y="f341"/>
                    </a:lnTo>
                    <a:lnTo>
                      <a:pt x="f105" y="f557"/>
                    </a:lnTo>
                    <a:lnTo>
                      <a:pt x="f526" y="f333"/>
                    </a:lnTo>
                    <a:lnTo>
                      <a:pt x="f525" y="f558"/>
                    </a:lnTo>
                    <a:lnTo>
                      <a:pt x="f559" y="f310"/>
                    </a:lnTo>
                    <a:lnTo>
                      <a:pt x="f559" y="f306"/>
                    </a:lnTo>
                    <a:lnTo>
                      <a:pt x="f145" y="f480"/>
                    </a:lnTo>
                    <a:lnTo>
                      <a:pt x="f143" y="f560"/>
                    </a:lnTo>
                    <a:lnTo>
                      <a:pt x="f141" y="f486"/>
                    </a:lnTo>
                    <a:lnTo>
                      <a:pt x="f119" y="f561"/>
                    </a:lnTo>
                    <a:lnTo>
                      <a:pt x="f174" y="f297"/>
                    </a:lnTo>
                    <a:lnTo>
                      <a:pt x="f138" y="f295"/>
                    </a:lnTo>
                    <a:lnTo>
                      <a:pt x="f174" y="f468"/>
                    </a:lnTo>
                    <a:lnTo>
                      <a:pt x="f174" y="f283"/>
                    </a:lnTo>
                    <a:lnTo>
                      <a:pt x="f562" y="f283"/>
                    </a:lnTo>
                    <a:lnTo>
                      <a:pt x="f563" y="f564"/>
                    </a:lnTo>
                    <a:lnTo>
                      <a:pt x="f539" y="f565"/>
                    </a:lnTo>
                    <a:lnTo>
                      <a:pt x="f566" y="f567"/>
                    </a:lnTo>
                    <a:lnTo>
                      <a:pt x="f188" y="f276"/>
                    </a:lnTo>
                    <a:lnTo>
                      <a:pt x="f516" y="f568"/>
                    </a:lnTo>
                    <a:lnTo>
                      <a:pt x="f569" y="f570"/>
                    </a:lnTo>
                    <a:lnTo>
                      <a:pt x="f243" y="f272"/>
                    </a:lnTo>
                    <a:lnTo>
                      <a:pt x="f209" y="f571"/>
                    </a:lnTo>
                    <a:lnTo>
                      <a:pt x="f245" y="f572"/>
                    </a:lnTo>
                    <a:lnTo>
                      <a:pt x="f211" y="f573"/>
                    </a:lnTo>
                    <a:lnTo>
                      <a:pt x="f509" y="f280"/>
                    </a:lnTo>
                    <a:lnTo>
                      <a:pt x="f227" y="f574"/>
                    </a:lnTo>
                    <a:lnTo>
                      <a:pt x="f213" y="f574"/>
                    </a:lnTo>
                    <a:lnTo>
                      <a:pt x="f225" y="f565"/>
                    </a:lnTo>
                    <a:lnTo>
                      <a:pt x="f506" y="f492"/>
                    </a:lnTo>
                    <a:lnTo>
                      <a:pt x="f506" y="f490"/>
                    </a:lnTo>
                    <a:lnTo>
                      <a:pt x="f250" y="f289"/>
                    </a:lnTo>
                    <a:lnTo>
                      <a:pt x="f505" y="f468"/>
                    </a:lnTo>
                    <a:lnTo>
                      <a:pt x="f504" y="f291"/>
                    </a:lnTo>
                    <a:lnTo>
                      <a:pt x="f500" y="f291"/>
                    </a:lnTo>
                    <a:lnTo>
                      <a:pt x="f575" y="f468"/>
                    </a:lnTo>
                    <a:lnTo>
                      <a:pt x="f576" y="f289"/>
                    </a:lnTo>
                    <a:lnTo>
                      <a:pt x="f577" y="f289"/>
                    </a:lnTo>
                    <a:lnTo>
                      <a:pt x="f497" y="f578"/>
                    </a:lnTo>
                    <a:lnTo>
                      <a:pt x="f497" y="f289"/>
                    </a:lnTo>
                    <a:lnTo>
                      <a:pt x="f579" y="f289"/>
                    </a:lnTo>
                    <a:lnTo>
                      <a:pt x="f579" y="f468"/>
                    </a:lnTo>
                    <a:lnTo>
                      <a:pt x="f580" y="f291"/>
                    </a:lnTo>
                    <a:lnTo>
                      <a:pt x="f259" y="f581"/>
                    </a:lnTo>
                    <a:lnTo>
                      <a:pt x="f582" y="f583"/>
                    </a:lnTo>
                    <a:lnTo>
                      <a:pt x="f584" y="f474"/>
                    </a:lnTo>
                    <a:lnTo>
                      <a:pt x="f585" y="f487"/>
                    </a:lnTo>
                    <a:lnTo>
                      <a:pt x="f586" y="f296"/>
                    </a:lnTo>
                    <a:lnTo>
                      <a:pt x="f272" y="f489"/>
                    </a:lnTo>
                    <a:lnTo>
                      <a:pt x="f568" y="f490"/>
                    </a:lnTo>
                    <a:lnTo>
                      <a:pt x="f274" y="f282"/>
                    </a:lnTo>
                    <a:lnTo>
                      <a:pt x="f276" y="f278"/>
                    </a:lnTo>
                    <a:lnTo>
                      <a:pt x="f278" y="f568"/>
                    </a:lnTo>
                    <a:lnTo>
                      <a:pt x="f469" y="f270"/>
                    </a:lnTo>
                    <a:lnTo>
                      <a:pt x="f283" y="f587"/>
                    </a:lnTo>
                    <a:lnTo>
                      <a:pt x="f588" y="f589"/>
                    </a:lnTo>
                    <a:lnTo>
                      <a:pt x="f291" y="f590"/>
                    </a:lnTo>
                    <a:lnTo>
                      <a:pt x="f489" y="f579"/>
                    </a:lnTo>
                    <a:lnTo>
                      <a:pt x="f583" y="f576"/>
                    </a:lnTo>
                    <a:lnTo>
                      <a:pt x="f591" y="f575"/>
                    </a:lnTo>
                    <a:lnTo>
                      <a:pt x="f295" y="f500"/>
                    </a:lnTo>
                    <a:lnTo>
                      <a:pt x="f487" y="f222"/>
                    </a:lnTo>
                    <a:lnTo>
                      <a:pt x="f486" y="f250"/>
                    </a:lnTo>
                    <a:lnTo>
                      <a:pt x="f479" y="f508"/>
                    </a:lnTo>
                    <a:lnTo>
                      <a:pt x="f306" y="f508"/>
                    </a:lnTo>
                    <a:lnTo>
                      <a:pt x="f323" y="f224"/>
                    </a:lnTo>
                    <a:lnTo>
                      <a:pt x="f316" y="f250"/>
                    </a:lnTo>
                    <a:lnTo>
                      <a:pt x="f592" y="f227"/>
                    </a:lnTo>
                    <a:lnTo>
                      <a:pt x="f593" y="f232"/>
                    </a:lnTo>
                    <a:lnTo>
                      <a:pt x="f554" y="f207"/>
                    </a:lnTo>
                    <a:lnTo>
                      <a:pt x="f453" y="f243"/>
                    </a:lnTo>
                    <a:lnTo>
                      <a:pt x="f349" y="f242"/>
                    </a:lnTo>
                    <a:lnTo>
                      <a:pt x="f451" y="f201"/>
                    </a:lnTo>
                    <a:lnTo>
                      <a:pt x="f594" y="f595"/>
                    </a:lnTo>
                    <a:lnTo>
                      <a:pt x="f596" y="f516"/>
                    </a:lnTo>
                    <a:lnTo>
                      <a:pt x="f545" y="f191"/>
                    </a:lnTo>
                    <a:lnTo>
                      <a:pt x="f446" y="f188"/>
                    </a:lnTo>
                    <a:lnTo>
                      <a:pt x="f597" y="f125"/>
                    </a:lnTo>
                    <a:lnTo>
                      <a:pt x="f598" y="f521"/>
                    </a:lnTo>
                    <a:lnTo>
                      <a:pt x="f359" y="f522"/>
                    </a:lnTo>
                    <a:lnTo>
                      <a:pt x="f120" y="f174"/>
                    </a:lnTo>
                    <a:lnTo>
                      <a:pt x="f67" y="f142"/>
                    </a:lnTo>
                    <a:lnTo>
                      <a:pt x="f23" y="f149"/>
                    </a:lnTo>
                    <a:lnTo>
                      <a:pt x="f26" y="f154"/>
                    </a:lnTo>
                    <a:lnTo>
                      <a:pt x="f135" y="f92"/>
                    </a:lnTo>
                    <a:lnTo>
                      <a:pt x="f65" y="f158"/>
                    </a:lnTo>
                    <a:lnTo>
                      <a:pt x="f112" y="f599"/>
                    </a:lnTo>
                    <a:lnTo>
                      <a:pt x="f600" y="f531"/>
                    </a:lnTo>
                    <a:lnTo>
                      <a:pt x="f40" y="f601"/>
                    </a:lnTo>
                    <a:lnTo>
                      <a:pt x="f139" y="f529"/>
                    </a:lnTo>
                    <a:lnTo>
                      <a:pt x="f74" y="f6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C8309510-E766-468F-A19B-FF459C91E474}"/>
                  </a:ext>
                </a:extLst>
              </p:cNvPr>
              <p:cNvSpPr/>
              <p:nvPr/>
            </p:nvSpPr>
            <p:spPr>
              <a:xfrm rot="21447621">
                <a:off x="4962842" y="1300094"/>
                <a:ext cx="480590" cy="464039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847"/>
                  <a:gd name="f7" fmla="val 863"/>
                  <a:gd name="f8" fmla="val 500"/>
                  <a:gd name="f9" fmla="val 319"/>
                  <a:gd name="f10" fmla="val 495"/>
                  <a:gd name="f11" fmla="val 324"/>
                  <a:gd name="f12" fmla="val 492"/>
                  <a:gd name="f13" fmla="val 326"/>
                  <a:gd name="f14" fmla="val 490"/>
                  <a:gd name="f15" fmla="val 329"/>
                  <a:gd name="f16" fmla="val 484"/>
                  <a:gd name="f17" fmla="val 334"/>
                  <a:gd name="f18" fmla="val 476"/>
                  <a:gd name="f19" fmla="val 337"/>
                  <a:gd name="f20" fmla="val 467"/>
                  <a:gd name="f21" fmla="val 339"/>
                  <a:gd name="f22" fmla="val 459"/>
                  <a:gd name="f23" fmla="val 338"/>
                  <a:gd name="f24" fmla="val 451"/>
                  <a:gd name="f25" fmla="val 336"/>
                  <a:gd name="f26" fmla="val 444"/>
                  <a:gd name="f27" fmla="val 335"/>
                  <a:gd name="f28" fmla="val 438"/>
                  <a:gd name="f29" fmla="val 433"/>
                  <a:gd name="f30" fmla="val 341"/>
                  <a:gd name="f31" fmla="val 430"/>
                  <a:gd name="f32" fmla="val 347"/>
                  <a:gd name="f33" fmla="val 427"/>
                  <a:gd name="f34" fmla="val 352"/>
                  <a:gd name="f35" fmla="val 422"/>
                  <a:gd name="f36" fmla="val 357"/>
                  <a:gd name="f37" fmla="val 419"/>
                  <a:gd name="f38" fmla="val 361"/>
                  <a:gd name="f39" fmla="val 418"/>
                  <a:gd name="f40" fmla="val 369"/>
                  <a:gd name="f41" fmla="val 416"/>
                  <a:gd name="f42" fmla="val 389"/>
                  <a:gd name="f43" fmla="val 415"/>
                  <a:gd name="f44" fmla="val 397"/>
                  <a:gd name="f45" fmla="val 413"/>
                  <a:gd name="f46" fmla="val 402"/>
                  <a:gd name="f47" fmla="val 410"/>
                  <a:gd name="f48" fmla="val 408"/>
                  <a:gd name="f49" fmla="val 417"/>
                  <a:gd name="f50" fmla="val 411"/>
                  <a:gd name="f51" fmla="val 425"/>
                  <a:gd name="f52" fmla="val 432"/>
                  <a:gd name="f53" fmla="val 420"/>
                  <a:gd name="f54" fmla="val 434"/>
                  <a:gd name="f55" fmla="val 431"/>
                  <a:gd name="f56" fmla="val 441"/>
                  <a:gd name="f57" fmla="val 428"/>
                  <a:gd name="f58" fmla="val 445"/>
                  <a:gd name="f59" fmla="val 426"/>
                  <a:gd name="f60" fmla="val 449"/>
                  <a:gd name="f61" fmla="val 454"/>
                  <a:gd name="f62" fmla="val 429"/>
                  <a:gd name="f63" fmla="val 460"/>
                  <a:gd name="f64" fmla="val 470"/>
                  <a:gd name="f65" fmla="val 439"/>
                  <a:gd name="f66" fmla="val 477"/>
                  <a:gd name="f67" fmla="val 440"/>
                  <a:gd name="f68" fmla="val 491"/>
                  <a:gd name="f69" fmla="val 493"/>
                  <a:gd name="f70" fmla="val 494"/>
                  <a:gd name="f71" fmla="val 499"/>
                  <a:gd name="f72" fmla="val 504"/>
                  <a:gd name="f73" fmla="val 508"/>
                  <a:gd name="f74" fmla="val 512"/>
                  <a:gd name="f75" fmla="val 517"/>
                  <a:gd name="f76" fmla="val 525"/>
                  <a:gd name="f77" fmla="val 543"/>
                  <a:gd name="f78" fmla="val 550"/>
                  <a:gd name="f79" fmla="val 448"/>
                  <a:gd name="f80" fmla="val 555"/>
                  <a:gd name="f81" fmla="val 558"/>
                  <a:gd name="f82" fmla="val 561"/>
                  <a:gd name="f83" fmla="val 563"/>
                  <a:gd name="f84" fmla="val 564"/>
                  <a:gd name="f85" fmla="val 568"/>
                  <a:gd name="f86" fmla="val 572"/>
                  <a:gd name="f87" fmla="val 405"/>
                  <a:gd name="f88" fmla="val 399"/>
                  <a:gd name="f89" fmla="val 553"/>
                  <a:gd name="f90" fmla="val 546"/>
                  <a:gd name="f91" fmla="val 396"/>
                  <a:gd name="f92" fmla="val 540"/>
                  <a:gd name="f93" fmla="val 395"/>
                  <a:gd name="f94" fmla="val 538"/>
                  <a:gd name="f95" fmla="val 394"/>
                  <a:gd name="f96" fmla="val 391"/>
                  <a:gd name="f97" fmla="val 386"/>
                  <a:gd name="f98" fmla="val 542"/>
                  <a:gd name="f99" fmla="val 382"/>
                  <a:gd name="f100" fmla="val 378"/>
                  <a:gd name="f101" fmla="val 375"/>
                  <a:gd name="f102" fmla="val 534"/>
                  <a:gd name="f103" fmla="val 370"/>
                  <a:gd name="f104" fmla="val 526"/>
                  <a:gd name="f105" fmla="val 363"/>
                  <a:gd name="f106" fmla="val 518"/>
                  <a:gd name="f107" fmla="val 355"/>
                  <a:gd name="f108" fmla="val 511"/>
                  <a:gd name="f109" fmla="val 351"/>
                  <a:gd name="f110" fmla="val 507"/>
                  <a:gd name="f111" fmla="val 348"/>
                  <a:gd name="f112" fmla="val 505"/>
                  <a:gd name="f113" fmla="val 342"/>
                  <a:gd name="f114" fmla="val 328"/>
                  <a:gd name="f115" fmla="val 503"/>
                  <a:gd name="f116" fmla="val 322"/>
                  <a:gd name="f117" fmla="val 502"/>
                  <a:gd name="f118" fmla="val 320"/>
                  <a:gd name="f119" fmla="val 606"/>
                  <a:gd name="f120" fmla="val 611"/>
                  <a:gd name="f121" fmla="val 2"/>
                  <a:gd name="f122" fmla="val 617"/>
                  <a:gd name="f123" fmla="val 7"/>
                  <a:gd name="f124" fmla="val 624"/>
                  <a:gd name="f125" fmla="val 18"/>
                  <a:gd name="f126" fmla="val 635"/>
                  <a:gd name="f127" fmla="val 41"/>
                  <a:gd name="f128" fmla="val 639"/>
                  <a:gd name="f129" fmla="val 52"/>
                  <a:gd name="f130" fmla="val 643"/>
                  <a:gd name="f131" fmla="val 60"/>
                  <a:gd name="f132" fmla="val 648"/>
                  <a:gd name="f133" fmla="val 65"/>
                  <a:gd name="f134" fmla="val 656"/>
                  <a:gd name="f135" fmla="val 68"/>
                  <a:gd name="f136" fmla="val 664"/>
                  <a:gd name="f137" fmla="val 670"/>
                  <a:gd name="f138" fmla="val 675"/>
                  <a:gd name="f139" fmla="val 679"/>
                  <a:gd name="f140" fmla="val 54"/>
                  <a:gd name="f141" fmla="val 691"/>
                  <a:gd name="f142" fmla="val 42"/>
                  <a:gd name="f143" fmla="val 699"/>
                  <a:gd name="f144" fmla="val 39"/>
                  <a:gd name="f145" fmla="val 705"/>
                  <a:gd name="f146" fmla="val 37"/>
                  <a:gd name="f147" fmla="val 713"/>
                  <a:gd name="f148" fmla="val 36"/>
                  <a:gd name="f149" fmla="val 722"/>
                  <a:gd name="f150" fmla="val 34"/>
                  <a:gd name="f151" fmla="val 726"/>
                  <a:gd name="f152" fmla="val 48"/>
                  <a:gd name="f153" fmla="val 729"/>
                  <a:gd name="f154" fmla="val 730"/>
                  <a:gd name="f155" fmla="val 67"/>
                  <a:gd name="f156" fmla="val 728"/>
                  <a:gd name="f157" fmla="val 77"/>
                  <a:gd name="f158" fmla="val 723"/>
                  <a:gd name="f159" fmla="val 87"/>
                  <a:gd name="f160" fmla="val 718"/>
                  <a:gd name="f161" fmla="val 96"/>
                  <a:gd name="f162" fmla="val 716"/>
                  <a:gd name="f163" fmla="val 106"/>
                  <a:gd name="f164" fmla="val 133"/>
                  <a:gd name="f165" fmla="val 714"/>
                  <a:gd name="f166" fmla="val 149"/>
                  <a:gd name="f167" fmla="val 709"/>
                  <a:gd name="f168" fmla="val 157"/>
                  <a:gd name="f169" fmla="val 700"/>
                  <a:gd name="f170" fmla="val 165"/>
                  <a:gd name="f171" fmla="val 678"/>
                  <a:gd name="f172" fmla="val 176"/>
                  <a:gd name="f173" fmla="val 668"/>
                  <a:gd name="f174" fmla="val 181"/>
                  <a:gd name="f175" fmla="val 661"/>
                  <a:gd name="f176" fmla="val 184"/>
                  <a:gd name="f177" fmla="val 658"/>
                  <a:gd name="f178" fmla="val 187"/>
                  <a:gd name="f179" fmla="val 657"/>
                  <a:gd name="f180" fmla="val 191"/>
                  <a:gd name="f181" fmla="val 659"/>
                  <a:gd name="f182" fmla="val 197"/>
                  <a:gd name="f183" fmla="val 663"/>
                  <a:gd name="f184" fmla="val 203"/>
                  <a:gd name="f185" fmla="val 666"/>
                  <a:gd name="f186" fmla="val 210"/>
                  <a:gd name="f187" fmla="val 667"/>
                  <a:gd name="f188" fmla="val 218"/>
                  <a:gd name="f189" fmla="val 665"/>
                  <a:gd name="f190" fmla="val 225"/>
                  <a:gd name="f191" fmla="val 662"/>
                  <a:gd name="f192" fmla="val 232"/>
                  <a:gd name="f193" fmla="val 238"/>
                  <a:gd name="f194" fmla="val 660"/>
                  <a:gd name="f195" fmla="val 242"/>
                  <a:gd name="f196" fmla="val 245"/>
                  <a:gd name="f197" fmla="val 671"/>
                  <a:gd name="f198" fmla="val 247"/>
                  <a:gd name="f199" fmla="val 677"/>
                  <a:gd name="f200" fmla="val 248"/>
                  <a:gd name="f201" fmla="val 681"/>
                  <a:gd name="f202" fmla="val 250"/>
                  <a:gd name="f203" fmla="val 688"/>
                  <a:gd name="f204" fmla="val 254"/>
                  <a:gd name="f205" fmla="val 696"/>
                  <a:gd name="f206" fmla="val 259"/>
                  <a:gd name="f207" fmla="val 703"/>
                  <a:gd name="f208" fmla="val 265"/>
                  <a:gd name="f209" fmla="val 710"/>
                  <a:gd name="f210" fmla="val 269"/>
                  <a:gd name="f211" fmla="val 271"/>
                  <a:gd name="f212" fmla="val 274"/>
                  <a:gd name="f213" fmla="val 725"/>
                  <a:gd name="f214" fmla="val 281"/>
                  <a:gd name="f215" fmla="val 733"/>
                  <a:gd name="f216" fmla="val 290"/>
                  <a:gd name="f217" fmla="val 741"/>
                  <a:gd name="f218" fmla="val 300"/>
                  <a:gd name="f219" fmla="val 748"/>
                  <a:gd name="f220" fmla="val 310"/>
                  <a:gd name="f221" fmla="val 755"/>
                  <a:gd name="f222" fmla="val 317"/>
                  <a:gd name="f223" fmla="val 766"/>
                  <a:gd name="f224" fmla="val 323"/>
                  <a:gd name="f225" fmla="val 777"/>
                  <a:gd name="f226" fmla="val 786"/>
                  <a:gd name="f227" fmla="val 332"/>
                  <a:gd name="f228" fmla="val 791"/>
                  <a:gd name="f229" fmla="val 793"/>
                  <a:gd name="f230" fmla="val 343"/>
                  <a:gd name="f231" fmla="val 349"/>
                  <a:gd name="f232" fmla="val 788"/>
                  <a:gd name="f233" fmla="val 354"/>
                  <a:gd name="f234" fmla="val 359"/>
                  <a:gd name="f235" fmla="val 365"/>
                  <a:gd name="f236" fmla="val 789"/>
                  <a:gd name="f237" fmla="val 792"/>
                  <a:gd name="f238" fmla="val 374"/>
                  <a:gd name="f239" fmla="val 794"/>
                  <a:gd name="f240" fmla="val 379"/>
                  <a:gd name="f241" fmla="val 385"/>
                  <a:gd name="f242" fmla="val 784"/>
                  <a:gd name="f243" fmla="val 398"/>
                  <a:gd name="f244" fmla="val 774"/>
                  <a:gd name="f245" fmla="val 772"/>
                  <a:gd name="f246" fmla="val 773"/>
                  <a:gd name="f247" fmla="val 424"/>
                  <a:gd name="f248" fmla="val 776"/>
                  <a:gd name="f249" fmla="val 780"/>
                  <a:gd name="f250" fmla="val 443"/>
                  <a:gd name="f251" fmla="val 787"/>
                  <a:gd name="f252" fmla="val 796"/>
                  <a:gd name="f253" fmla="val 471"/>
                  <a:gd name="f254" fmla="val 802"/>
                  <a:gd name="f255" fmla="val 473"/>
                  <a:gd name="f256" fmla="val 808"/>
                  <a:gd name="f257" fmla="val 474"/>
                  <a:gd name="f258" fmla="val 813"/>
                  <a:gd name="f259" fmla="val 817"/>
                  <a:gd name="f260" fmla="val 479"/>
                  <a:gd name="f261" fmla="val 819"/>
                  <a:gd name="f262" fmla="val 482"/>
                  <a:gd name="f263" fmla="val 820"/>
                  <a:gd name="f264" fmla="val 821"/>
                  <a:gd name="f265" fmla="val 485"/>
                  <a:gd name="f266" fmla="val 486"/>
                  <a:gd name="f267" fmla="val 487"/>
                  <a:gd name="f268" fmla="val 816"/>
                  <a:gd name="f269" fmla="val 815"/>
                  <a:gd name="f270" fmla="val 496"/>
                  <a:gd name="f271" fmla="val 818"/>
                  <a:gd name="f272" fmla="val 509"/>
                  <a:gd name="f273" fmla="val 515"/>
                  <a:gd name="f274" fmla="val 516"/>
                  <a:gd name="f275" fmla="val 519"/>
                  <a:gd name="f276" fmla="val 521"/>
                  <a:gd name="f277" fmla="val 524"/>
                  <a:gd name="f278" fmla="val 531"/>
                  <a:gd name="f279" fmla="val 822"/>
                  <a:gd name="f280" fmla="val 536"/>
                  <a:gd name="f281" fmla="val 828"/>
                  <a:gd name="f282" fmla="val 834"/>
                  <a:gd name="f283" fmla="val 837"/>
                  <a:gd name="f284" fmla="val 549"/>
                  <a:gd name="f285" fmla="val 554"/>
                  <a:gd name="f286" fmla="val 831"/>
                  <a:gd name="f287" fmla="val 569"/>
                  <a:gd name="f288" fmla="val 826"/>
                  <a:gd name="f289" fmla="val 578"/>
                  <a:gd name="f290" fmla="val 825"/>
                  <a:gd name="f291" fmla="val 586"/>
                  <a:gd name="f292" fmla="val 827"/>
                  <a:gd name="f293" fmla="val 593"/>
                  <a:gd name="f294" fmla="val 829"/>
                  <a:gd name="f295" fmla="val 603"/>
                  <a:gd name="f296" fmla="val 613"/>
                  <a:gd name="f297" fmla="val 622"/>
                  <a:gd name="f298" fmla="val 631"/>
                  <a:gd name="f299" fmla="val 809"/>
                  <a:gd name="f300" fmla="val 637"/>
                  <a:gd name="f301" fmla="val 804"/>
                  <a:gd name="f302" fmla="val 803"/>
                  <a:gd name="f303" fmla="val 650"/>
                  <a:gd name="f304" fmla="val 805"/>
                  <a:gd name="f305" fmla="val 669"/>
                  <a:gd name="f306" fmla="val 690"/>
                  <a:gd name="f307" fmla="val 823"/>
                  <a:gd name="f308" fmla="val 830"/>
                  <a:gd name="f309" fmla="val 708"/>
                  <a:gd name="f310" fmla="val 838"/>
                  <a:gd name="f311" fmla="val 844"/>
                  <a:gd name="f312" fmla="val 724"/>
                  <a:gd name="f313" fmla="val 846"/>
                  <a:gd name="f314" fmla="val 742"/>
                  <a:gd name="f315" fmla="val 842"/>
                  <a:gd name="f316" fmla="val 750"/>
                  <a:gd name="f317" fmla="val 839"/>
                  <a:gd name="f318" fmla="val 751"/>
                  <a:gd name="f319" fmla="val 832"/>
                  <a:gd name="f320" fmla="val 752"/>
                  <a:gd name="f321" fmla="val 758"/>
                  <a:gd name="f322" fmla="val 763"/>
                  <a:gd name="f323" fmla="val 768"/>
                  <a:gd name="f324" fmla="val 770"/>
                  <a:gd name="f325" fmla="val 769"/>
                  <a:gd name="f326" fmla="val 765"/>
                  <a:gd name="f327" fmla="val 810"/>
                  <a:gd name="f328" fmla="val 807"/>
                  <a:gd name="f329" fmla="val 767"/>
                  <a:gd name="f330" fmla="val 782"/>
                  <a:gd name="f331" fmla="val 790"/>
                  <a:gd name="f332" fmla="val 739"/>
                  <a:gd name="f333" fmla="val 738"/>
                  <a:gd name="f334" fmla="val 737"/>
                  <a:gd name="f335" fmla="val 785"/>
                  <a:gd name="f336" fmla="val 731"/>
                  <a:gd name="f337" fmla="val 781"/>
                  <a:gd name="f338" fmla="val 778"/>
                  <a:gd name="f339" fmla="val 711"/>
                  <a:gd name="f340" fmla="val 702"/>
                  <a:gd name="f341" fmla="val 779"/>
                  <a:gd name="f342" fmla="val 684"/>
                  <a:gd name="f343" fmla="val 801"/>
                  <a:gd name="f344" fmla="val 672"/>
                  <a:gd name="f345" fmla="val 840"/>
                  <a:gd name="f346" fmla="val 851"/>
                  <a:gd name="f347" fmla="val 859"/>
                  <a:gd name="f348" fmla="val 862"/>
                  <a:gd name="f349" fmla="val 655"/>
                  <a:gd name="f350" fmla="val 861"/>
                  <a:gd name="f351" fmla="val 644"/>
                  <a:gd name="f352" fmla="val 848"/>
                  <a:gd name="f353" fmla="val 633"/>
                  <a:gd name="f354" fmla="val 850"/>
                  <a:gd name="f355" fmla="val 853"/>
                  <a:gd name="f356" fmla="val 600"/>
                  <a:gd name="f357" fmla="val 857"/>
                  <a:gd name="f358" fmla="val 587"/>
                  <a:gd name="f359" fmla="val 860"/>
                  <a:gd name="f360" fmla="val 575"/>
                  <a:gd name="f361" fmla="val 565"/>
                  <a:gd name="f362" fmla="val 552"/>
                  <a:gd name="f363" fmla="val 539"/>
                  <a:gd name="f364" fmla="val 845"/>
                  <a:gd name="f365" fmla="val 501"/>
                  <a:gd name="f366" fmla="val 849"/>
                  <a:gd name="f367" fmla="val 478"/>
                  <a:gd name="f368" fmla="val 854"/>
                  <a:gd name="f369" fmla="val 463"/>
                  <a:gd name="f370" fmla="val 852"/>
                  <a:gd name="f371" fmla="val 458"/>
                  <a:gd name="f372" fmla="val 447"/>
                  <a:gd name="f373" fmla="val 450"/>
                  <a:gd name="f374" fmla="val 835"/>
                  <a:gd name="f375" fmla="val 452"/>
                  <a:gd name="f376" fmla="val 453"/>
                  <a:gd name="f377" fmla="val 442"/>
                  <a:gd name="f378" fmla="val 436"/>
                  <a:gd name="f379" fmla="val 771"/>
                  <a:gd name="f380" fmla="val 761"/>
                  <a:gd name="f381" fmla="val 414"/>
                  <a:gd name="f382" fmla="val 745"/>
                  <a:gd name="f383" fmla="val 727"/>
                  <a:gd name="f384" fmla="val 720"/>
                  <a:gd name="f385" fmla="val 437"/>
                  <a:gd name="f386" fmla="val 695"/>
                  <a:gd name="f387" fmla="val 685"/>
                  <a:gd name="f388" fmla="val 676"/>
                  <a:gd name="f389" fmla="val 407"/>
                  <a:gd name="f390" fmla="val 654"/>
                  <a:gd name="f391" fmla="val 651"/>
                  <a:gd name="f392" fmla="val 401"/>
                  <a:gd name="f393" fmla="val 392"/>
                  <a:gd name="f394" fmla="val 649"/>
                  <a:gd name="f395" fmla="val 647"/>
                  <a:gd name="f396" fmla="val 384"/>
                  <a:gd name="f397" fmla="val 640"/>
                  <a:gd name="f398" fmla="val 368"/>
                  <a:gd name="f399" fmla="val 364"/>
                  <a:gd name="f400" fmla="val 629"/>
                  <a:gd name="f401" fmla="val 623"/>
                  <a:gd name="f402" fmla="val 330"/>
                  <a:gd name="f403" fmla="val 618"/>
                  <a:gd name="f404" fmla="val 614"/>
                  <a:gd name="f405" fmla="val 311"/>
                  <a:gd name="f406" fmla="val 307"/>
                  <a:gd name="f407" fmla="val 610"/>
                  <a:gd name="f408" fmla="val 303"/>
                  <a:gd name="f409" fmla="val 612"/>
                  <a:gd name="f410" fmla="val 297"/>
                  <a:gd name="f411" fmla="val 292"/>
                  <a:gd name="f412" fmla="val 285"/>
                  <a:gd name="f413" fmla="val 275"/>
                  <a:gd name="f414" fmla="val 267"/>
                  <a:gd name="f415" fmla="val 605"/>
                  <a:gd name="f416" fmla="val 261"/>
                  <a:gd name="f417" fmla="val 255"/>
                  <a:gd name="f418" fmla="val 598"/>
                  <a:gd name="f419" fmla="val 251"/>
                  <a:gd name="f420" fmla="val 599"/>
                  <a:gd name="f421" fmla="val 239"/>
                  <a:gd name="f422" fmla="val 233"/>
                  <a:gd name="f423" fmla="val 595"/>
                  <a:gd name="f424" fmla="val 228"/>
                  <a:gd name="f425" fmla="val 589"/>
                  <a:gd name="f426" fmla="val 221"/>
                  <a:gd name="f427" fmla="val 580"/>
                  <a:gd name="f428" fmla="val 213"/>
                  <a:gd name="f429" fmla="val 567"/>
                  <a:gd name="f430" fmla="val 195"/>
                  <a:gd name="f431" fmla="val 544"/>
                  <a:gd name="f432" fmla="val 190"/>
                  <a:gd name="f433" fmla="val 193"/>
                  <a:gd name="f434" fmla="val 198"/>
                  <a:gd name="f435" fmla="val 506"/>
                  <a:gd name="f436" fmla="val 196"/>
                  <a:gd name="f437" fmla="val 192"/>
                  <a:gd name="f438" fmla="val 189"/>
                  <a:gd name="f439" fmla="val 188"/>
                  <a:gd name="f440" fmla="val 194"/>
                  <a:gd name="f441" fmla="val 457"/>
                  <a:gd name="f442" fmla="val 435"/>
                  <a:gd name="f443" fmla="val 202"/>
                  <a:gd name="f444" fmla="val 205"/>
                  <a:gd name="f445" fmla="val 207"/>
                  <a:gd name="f446" fmla="val 403"/>
                  <a:gd name="f447" fmla="val 200"/>
                  <a:gd name="f448" fmla="val 388"/>
                  <a:gd name="f449" fmla="val 390"/>
                  <a:gd name="f450" fmla="val 393"/>
                  <a:gd name="f451" fmla="val 172"/>
                  <a:gd name="f452" fmla="val 167"/>
                  <a:gd name="f453" fmla="val 162"/>
                  <a:gd name="f454" fmla="val 159"/>
                  <a:gd name="f455" fmla="val 381"/>
                  <a:gd name="f456" fmla="val 160"/>
                  <a:gd name="f457" fmla="val 163"/>
                  <a:gd name="f458" fmla="val 373"/>
                  <a:gd name="f459" fmla="val 168"/>
                  <a:gd name="f460" fmla="val 173"/>
                  <a:gd name="f461" fmla="val 174"/>
                  <a:gd name="f462" fmla="val 344"/>
                  <a:gd name="f463" fmla="val 178"/>
                  <a:gd name="f464" fmla="val 313"/>
                  <a:gd name="f465" fmla="val 305"/>
                  <a:gd name="f466" fmla="val 179"/>
                  <a:gd name="f467" fmla="val 183"/>
                  <a:gd name="f468" fmla="val 186"/>
                  <a:gd name="f469" fmla="val 278"/>
                  <a:gd name="f470" fmla="val 273"/>
                  <a:gd name="f471" fmla="val 266"/>
                  <a:gd name="f472" fmla="val 257"/>
                  <a:gd name="f473" fmla="val 252"/>
                  <a:gd name="f474" fmla="val 164"/>
                  <a:gd name="f475" fmla="val 158"/>
                  <a:gd name="f476" fmla="val 249"/>
                  <a:gd name="f477" fmla="val 153"/>
                  <a:gd name="f478" fmla="val 243"/>
                  <a:gd name="f479" fmla="val 137"/>
                  <a:gd name="f480" fmla="val 130"/>
                  <a:gd name="f481" fmla="val 240"/>
                  <a:gd name="f482" fmla="val 125"/>
                  <a:gd name="f483" fmla="val 119"/>
                  <a:gd name="f484" fmla="val 111"/>
                  <a:gd name="f485" fmla="val 237"/>
                  <a:gd name="f486" fmla="val 102"/>
                  <a:gd name="f487" fmla="val 235"/>
                  <a:gd name="f488" fmla="val 94"/>
                  <a:gd name="f489" fmla="val 88"/>
                  <a:gd name="f490" fmla="val 230"/>
                  <a:gd name="f491" fmla="val 222"/>
                  <a:gd name="f492" fmla="val 84"/>
                  <a:gd name="f493" fmla="val 78"/>
                  <a:gd name="f494" fmla="val 215"/>
                  <a:gd name="f495" fmla="val 74"/>
                  <a:gd name="f496" fmla="val 212"/>
                  <a:gd name="f497" fmla="val 73"/>
                  <a:gd name="f498" fmla="val 208"/>
                  <a:gd name="f499" fmla="val 70"/>
                  <a:gd name="f500" fmla="val 66"/>
                  <a:gd name="f501" fmla="val 206"/>
                  <a:gd name="f502" fmla="val 56"/>
                  <a:gd name="f503" fmla="val 53"/>
                  <a:gd name="f504" fmla="val 49"/>
                  <a:gd name="f505" fmla="val 182"/>
                  <a:gd name="f506" fmla="val 33"/>
                  <a:gd name="f507" fmla="val 43"/>
                  <a:gd name="f508" fmla="val 177"/>
                  <a:gd name="f509" fmla="val 45"/>
                  <a:gd name="f510" fmla="val 175"/>
                  <a:gd name="f511" fmla="val 50"/>
                  <a:gd name="f512" fmla="val 47"/>
                  <a:gd name="f513" fmla="val 38"/>
                  <a:gd name="f514" fmla="val 30"/>
                  <a:gd name="f515" fmla="val 152"/>
                  <a:gd name="f516" fmla="val 25"/>
                  <a:gd name="f517" fmla="val 146"/>
                  <a:gd name="f518" fmla="val 141"/>
                  <a:gd name="f519" fmla="val 10"/>
                  <a:gd name="f520" fmla="val 4"/>
                  <a:gd name="f521" fmla="val 132"/>
                  <a:gd name="f522" fmla="val 128"/>
                  <a:gd name="f523" fmla="val 1"/>
                  <a:gd name="f524" fmla="val 123"/>
                  <a:gd name="f525" fmla="val 115"/>
                  <a:gd name="f526" fmla="val 16"/>
                  <a:gd name="f527" fmla="val 108"/>
                  <a:gd name="f528" fmla="val 26"/>
                  <a:gd name="f529" fmla="val 99"/>
                  <a:gd name="f530" fmla="val 97"/>
                  <a:gd name="f531" fmla="val 92"/>
                  <a:gd name="f532" fmla="val 57"/>
                  <a:gd name="f533" fmla="val 86"/>
                  <a:gd name="f534" fmla="val 69"/>
                  <a:gd name="f535" fmla="val 72"/>
                  <a:gd name="f536" fmla="val 79"/>
                  <a:gd name="f537" fmla="val 83"/>
                  <a:gd name="f538" fmla="val 93"/>
                  <a:gd name="f539" fmla="val 89"/>
                  <a:gd name="f540" fmla="val 91"/>
                  <a:gd name="f541" fmla="val 105"/>
                  <a:gd name="f542" fmla="val 81"/>
                  <a:gd name="f543" fmla="val 113"/>
                  <a:gd name="f544" fmla="val 75"/>
                  <a:gd name="f545" fmla="val 124"/>
                  <a:gd name="f546" fmla="val 126"/>
                  <a:gd name="f547" fmla="val 62"/>
                  <a:gd name="f548" fmla="val 127"/>
                  <a:gd name="f549" fmla="val 55"/>
                  <a:gd name="f550" fmla="val 135"/>
                  <a:gd name="f551" fmla="val 46"/>
                  <a:gd name="f552" fmla="val 147"/>
                  <a:gd name="f553" fmla="val 151"/>
                  <a:gd name="f554" fmla="val 51"/>
                  <a:gd name="f555" fmla="val 155"/>
                  <a:gd name="f556" fmla="val 161"/>
                  <a:gd name="f557" fmla="val 204"/>
                  <a:gd name="f558" fmla="val 220"/>
                  <a:gd name="f559" fmla="val 223"/>
                  <a:gd name="f560" fmla="val 76"/>
                  <a:gd name="f561" fmla="val 80"/>
                  <a:gd name="f562" fmla="val 227"/>
                  <a:gd name="f563" fmla="val 82"/>
                  <a:gd name="f564" fmla="val 231"/>
                  <a:gd name="f565" fmla="val 288"/>
                  <a:gd name="f566" fmla="val 294"/>
                  <a:gd name="f567" fmla="val 95"/>
                  <a:gd name="f568" fmla="val 309"/>
                  <a:gd name="f569" fmla="val 98"/>
                  <a:gd name="f570" fmla="val 100"/>
                  <a:gd name="f571" fmla="val 104"/>
                  <a:gd name="f572" fmla="val 110"/>
                  <a:gd name="f573" fmla="val 314"/>
                  <a:gd name="f574" fmla="val 112"/>
                  <a:gd name="f575" fmla="val 114"/>
                  <a:gd name="f576" fmla="val 362"/>
                  <a:gd name="f577" fmla="val 118"/>
                  <a:gd name="f578" fmla="val 121"/>
                  <a:gd name="f579" fmla="val 122"/>
                  <a:gd name="f580" fmla="val 366"/>
                  <a:gd name="f581" fmla="val 377"/>
                  <a:gd name="f582" fmla="val 116"/>
                  <a:gd name="f583" fmla="val 400"/>
                  <a:gd name="f584" fmla="val 90"/>
                  <a:gd name="f585" fmla="val 404"/>
                  <a:gd name="f586" fmla="val 85"/>
                  <a:gd name="f587" fmla="val 71"/>
                  <a:gd name="f588" fmla="val 456"/>
                  <a:gd name="f589" fmla="val 462"/>
                  <a:gd name="f590" fmla="val 469"/>
                  <a:gd name="f591" fmla="val 472"/>
                  <a:gd name="f592" fmla="val 475"/>
                  <a:gd name="f593" fmla="val 480"/>
                  <a:gd name="f594" fmla="val 483"/>
                  <a:gd name="f595" fmla="val 64"/>
                  <a:gd name="f596" fmla="val 40"/>
                  <a:gd name="f597" fmla="val 32"/>
                  <a:gd name="f598" fmla="val 23"/>
                  <a:gd name="f599" fmla="val 17"/>
                  <a:gd name="f600" fmla="val 527"/>
                  <a:gd name="f601" fmla="val 15"/>
                  <a:gd name="f602" fmla="val 537"/>
                  <a:gd name="f603" fmla="val 577"/>
                  <a:gd name="f604" fmla="val 12"/>
                  <a:gd name="f605" fmla="val 592"/>
                  <a:gd name="f606" fmla="val 8"/>
                  <a:gd name="f607" fmla="val 596"/>
                  <a:gd name="f608" fmla="val 601"/>
                  <a:gd name="f609" fmla="+- 0 0 -90"/>
                  <a:gd name="f610" fmla="*/ f3 1 847"/>
                  <a:gd name="f611" fmla="*/ f4 1 863"/>
                  <a:gd name="f612" fmla="+- f7 0 f5"/>
                  <a:gd name="f613" fmla="+- f6 0 f5"/>
                  <a:gd name="f614" fmla="*/ f609 f0 1"/>
                  <a:gd name="f615" fmla="*/ f613 1 847"/>
                  <a:gd name="f616" fmla="*/ f612 1 863"/>
                  <a:gd name="f617" fmla="*/ f614 1 f2"/>
                  <a:gd name="f618" fmla="*/ 444 1 f615"/>
                  <a:gd name="f619" fmla="*/ 335 1 f616"/>
                  <a:gd name="f620" fmla="*/ 413 1 f615"/>
                  <a:gd name="f621" fmla="*/ 402 1 f616"/>
                  <a:gd name="f622" fmla="*/ 449 1 f615"/>
                  <a:gd name="f623" fmla="*/ 426 1 f616"/>
                  <a:gd name="f624" fmla="*/ 495 1 f615"/>
                  <a:gd name="f625" fmla="*/ 558 1 f615"/>
                  <a:gd name="f626" fmla="*/ 445 1 f616"/>
                  <a:gd name="f627" fmla="*/ 553 1 f615"/>
                  <a:gd name="f628" fmla="*/ 397 1 f616"/>
                  <a:gd name="f629" fmla="*/ 526 1 f615"/>
                  <a:gd name="f630" fmla="*/ 363 1 f616"/>
                  <a:gd name="f631" fmla="*/ 611 1 f615"/>
                  <a:gd name="f632" fmla="*/ 2 1 f616"/>
                  <a:gd name="f633" fmla="*/ 675 1 f615"/>
                  <a:gd name="f634" fmla="*/ 60 1 f616"/>
                  <a:gd name="f635" fmla="*/ 728 1 f615"/>
                  <a:gd name="f636" fmla="*/ 77 1 f616"/>
                  <a:gd name="f637" fmla="*/ 661 1 f615"/>
                  <a:gd name="f638" fmla="*/ 184 1 f616"/>
                  <a:gd name="f639" fmla="*/ 660 1 f615"/>
                  <a:gd name="f640" fmla="*/ 242 1 f616"/>
                  <a:gd name="f641" fmla="*/ 718 1 f615"/>
                  <a:gd name="f642" fmla="*/ 274 1 f616"/>
                  <a:gd name="f643" fmla="*/ 793 1 f615"/>
                  <a:gd name="f644" fmla="*/ 343 1 f616"/>
                  <a:gd name="f645" fmla="*/ 784 1 f615"/>
                  <a:gd name="f646" fmla="*/ 398 1 f616"/>
                  <a:gd name="f647" fmla="*/ 802 1 f615"/>
                  <a:gd name="f648" fmla="*/ 473 1 f616"/>
                  <a:gd name="f649" fmla="*/ 816 1 f615"/>
                  <a:gd name="f650" fmla="*/ 492 1 f616"/>
                  <a:gd name="f651" fmla="*/ 519 1 f616"/>
                  <a:gd name="f652" fmla="*/ 831 1 f615"/>
                  <a:gd name="f653" fmla="*/ 561 1 f616"/>
                  <a:gd name="f654" fmla="*/ 804 1 f615"/>
                  <a:gd name="f655" fmla="*/ 643 1 f616"/>
                  <a:gd name="f656" fmla="*/ 844 1 f615"/>
                  <a:gd name="f657" fmla="*/ 724 1 f616"/>
                  <a:gd name="f658" fmla="*/ 823 1 f615"/>
                  <a:gd name="f659" fmla="*/ 768 1 f616"/>
                  <a:gd name="f660" fmla="*/ 748 1 f615"/>
                  <a:gd name="f661" fmla="*/ 786 1 f616"/>
                  <a:gd name="f662" fmla="*/ 711 1 f615"/>
                  <a:gd name="f663" fmla="*/ 777 1 f616"/>
                  <a:gd name="f664" fmla="*/ 666 1 f615"/>
                  <a:gd name="f665" fmla="*/ 840 1 f616"/>
                  <a:gd name="f666" fmla="*/ 600 1 f615"/>
                  <a:gd name="f667" fmla="*/ 857 1 f616"/>
                  <a:gd name="f668" fmla="*/ 493 1 f615"/>
                  <a:gd name="f669" fmla="*/ 844 1 f616"/>
                  <a:gd name="f670" fmla="*/ 447 1 f615"/>
                  <a:gd name="f671" fmla="*/ 839 1 f616"/>
                  <a:gd name="f672" fmla="*/ 788 1 f616"/>
                  <a:gd name="f673" fmla="*/ 420 1 f615"/>
                  <a:gd name="f674" fmla="*/ 750 1 f616"/>
                  <a:gd name="f675" fmla="*/ 438 1 f615"/>
                  <a:gd name="f676" fmla="*/ 695 1 f616"/>
                  <a:gd name="f677" fmla="*/ 395 1 f615"/>
                  <a:gd name="f678" fmla="*/ 650 1 f616"/>
                  <a:gd name="f679" fmla="*/ 330 1 f615"/>
                  <a:gd name="f680" fmla="*/ 618 1 f616"/>
                  <a:gd name="f681" fmla="*/ 267 1 f615"/>
                  <a:gd name="f682" fmla="*/ 605 1 f616"/>
                  <a:gd name="f683" fmla="*/ 203 1 f615"/>
                  <a:gd name="f684" fmla="*/ 555 1 f616"/>
                  <a:gd name="f685" fmla="*/ 188 1 f615"/>
                  <a:gd name="f686" fmla="*/ 207 1 f615"/>
                  <a:gd name="f687" fmla="*/ 167 1 f615"/>
                  <a:gd name="f688" fmla="*/ 390 1 f616"/>
                  <a:gd name="f689" fmla="*/ 184 1 f615"/>
                  <a:gd name="f690" fmla="*/ 338 1 f616"/>
                  <a:gd name="f691" fmla="*/ 278 1 f616"/>
                  <a:gd name="f692" fmla="*/ 137 1 f615"/>
                  <a:gd name="f693" fmla="*/ 239 1 f616"/>
                  <a:gd name="f694" fmla="*/ 78 1 f615"/>
                  <a:gd name="f695" fmla="*/ 215 1 f616"/>
                  <a:gd name="f696" fmla="*/ 42 1 f615"/>
                  <a:gd name="f697" fmla="*/ 193 1 f616"/>
                  <a:gd name="f698" fmla="*/ 47 1 f615"/>
                  <a:gd name="f699" fmla="*/ 162 1 f616"/>
                  <a:gd name="f700" fmla="*/ 1 1 f615"/>
                  <a:gd name="f701" fmla="*/ 123 1 f616"/>
                  <a:gd name="f702" fmla="*/ 68 1 f616"/>
                  <a:gd name="f703" fmla="*/ 119 1 f615"/>
                  <a:gd name="f704" fmla="*/ 75 1 f616"/>
                  <a:gd name="f705" fmla="*/ 161 1 f615"/>
                  <a:gd name="f706" fmla="*/ 50 1 f616"/>
                  <a:gd name="f707" fmla="*/ 225 1 f615"/>
                  <a:gd name="f708" fmla="*/ 80 1 f616"/>
                  <a:gd name="f709" fmla="*/ 281 1 f615"/>
                  <a:gd name="f710" fmla="*/ 88 1 f616"/>
                  <a:gd name="f711" fmla="*/ 314 1 f615"/>
                  <a:gd name="f712" fmla="*/ 112 1 f616"/>
                  <a:gd name="f713" fmla="*/ 364 1 f615"/>
                  <a:gd name="f714" fmla="*/ 404 1 f615"/>
                  <a:gd name="f715" fmla="*/ 86 1 f616"/>
                  <a:gd name="f716" fmla="*/ 427 1 f615"/>
                  <a:gd name="f717" fmla="*/ 94 1 f616"/>
                  <a:gd name="f718" fmla="*/ 467 1 f615"/>
                  <a:gd name="f719" fmla="*/ 73 1 f616"/>
                  <a:gd name="f720" fmla="*/ 480 1 f615"/>
                  <a:gd name="f721" fmla="*/ 70 1 f616"/>
                  <a:gd name="f722" fmla="*/ 518 1 f615"/>
                  <a:gd name="f723" fmla="*/ 17 1 f616"/>
                  <a:gd name="f724" fmla="*/ 606 1 f615"/>
                  <a:gd name="f725" fmla="*/ 0 1 f616"/>
                  <a:gd name="f726" fmla="*/ 0 1 f615"/>
                  <a:gd name="f727" fmla="*/ f6 1 f615"/>
                  <a:gd name="f728" fmla="*/ f7 1 f616"/>
                  <a:gd name="f729" fmla="+- f617 0 f1"/>
                  <a:gd name="f730" fmla="*/ f726 f610 1"/>
                  <a:gd name="f731" fmla="*/ f727 f610 1"/>
                  <a:gd name="f732" fmla="*/ f728 f611 1"/>
                  <a:gd name="f733" fmla="*/ f725 f611 1"/>
                  <a:gd name="f734" fmla="*/ f618 f610 1"/>
                  <a:gd name="f735" fmla="*/ f619 f611 1"/>
                  <a:gd name="f736" fmla="*/ f620 f610 1"/>
                  <a:gd name="f737" fmla="*/ f621 f611 1"/>
                  <a:gd name="f738" fmla="*/ f622 f610 1"/>
                  <a:gd name="f739" fmla="*/ f623 f611 1"/>
                  <a:gd name="f740" fmla="*/ f624 f610 1"/>
                  <a:gd name="f741" fmla="*/ f625 f610 1"/>
                  <a:gd name="f742" fmla="*/ f626 f611 1"/>
                  <a:gd name="f743" fmla="*/ f627 f610 1"/>
                  <a:gd name="f744" fmla="*/ f628 f611 1"/>
                  <a:gd name="f745" fmla="*/ f629 f610 1"/>
                  <a:gd name="f746" fmla="*/ f630 f611 1"/>
                  <a:gd name="f747" fmla="*/ f631 f610 1"/>
                  <a:gd name="f748" fmla="*/ f632 f611 1"/>
                  <a:gd name="f749" fmla="*/ f633 f610 1"/>
                  <a:gd name="f750" fmla="*/ f634 f611 1"/>
                  <a:gd name="f751" fmla="*/ f635 f610 1"/>
                  <a:gd name="f752" fmla="*/ f636 f611 1"/>
                  <a:gd name="f753" fmla="*/ f637 f610 1"/>
                  <a:gd name="f754" fmla="*/ f638 f611 1"/>
                  <a:gd name="f755" fmla="*/ f639 f610 1"/>
                  <a:gd name="f756" fmla="*/ f640 f611 1"/>
                  <a:gd name="f757" fmla="*/ f641 f610 1"/>
                  <a:gd name="f758" fmla="*/ f642 f611 1"/>
                  <a:gd name="f759" fmla="*/ f643 f610 1"/>
                  <a:gd name="f760" fmla="*/ f644 f611 1"/>
                  <a:gd name="f761" fmla="*/ f645 f610 1"/>
                  <a:gd name="f762" fmla="*/ f646 f611 1"/>
                  <a:gd name="f763" fmla="*/ f647 f610 1"/>
                  <a:gd name="f764" fmla="*/ f648 f611 1"/>
                  <a:gd name="f765" fmla="*/ f649 f610 1"/>
                  <a:gd name="f766" fmla="*/ f650 f611 1"/>
                  <a:gd name="f767" fmla="*/ f651 f611 1"/>
                  <a:gd name="f768" fmla="*/ f652 f610 1"/>
                  <a:gd name="f769" fmla="*/ f653 f611 1"/>
                  <a:gd name="f770" fmla="*/ f654 f610 1"/>
                  <a:gd name="f771" fmla="*/ f655 f611 1"/>
                  <a:gd name="f772" fmla="*/ f656 f610 1"/>
                  <a:gd name="f773" fmla="*/ f657 f611 1"/>
                  <a:gd name="f774" fmla="*/ f658 f610 1"/>
                  <a:gd name="f775" fmla="*/ f659 f611 1"/>
                  <a:gd name="f776" fmla="*/ f660 f610 1"/>
                  <a:gd name="f777" fmla="*/ f661 f611 1"/>
                  <a:gd name="f778" fmla="*/ f662 f610 1"/>
                  <a:gd name="f779" fmla="*/ f663 f611 1"/>
                  <a:gd name="f780" fmla="*/ f664 f610 1"/>
                  <a:gd name="f781" fmla="*/ f665 f611 1"/>
                  <a:gd name="f782" fmla="*/ f666 f610 1"/>
                  <a:gd name="f783" fmla="*/ f667 f611 1"/>
                  <a:gd name="f784" fmla="*/ f668 f610 1"/>
                  <a:gd name="f785" fmla="*/ f669 f611 1"/>
                  <a:gd name="f786" fmla="*/ f670 f610 1"/>
                  <a:gd name="f787" fmla="*/ f671 f611 1"/>
                  <a:gd name="f788" fmla="*/ f672 f611 1"/>
                  <a:gd name="f789" fmla="*/ f673 f610 1"/>
                  <a:gd name="f790" fmla="*/ f674 f611 1"/>
                  <a:gd name="f791" fmla="*/ f675 f610 1"/>
                  <a:gd name="f792" fmla="*/ f676 f611 1"/>
                  <a:gd name="f793" fmla="*/ f677 f610 1"/>
                  <a:gd name="f794" fmla="*/ f678 f611 1"/>
                  <a:gd name="f795" fmla="*/ f679 f610 1"/>
                  <a:gd name="f796" fmla="*/ f680 f611 1"/>
                  <a:gd name="f797" fmla="*/ f681 f610 1"/>
                  <a:gd name="f798" fmla="*/ f682 f611 1"/>
                  <a:gd name="f799" fmla="*/ f683 f610 1"/>
                  <a:gd name="f800" fmla="*/ f684 f611 1"/>
                  <a:gd name="f801" fmla="*/ f685 f610 1"/>
                  <a:gd name="f802" fmla="*/ f686 f610 1"/>
                  <a:gd name="f803" fmla="*/ f687 f610 1"/>
                  <a:gd name="f804" fmla="*/ f688 f611 1"/>
                  <a:gd name="f805" fmla="*/ f689 f610 1"/>
                  <a:gd name="f806" fmla="*/ f690 f611 1"/>
                  <a:gd name="f807" fmla="*/ f691 f611 1"/>
                  <a:gd name="f808" fmla="*/ f692 f610 1"/>
                  <a:gd name="f809" fmla="*/ f693 f611 1"/>
                  <a:gd name="f810" fmla="*/ f694 f610 1"/>
                  <a:gd name="f811" fmla="*/ f695 f611 1"/>
                  <a:gd name="f812" fmla="*/ f696 f610 1"/>
                  <a:gd name="f813" fmla="*/ f697 f611 1"/>
                  <a:gd name="f814" fmla="*/ f698 f610 1"/>
                  <a:gd name="f815" fmla="*/ f699 f611 1"/>
                  <a:gd name="f816" fmla="*/ f700 f610 1"/>
                  <a:gd name="f817" fmla="*/ f701 f611 1"/>
                  <a:gd name="f818" fmla="*/ f702 f611 1"/>
                  <a:gd name="f819" fmla="*/ f703 f610 1"/>
                  <a:gd name="f820" fmla="*/ f704 f611 1"/>
                  <a:gd name="f821" fmla="*/ f705 f610 1"/>
                  <a:gd name="f822" fmla="*/ f706 f611 1"/>
                  <a:gd name="f823" fmla="*/ f707 f610 1"/>
                  <a:gd name="f824" fmla="*/ f708 f611 1"/>
                  <a:gd name="f825" fmla="*/ f709 f610 1"/>
                  <a:gd name="f826" fmla="*/ f710 f611 1"/>
                  <a:gd name="f827" fmla="*/ f711 f610 1"/>
                  <a:gd name="f828" fmla="*/ f712 f611 1"/>
                  <a:gd name="f829" fmla="*/ f713 f610 1"/>
                  <a:gd name="f830" fmla="*/ f714 f610 1"/>
                  <a:gd name="f831" fmla="*/ f715 f611 1"/>
                  <a:gd name="f832" fmla="*/ f716 f610 1"/>
                  <a:gd name="f833" fmla="*/ f717 f611 1"/>
                  <a:gd name="f834" fmla="*/ f718 f610 1"/>
                  <a:gd name="f835" fmla="*/ f719 f611 1"/>
                  <a:gd name="f836" fmla="*/ f720 f610 1"/>
                  <a:gd name="f837" fmla="*/ f721 f611 1"/>
                  <a:gd name="f838" fmla="*/ f722 f610 1"/>
                  <a:gd name="f839" fmla="*/ f723 f611 1"/>
                  <a:gd name="f840" fmla="*/ f724 f61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729">
                    <a:pos x="f734" y="f735"/>
                  </a:cxn>
                  <a:cxn ang="f729">
                    <a:pos x="f736" y="f737"/>
                  </a:cxn>
                  <a:cxn ang="f729">
                    <a:pos x="f738" y="f739"/>
                  </a:cxn>
                  <a:cxn ang="f729">
                    <a:pos x="f740" y="f739"/>
                  </a:cxn>
                  <a:cxn ang="f729">
                    <a:pos x="f741" y="f742"/>
                  </a:cxn>
                  <a:cxn ang="f729">
                    <a:pos x="f743" y="f744"/>
                  </a:cxn>
                  <a:cxn ang="f729">
                    <a:pos x="f745" y="f746"/>
                  </a:cxn>
                  <a:cxn ang="f729">
                    <a:pos x="f747" y="f748"/>
                  </a:cxn>
                  <a:cxn ang="f729">
                    <a:pos x="f749" y="f750"/>
                  </a:cxn>
                  <a:cxn ang="f729">
                    <a:pos x="f751" y="f752"/>
                  </a:cxn>
                  <a:cxn ang="f729">
                    <a:pos x="f753" y="f754"/>
                  </a:cxn>
                  <a:cxn ang="f729">
                    <a:pos x="f755" y="f756"/>
                  </a:cxn>
                  <a:cxn ang="f729">
                    <a:pos x="f757" y="f758"/>
                  </a:cxn>
                  <a:cxn ang="f729">
                    <a:pos x="f759" y="f760"/>
                  </a:cxn>
                  <a:cxn ang="f729">
                    <a:pos x="f761" y="f762"/>
                  </a:cxn>
                  <a:cxn ang="f729">
                    <a:pos x="f763" y="f764"/>
                  </a:cxn>
                  <a:cxn ang="f729">
                    <a:pos x="f765" y="f766"/>
                  </a:cxn>
                  <a:cxn ang="f729">
                    <a:pos x="f765" y="f767"/>
                  </a:cxn>
                  <a:cxn ang="f729">
                    <a:pos x="f768" y="f769"/>
                  </a:cxn>
                  <a:cxn ang="f729">
                    <a:pos x="f770" y="f771"/>
                  </a:cxn>
                  <a:cxn ang="f729">
                    <a:pos x="f772" y="f773"/>
                  </a:cxn>
                  <a:cxn ang="f729">
                    <a:pos x="f774" y="f775"/>
                  </a:cxn>
                  <a:cxn ang="f729">
                    <a:pos x="f776" y="f777"/>
                  </a:cxn>
                  <a:cxn ang="f729">
                    <a:pos x="f778" y="f779"/>
                  </a:cxn>
                  <a:cxn ang="f729">
                    <a:pos x="f780" y="f781"/>
                  </a:cxn>
                  <a:cxn ang="f729">
                    <a:pos x="f782" y="f783"/>
                  </a:cxn>
                  <a:cxn ang="f729">
                    <a:pos x="f784" y="f785"/>
                  </a:cxn>
                  <a:cxn ang="f729">
                    <a:pos x="f786" y="f787"/>
                  </a:cxn>
                  <a:cxn ang="f729">
                    <a:pos x="f786" y="f788"/>
                  </a:cxn>
                  <a:cxn ang="f729">
                    <a:pos x="f789" y="f790"/>
                  </a:cxn>
                  <a:cxn ang="f729">
                    <a:pos x="f791" y="f792"/>
                  </a:cxn>
                  <a:cxn ang="f729">
                    <a:pos x="f793" y="f794"/>
                  </a:cxn>
                  <a:cxn ang="f729">
                    <a:pos x="f795" y="f796"/>
                  </a:cxn>
                  <a:cxn ang="f729">
                    <a:pos x="f797" y="f798"/>
                  </a:cxn>
                  <a:cxn ang="f729">
                    <a:pos x="f799" y="f800"/>
                  </a:cxn>
                  <a:cxn ang="f729">
                    <a:pos x="f801" y="f766"/>
                  </a:cxn>
                  <a:cxn ang="f729">
                    <a:pos x="f802" y="f744"/>
                  </a:cxn>
                  <a:cxn ang="f729">
                    <a:pos x="f803" y="f804"/>
                  </a:cxn>
                  <a:cxn ang="f729">
                    <a:pos x="f805" y="f806"/>
                  </a:cxn>
                  <a:cxn ang="f729">
                    <a:pos x="f801" y="f807"/>
                  </a:cxn>
                  <a:cxn ang="f729">
                    <a:pos x="f808" y="f809"/>
                  </a:cxn>
                  <a:cxn ang="f729">
                    <a:pos x="f810" y="f811"/>
                  </a:cxn>
                  <a:cxn ang="f729">
                    <a:pos x="f812" y="f813"/>
                  </a:cxn>
                  <a:cxn ang="f729">
                    <a:pos x="f814" y="f815"/>
                  </a:cxn>
                  <a:cxn ang="f729">
                    <a:pos x="f816" y="f817"/>
                  </a:cxn>
                  <a:cxn ang="f729">
                    <a:pos x="f810" y="f818"/>
                  </a:cxn>
                  <a:cxn ang="f729">
                    <a:pos x="f819" y="f820"/>
                  </a:cxn>
                  <a:cxn ang="f729">
                    <a:pos x="f821" y="f822"/>
                  </a:cxn>
                  <a:cxn ang="f729">
                    <a:pos x="f823" y="f824"/>
                  </a:cxn>
                  <a:cxn ang="f729">
                    <a:pos x="f825" y="f826"/>
                  </a:cxn>
                  <a:cxn ang="f729">
                    <a:pos x="f827" y="f828"/>
                  </a:cxn>
                  <a:cxn ang="f729">
                    <a:pos x="f829" y="f817"/>
                  </a:cxn>
                  <a:cxn ang="f729">
                    <a:pos x="f830" y="f831"/>
                  </a:cxn>
                  <a:cxn ang="f729">
                    <a:pos x="f832" y="f833"/>
                  </a:cxn>
                  <a:cxn ang="f729">
                    <a:pos x="f834" y="f835"/>
                  </a:cxn>
                  <a:cxn ang="f729">
                    <a:pos x="f836" y="f837"/>
                  </a:cxn>
                  <a:cxn ang="f729">
                    <a:pos x="f838" y="f839"/>
                  </a:cxn>
                  <a:cxn ang="f729">
                    <a:pos x="f840" y="f733"/>
                  </a:cxn>
                </a:cxnLst>
                <a:rect l="f730" t="f733" r="f731" b="f732"/>
                <a:pathLst>
                  <a:path w="847" h="863">
                    <a:moveTo>
                      <a:pt x="f8" y="f9"/>
                    </a:move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19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47" y="f49"/>
                    </a:lnTo>
                    <a:lnTo>
                      <a:pt x="f50" y="f51"/>
                    </a:lnTo>
                    <a:lnTo>
                      <a:pt x="f43" y="f52"/>
                    </a:lnTo>
                    <a:lnTo>
                      <a:pt x="f53" y="f54"/>
                    </a:lnTo>
                    <a:lnTo>
                      <a:pt x="f33" y="f29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59"/>
                    </a:lnTo>
                    <a:lnTo>
                      <a:pt x="f61" y="f62"/>
                    </a:lnTo>
                    <a:lnTo>
                      <a:pt x="f63" y="f29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67"/>
                    </a:lnTo>
                    <a:lnTo>
                      <a:pt x="f69" y="f28"/>
                    </a:lnTo>
                    <a:lnTo>
                      <a:pt x="f69" y="f31"/>
                    </a:lnTo>
                    <a:lnTo>
                      <a:pt x="f70" y="f57"/>
                    </a:lnTo>
                    <a:lnTo>
                      <a:pt x="f70" y="f33"/>
                    </a:lnTo>
                    <a:lnTo>
                      <a:pt x="f10" y="f59"/>
                    </a:lnTo>
                    <a:lnTo>
                      <a:pt x="f71" y="f59"/>
                    </a:lnTo>
                    <a:lnTo>
                      <a:pt x="f72" y="f33"/>
                    </a:lnTo>
                    <a:lnTo>
                      <a:pt x="f73" y="f62"/>
                    </a:lnTo>
                    <a:lnTo>
                      <a:pt x="f74" y="f62"/>
                    </a:lnTo>
                    <a:lnTo>
                      <a:pt x="f75" y="f31"/>
                    </a:lnTo>
                    <a:lnTo>
                      <a:pt x="f76" y="f54"/>
                    </a:lnTo>
                    <a:lnTo>
                      <a:pt x="f77" y="f26"/>
                    </a:lnTo>
                    <a:lnTo>
                      <a:pt x="f78" y="f79"/>
                    </a:lnTo>
                    <a:lnTo>
                      <a:pt x="f80" y="f79"/>
                    </a:lnTo>
                    <a:lnTo>
                      <a:pt x="f81" y="f58"/>
                    </a:lnTo>
                    <a:lnTo>
                      <a:pt x="f82" y="f67"/>
                    </a:lnTo>
                    <a:lnTo>
                      <a:pt x="f83" y="f54"/>
                    </a:lnTo>
                    <a:lnTo>
                      <a:pt x="f83" y="f57"/>
                    </a:lnTo>
                    <a:lnTo>
                      <a:pt x="f84" y="f53"/>
                    </a:lnTo>
                    <a:lnTo>
                      <a:pt x="f85" y="f45"/>
                    </a:lnTo>
                    <a:lnTo>
                      <a:pt x="f86" y="f48"/>
                    </a:lnTo>
                    <a:lnTo>
                      <a:pt x="f86" y="f87"/>
                    </a:lnTo>
                    <a:lnTo>
                      <a:pt x="f85" y="f46"/>
                    </a:lnTo>
                    <a:lnTo>
                      <a:pt x="f82" y="f88"/>
                    </a:lnTo>
                    <a:lnTo>
                      <a:pt x="f89" y="f44"/>
                    </a:lnTo>
                    <a:lnTo>
                      <a:pt x="f90" y="f91"/>
                    </a:lnTo>
                    <a:lnTo>
                      <a:pt x="f92" y="f93"/>
                    </a:lnTo>
                    <a:lnTo>
                      <a:pt x="f94" y="f95"/>
                    </a:lnTo>
                    <a:lnTo>
                      <a:pt x="f94" y="f96"/>
                    </a:lnTo>
                    <a:lnTo>
                      <a:pt x="f92" y="f97"/>
                    </a:lnTo>
                    <a:lnTo>
                      <a:pt x="f98" y="f99"/>
                    </a:lnTo>
                    <a:lnTo>
                      <a:pt x="f98" y="f100"/>
                    </a:lnTo>
                    <a:lnTo>
                      <a:pt x="f92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72" y="f114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8" y="f9"/>
                    </a:lnTo>
                    <a:close/>
                    <a:moveTo>
                      <a:pt x="f119" y="f5"/>
                    </a:move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128" y="f129"/>
                    </a:ln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lnTo>
                      <a:pt x="f136" y="f135"/>
                    </a:lnTo>
                    <a:lnTo>
                      <a:pt x="f137" y="f133"/>
                    </a:lnTo>
                    <a:lnTo>
                      <a:pt x="f138" y="f131"/>
                    </a:ln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lnTo>
                      <a:pt x="f153" y="f131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8" y="f159"/>
                    </a:lnTo>
                    <a:lnTo>
                      <a:pt x="f160" y="f161"/>
                    </a:lnTo>
                    <a:lnTo>
                      <a:pt x="f162" y="f163"/>
                    </a:lnTo>
                    <a:lnTo>
                      <a:pt x="f162" y="f164"/>
                    </a:lnTo>
                    <a:lnTo>
                      <a:pt x="f165" y="f166"/>
                    </a:lnTo>
                    <a:lnTo>
                      <a:pt x="f167" y="f168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lnTo>
                      <a:pt x="f177" y="f178"/>
                    </a:lnTo>
                    <a:lnTo>
                      <a:pt x="f179" y="f180"/>
                    </a:lnTo>
                    <a:lnTo>
                      <a:pt x="f181" y="f182"/>
                    </a:lnTo>
                    <a:lnTo>
                      <a:pt x="f183" y="f184"/>
                    </a:lnTo>
                    <a:lnTo>
                      <a:pt x="f185" y="f186"/>
                    </a:lnTo>
                    <a:lnTo>
                      <a:pt x="f187" y="f188"/>
                    </a:lnTo>
                    <a:lnTo>
                      <a:pt x="f189" y="f190"/>
                    </a:lnTo>
                    <a:lnTo>
                      <a:pt x="f191" y="f192"/>
                    </a:lnTo>
                    <a:lnTo>
                      <a:pt x="f181" y="f193"/>
                    </a:lnTo>
                    <a:lnTo>
                      <a:pt x="f194" y="f195"/>
                    </a:lnTo>
                    <a:lnTo>
                      <a:pt x="f189" y="f196"/>
                    </a:lnTo>
                    <a:lnTo>
                      <a:pt x="f197" y="f198"/>
                    </a:lnTo>
                    <a:lnTo>
                      <a:pt x="f199" y="f200"/>
                    </a:lnTo>
                    <a:lnTo>
                      <a:pt x="f201" y="f202"/>
                    </a:lnTo>
                    <a:lnTo>
                      <a:pt x="f203" y="f204"/>
                    </a:lnTo>
                    <a:lnTo>
                      <a:pt x="f205" y="f206"/>
                    </a:lnTo>
                    <a:lnTo>
                      <a:pt x="f207" y="f208"/>
                    </a:lnTo>
                    <a:lnTo>
                      <a:pt x="f209" y="f210"/>
                    </a:lnTo>
                    <a:lnTo>
                      <a:pt x="f165" y="f211"/>
                    </a:lnTo>
                    <a:lnTo>
                      <a:pt x="f160" y="f212"/>
                    </a:lnTo>
                    <a:lnTo>
                      <a:pt x="f213" y="f214"/>
                    </a:lnTo>
                    <a:lnTo>
                      <a:pt x="f215" y="f216"/>
                    </a:lnTo>
                    <a:lnTo>
                      <a:pt x="f217" y="f218"/>
                    </a:lnTo>
                    <a:lnTo>
                      <a:pt x="f219" y="f220"/>
                    </a:lnTo>
                    <a:lnTo>
                      <a:pt x="f221" y="f222"/>
                    </a:lnTo>
                    <a:lnTo>
                      <a:pt x="f223" y="f224"/>
                    </a:lnTo>
                    <a:lnTo>
                      <a:pt x="f225" y="f114"/>
                    </a:lnTo>
                    <a:lnTo>
                      <a:pt x="f226" y="f227"/>
                    </a:lnTo>
                    <a:lnTo>
                      <a:pt x="f228" y="f19"/>
                    </a:lnTo>
                    <a:lnTo>
                      <a:pt x="f229" y="f230"/>
                    </a:lnTo>
                    <a:lnTo>
                      <a:pt x="f228" y="f231"/>
                    </a:lnTo>
                    <a:lnTo>
                      <a:pt x="f232" y="f233"/>
                    </a:lnTo>
                    <a:lnTo>
                      <a:pt x="f226" y="f234"/>
                    </a:lnTo>
                    <a:lnTo>
                      <a:pt x="f226" y="f235"/>
                    </a:lnTo>
                    <a:lnTo>
                      <a:pt x="f236" y="f40"/>
                    </a:lnTo>
                    <a:lnTo>
                      <a:pt x="f237" y="f238"/>
                    </a:lnTo>
                    <a:lnTo>
                      <a:pt x="f239" y="f240"/>
                    </a:lnTo>
                    <a:lnTo>
                      <a:pt x="f229" y="f241"/>
                    </a:lnTo>
                    <a:lnTo>
                      <a:pt x="f236" y="f96"/>
                    </a:lnTo>
                    <a:lnTo>
                      <a:pt x="f242" y="f243"/>
                    </a:lnTo>
                    <a:lnTo>
                      <a:pt x="f244" y="f47"/>
                    </a:lnTo>
                    <a:lnTo>
                      <a:pt x="f245" y="f41"/>
                    </a:lnTo>
                    <a:lnTo>
                      <a:pt x="f246" y="f247"/>
                    </a:lnTo>
                    <a:lnTo>
                      <a:pt x="f248" y="f29"/>
                    </a:lnTo>
                    <a:lnTo>
                      <a:pt x="f249" y="f250"/>
                    </a:lnTo>
                    <a:lnTo>
                      <a:pt x="f242" y="f24"/>
                    </a:lnTo>
                    <a:lnTo>
                      <a:pt x="f251" y="f63"/>
                    </a:lnTo>
                    <a:lnTo>
                      <a:pt x="f228" y="f20"/>
                    </a:lnTo>
                    <a:lnTo>
                      <a:pt x="f252" y="f253"/>
                    </a:lnTo>
                    <a:lnTo>
                      <a:pt x="f254" y="f255"/>
                    </a:lnTo>
                    <a:lnTo>
                      <a:pt x="f256" y="f257"/>
                    </a:lnTo>
                    <a:lnTo>
                      <a:pt x="f258" y="f18"/>
                    </a:lnTo>
                    <a:lnTo>
                      <a:pt x="f259" y="f260"/>
                    </a:lnTo>
                    <a:lnTo>
                      <a:pt x="f261" y="f262"/>
                    </a:lnTo>
                    <a:lnTo>
                      <a:pt x="f263" y="f16"/>
                    </a:lnTo>
                    <a:lnTo>
                      <a:pt x="f264" y="f265"/>
                    </a:lnTo>
                    <a:lnTo>
                      <a:pt x="f263" y="f266"/>
                    </a:lnTo>
                    <a:lnTo>
                      <a:pt x="f263" y="f267"/>
                    </a:lnTo>
                    <a:lnTo>
                      <a:pt x="f259" y="f14"/>
                    </a:lnTo>
                    <a:lnTo>
                      <a:pt x="f268" y="f12"/>
                    </a:lnTo>
                    <a:lnTo>
                      <a:pt x="f269" y="f270"/>
                    </a:lnTo>
                    <a:lnTo>
                      <a:pt x="f268" y="f71"/>
                    </a:lnTo>
                    <a:lnTo>
                      <a:pt x="f271" y="f115"/>
                    </a:lnTo>
                    <a:lnTo>
                      <a:pt x="f263" y="f272"/>
                    </a:lnTo>
                    <a:lnTo>
                      <a:pt x="f263" y="f273"/>
                    </a:lnTo>
                    <a:lnTo>
                      <a:pt x="f261" y="f273"/>
                    </a:lnTo>
                    <a:lnTo>
                      <a:pt x="f271" y="f274"/>
                    </a:lnTo>
                    <a:lnTo>
                      <a:pt x="f259" y="f274"/>
                    </a:lnTo>
                    <a:lnTo>
                      <a:pt x="f268" y="f75"/>
                    </a:lnTo>
                    <a:lnTo>
                      <a:pt x="f268" y="f275"/>
                    </a:lnTo>
                    <a:lnTo>
                      <a:pt x="f269" y="f276"/>
                    </a:lnTo>
                    <a:lnTo>
                      <a:pt x="f269" y="f277"/>
                    </a:lnTo>
                    <a:lnTo>
                      <a:pt x="f259" y="f278"/>
                    </a:lnTo>
                    <a:lnTo>
                      <a:pt x="f279" y="f280"/>
                    </a:lnTo>
                    <a:lnTo>
                      <a:pt x="f281" y="f92"/>
                    </a:lnTo>
                    <a:lnTo>
                      <a:pt x="f282" y="f77"/>
                    </a:lnTo>
                    <a:lnTo>
                      <a:pt x="f283" y="f90"/>
                    </a:lnTo>
                    <a:lnTo>
                      <a:pt x="f283" y="f284"/>
                    </a:lnTo>
                    <a:lnTo>
                      <a:pt x="f282" y="f285"/>
                    </a:lnTo>
                    <a:lnTo>
                      <a:pt x="f286" y="f82"/>
                    </a:lnTo>
                    <a:lnTo>
                      <a:pt x="f281" y="f287"/>
                    </a:lnTo>
                    <a:lnTo>
                      <a:pt x="f288" y="f289"/>
                    </a:lnTo>
                    <a:lnTo>
                      <a:pt x="f290" y="f291"/>
                    </a:lnTo>
                    <a:lnTo>
                      <a:pt x="f292" y="f293"/>
                    </a:lnTo>
                    <a:lnTo>
                      <a:pt x="f294" y="f295"/>
                    </a:lnTo>
                    <a:lnTo>
                      <a:pt x="f292" y="f296"/>
                    </a:lnTo>
                    <a:lnTo>
                      <a:pt x="f279" y="f297"/>
                    </a:lnTo>
                    <a:lnTo>
                      <a:pt x="f268" y="f298"/>
                    </a:lnTo>
                    <a:lnTo>
                      <a:pt x="f299" y="f300"/>
                    </a:lnTo>
                    <a:lnTo>
                      <a:pt x="f301" y="f130"/>
                    </a:lnTo>
                    <a:lnTo>
                      <a:pt x="f302" y="f303"/>
                    </a:lnTo>
                    <a:lnTo>
                      <a:pt x="f304" y="f134"/>
                    </a:lnTo>
                    <a:lnTo>
                      <a:pt x="f256" y="f191"/>
                    </a:lnTo>
                    <a:lnTo>
                      <a:pt x="f258" y="f305"/>
                    </a:lnTo>
                    <a:lnTo>
                      <a:pt x="f259" y="f139"/>
                    </a:lnTo>
                    <a:lnTo>
                      <a:pt x="f263" y="f306"/>
                    </a:lnTo>
                    <a:lnTo>
                      <a:pt x="f307" y="f143"/>
                    </a:lnTo>
                    <a:lnTo>
                      <a:pt x="f308" y="f309"/>
                    </a:lnTo>
                    <a:lnTo>
                      <a:pt x="f310" y="f162"/>
                    </a:lnTo>
                    <a:lnTo>
                      <a:pt x="f311" y="f312"/>
                    </a:lnTo>
                    <a:lnTo>
                      <a:pt x="f6" y="f215"/>
                    </a:lnTo>
                    <a:lnTo>
                      <a:pt x="f313" y="f314"/>
                    </a:lnTo>
                    <a:lnTo>
                      <a:pt x="f315" y="f316"/>
                    </a:lnTo>
                    <a:lnTo>
                      <a:pt x="f317" y="f318"/>
                    </a:lnTo>
                    <a:lnTo>
                      <a:pt x="f282" y="f318"/>
                    </a:lnTo>
                    <a:lnTo>
                      <a:pt x="f319" y="f320"/>
                    </a:lnTo>
                    <a:lnTo>
                      <a:pt x="f281" y="f221"/>
                    </a:lnTo>
                    <a:lnTo>
                      <a:pt x="f288" y="f321"/>
                    </a:lnTo>
                    <a:lnTo>
                      <a:pt x="f290" y="f322"/>
                    </a:lnTo>
                    <a:lnTo>
                      <a:pt x="f307" y="f323"/>
                    </a:lnTo>
                    <a:lnTo>
                      <a:pt x="f263" y="f324"/>
                    </a:lnTo>
                    <a:lnTo>
                      <a:pt x="f259" y="f325"/>
                    </a:lnTo>
                    <a:lnTo>
                      <a:pt x="f258" y="f326"/>
                    </a:lnTo>
                    <a:lnTo>
                      <a:pt x="f327" y="f322"/>
                    </a:lnTo>
                    <a:lnTo>
                      <a:pt x="f328" y="f322"/>
                    </a:lnTo>
                    <a:lnTo>
                      <a:pt x="f237" y="f325"/>
                    </a:lnTo>
                    <a:lnTo>
                      <a:pt x="f249" y="f246"/>
                    </a:lnTo>
                    <a:lnTo>
                      <a:pt x="f329" y="f225"/>
                    </a:lnTo>
                    <a:lnTo>
                      <a:pt x="f221" y="f330"/>
                    </a:lnTo>
                    <a:lnTo>
                      <a:pt x="f219" y="f226"/>
                    </a:lnTo>
                    <a:lnTo>
                      <a:pt x="f314" y="f331"/>
                    </a:lnTo>
                    <a:lnTo>
                      <a:pt x="f217" y="f228"/>
                    </a:lnTo>
                    <a:lnTo>
                      <a:pt x="f332" y="f228"/>
                    </a:lnTo>
                    <a:lnTo>
                      <a:pt x="f332" y="f236"/>
                    </a:lnTo>
                    <a:lnTo>
                      <a:pt x="f333" y="f232"/>
                    </a:lnTo>
                    <a:lnTo>
                      <a:pt x="f333" y="f226"/>
                    </a:lnTo>
                    <a:lnTo>
                      <a:pt x="f334" y="f335"/>
                    </a:lnTo>
                    <a:lnTo>
                      <a:pt x="f336" y="f337"/>
                    </a:lnTo>
                    <a:lnTo>
                      <a:pt x="f149" y="f338"/>
                    </a:lnTo>
                    <a:lnTo>
                      <a:pt x="f339" y="f225"/>
                    </a:lnTo>
                    <a:lnTo>
                      <a:pt x="f340" y="f248"/>
                    </a:lnTo>
                    <a:lnTo>
                      <a:pt x="f205" y="f341"/>
                    </a:lnTo>
                    <a:lnTo>
                      <a:pt x="f306" y="f335"/>
                    </a:lnTo>
                    <a:lnTo>
                      <a:pt x="f342" y="f229"/>
                    </a:lnTo>
                    <a:lnTo>
                      <a:pt x="f139" y="f343"/>
                    </a:lnTo>
                    <a:lnTo>
                      <a:pt x="f138" y="f304"/>
                    </a:lnTo>
                    <a:lnTo>
                      <a:pt x="f344" y="f299"/>
                    </a:lnTo>
                    <a:lnTo>
                      <a:pt x="f137" y="f259"/>
                    </a:lnTo>
                    <a:lnTo>
                      <a:pt x="f173" y="f281"/>
                    </a:lnTo>
                    <a:lnTo>
                      <a:pt x="f185" y="f345"/>
                    </a:lnTo>
                    <a:lnTo>
                      <a:pt x="f136" y="f346"/>
                    </a:lnTo>
                    <a:lnTo>
                      <a:pt x="f175" y="f347"/>
                    </a:lnTo>
                    <a:lnTo>
                      <a:pt x="f177" y="f348"/>
                    </a:lnTo>
                    <a:lnTo>
                      <a:pt x="f349" y="f350"/>
                    </a:lnTo>
                    <a:lnTo>
                      <a:pt x="f351" y="f346"/>
                    </a:lnTo>
                    <a:lnTo>
                      <a:pt x="f128" y="f352"/>
                    </a:lnTo>
                    <a:lnTo>
                      <a:pt x="f353" y="f352"/>
                    </a:lnTo>
                    <a:lnTo>
                      <a:pt x="f124" y="f354"/>
                    </a:lnTo>
                    <a:lnTo>
                      <a:pt x="f296" y="f355"/>
                    </a:lnTo>
                    <a:lnTo>
                      <a:pt x="f356" y="f357"/>
                    </a:lnTo>
                    <a:lnTo>
                      <a:pt x="f358" y="f359"/>
                    </a:lnTo>
                    <a:lnTo>
                      <a:pt x="f360" y="f348"/>
                    </a:lnTo>
                    <a:lnTo>
                      <a:pt x="f361" y="f7"/>
                    </a:lnTo>
                    <a:lnTo>
                      <a:pt x="f362" y="f350"/>
                    </a:lnTo>
                    <a:lnTo>
                      <a:pt x="f363" y="f357"/>
                    </a:lnTo>
                    <a:lnTo>
                      <a:pt x="f104" y="f346"/>
                    </a:lnTo>
                    <a:lnTo>
                      <a:pt x="f273" y="f364"/>
                    </a:lnTo>
                    <a:lnTo>
                      <a:pt x="f110" y="f345"/>
                    </a:lnTo>
                    <a:lnTo>
                      <a:pt x="f365" y="f345"/>
                    </a:lnTo>
                    <a:lnTo>
                      <a:pt x="f69" y="f311"/>
                    </a:lnTo>
                    <a:lnTo>
                      <a:pt x="f265" y="f366"/>
                    </a:lnTo>
                    <a:lnTo>
                      <a:pt x="f367" y="f368"/>
                    </a:lnTo>
                    <a:lnTo>
                      <a:pt x="f64" y="f368"/>
                    </a:lnTo>
                    <a:lnTo>
                      <a:pt x="f369" y="f370"/>
                    </a:lnTo>
                    <a:lnTo>
                      <a:pt x="f371" y="f346"/>
                    </a:lnTo>
                    <a:lnTo>
                      <a:pt x="f79" y="f355"/>
                    </a:lnTo>
                    <a:lnTo>
                      <a:pt x="f58" y="f370"/>
                    </a:lnTo>
                    <a:lnTo>
                      <a:pt x="f26" y="f366"/>
                    </a:lnTo>
                    <a:lnTo>
                      <a:pt x="f58" y="f311"/>
                    </a:lnTo>
                    <a:lnTo>
                      <a:pt x="f372" y="f317"/>
                    </a:lnTo>
                    <a:lnTo>
                      <a:pt x="f373" y="f374"/>
                    </a:lnTo>
                    <a:lnTo>
                      <a:pt x="f375" y="f286"/>
                    </a:lnTo>
                    <a:lnTo>
                      <a:pt x="f24" y="f288"/>
                    </a:lnTo>
                    <a:lnTo>
                      <a:pt x="f60" y="f279"/>
                    </a:lnTo>
                    <a:lnTo>
                      <a:pt x="f79" y="f271"/>
                    </a:lnTo>
                    <a:lnTo>
                      <a:pt x="f373" y="f269"/>
                    </a:lnTo>
                    <a:lnTo>
                      <a:pt x="f376" y="f327"/>
                    </a:lnTo>
                    <a:lnTo>
                      <a:pt x="f375" y="f301"/>
                    </a:lnTo>
                    <a:lnTo>
                      <a:pt x="f373" y="f252"/>
                    </a:lnTo>
                    <a:lnTo>
                      <a:pt x="f372" y="f232"/>
                    </a:lnTo>
                    <a:lnTo>
                      <a:pt x="f377" y="f330"/>
                    </a:lnTo>
                    <a:lnTo>
                      <a:pt x="f378" y="f248"/>
                    </a:lnTo>
                    <a:lnTo>
                      <a:pt x="f57" y="f244"/>
                    </a:lnTo>
                    <a:lnTo>
                      <a:pt x="f35" y="f379"/>
                    </a:lnTo>
                    <a:lnTo>
                      <a:pt x="f41" y="f223"/>
                    </a:lnTo>
                    <a:lnTo>
                      <a:pt x="f50" y="f380"/>
                    </a:lnTo>
                    <a:lnTo>
                      <a:pt x="f45" y="f321"/>
                    </a:lnTo>
                    <a:lnTo>
                      <a:pt x="f381" y="f221"/>
                    </a:lnTo>
                    <a:lnTo>
                      <a:pt x="f49" y="f320"/>
                    </a:lnTo>
                    <a:lnTo>
                      <a:pt x="f53" y="f316"/>
                    </a:lnTo>
                    <a:lnTo>
                      <a:pt x="f33" y="f382"/>
                    </a:lnTo>
                    <a:lnTo>
                      <a:pt x="f29" y="f332"/>
                    </a:lnTo>
                    <a:lnTo>
                      <a:pt x="f67" y="f215"/>
                    </a:lnTo>
                    <a:lnTo>
                      <a:pt x="f26" y="f383"/>
                    </a:lnTo>
                    <a:lnTo>
                      <a:pt x="f58" y="f158"/>
                    </a:lnTo>
                    <a:lnTo>
                      <a:pt x="f26" y="f384"/>
                    </a:lnTo>
                    <a:lnTo>
                      <a:pt x="f28" y="f165"/>
                    </a:lnTo>
                    <a:lnTo>
                      <a:pt x="f385" y="f167"/>
                    </a:lnTo>
                    <a:lnTo>
                      <a:pt x="f28" y="f207"/>
                    </a:lnTo>
                    <a:lnTo>
                      <a:pt x="f28" y="f386"/>
                    </a:lnTo>
                    <a:lnTo>
                      <a:pt x="f378" y="f387"/>
                    </a:lnTo>
                    <a:lnTo>
                      <a:pt x="f55" y="f388"/>
                    </a:lnTo>
                    <a:lnTo>
                      <a:pt x="f247" y="f305"/>
                    </a:lnTo>
                    <a:lnTo>
                      <a:pt x="f49" y="f189"/>
                    </a:lnTo>
                    <a:lnTo>
                      <a:pt x="f50" y="f191"/>
                    </a:lnTo>
                    <a:lnTo>
                      <a:pt x="f48" y="f177"/>
                    </a:lnTo>
                    <a:lnTo>
                      <a:pt x="f389" y="f390"/>
                    </a:lnTo>
                    <a:lnTo>
                      <a:pt x="f87" y="f391"/>
                    </a:lnTo>
                    <a:lnTo>
                      <a:pt x="f392" y="f303"/>
                    </a:lnTo>
                    <a:lnTo>
                      <a:pt x="f93" y="f303"/>
                    </a:lnTo>
                    <a:lnTo>
                      <a:pt x="f393" y="f394"/>
                    </a:lnTo>
                    <a:lnTo>
                      <a:pt x="f42" y="f395"/>
                    </a:lnTo>
                    <a:lnTo>
                      <a:pt x="f396" y="f130"/>
                    </a:lnTo>
                    <a:lnTo>
                      <a:pt x="f240" y="f397"/>
                    </a:lnTo>
                    <a:lnTo>
                      <a:pt x="f398" y="f397"/>
                    </a:lnTo>
                    <a:lnTo>
                      <a:pt x="f399" y="f128"/>
                    </a:lnTo>
                    <a:lnTo>
                      <a:pt x="f234" y="f126"/>
                    </a:lnTo>
                    <a:lnTo>
                      <a:pt x="f34" y="f400"/>
                    </a:lnTo>
                    <a:lnTo>
                      <a:pt x="f113" y="f401"/>
                    </a:lnTo>
                    <a:lnTo>
                      <a:pt x="f402" y="f403"/>
                    </a:lnTo>
                    <a:lnTo>
                      <a:pt x="f9" y="f404"/>
                    </a:lnTo>
                    <a:lnTo>
                      <a:pt x="f405" y="f120"/>
                    </a:lnTo>
                    <a:lnTo>
                      <a:pt x="f406" y="f407"/>
                    </a:lnTo>
                    <a:lnTo>
                      <a:pt x="f408" y="f409"/>
                    </a:lnTo>
                    <a:lnTo>
                      <a:pt x="f218" y="f404"/>
                    </a:lnTo>
                    <a:lnTo>
                      <a:pt x="f410" y="f122"/>
                    </a:lnTo>
                    <a:lnTo>
                      <a:pt x="f411" y="f403"/>
                    </a:lnTo>
                    <a:lnTo>
                      <a:pt x="f412" y="f122"/>
                    </a:lnTo>
                    <a:lnTo>
                      <a:pt x="f413" y="f120"/>
                    </a:lnTo>
                    <a:lnTo>
                      <a:pt x="f414" y="f415"/>
                    </a:lnTo>
                    <a:lnTo>
                      <a:pt x="f416" y="f356"/>
                    </a:lnTo>
                    <a:lnTo>
                      <a:pt x="f417" y="f418"/>
                    </a:lnTo>
                    <a:lnTo>
                      <a:pt x="f419" y="f420"/>
                    </a:lnTo>
                    <a:lnTo>
                      <a:pt x="f196" y="f420"/>
                    </a:lnTo>
                    <a:lnTo>
                      <a:pt x="f421" y="f418"/>
                    </a:lnTo>
                    <a:lnTo>
                      <a:pt x="f422" y="f423"/>
                    </a:lnTo>
                    <a:lnTo>
                      <a:pt x="f424" y="f425"/>
                    </a:lnTo>
                    <a:lnTo>
                      <a:pt x="f426" y="f427"/>
                    </a:lnTo>
                    <a:lnTo>
                      <a:pt x="f428" y="f429"/>
                    </a:lnTo>
                    <a:lnTo>
                      <a:pt x="f184" y="f80"/>
                    </a:lnTo>
                    <a:lnTo>
                      <a:pt x="f430" y="f431"/>
                    </a:lnTo>
                    <a:lnTo>
                      <a:pt x="f432" y="f102"/>
                    </a:lnTo>
                    <a:lnTo>
                      <a:pt x="f432" y="f277"/>
                    </a:lnTo>
                    <a:lnTo>
                      <a:pt x="f433" y="f273"/>
                    </a:lnTo>
                    <a:lnTo>
                      <a:pt x="f182" y="f272"/>
                    </a:lnTo>
                    <a:lnTo>
                      <a:pt x="f434" y="f435"/>
                    </a:lnTo>
                    <a:lnTo>
                      <a:pt x="f436" y="f115"/>
                    </a:lnTo>
                    <a:lnTo>
                      <a:pt x="f437" y="f8"/>
                    </a:lnTo>
                    <a:lnTo>
                      <a:pt x="f438" y="f270"/>
                    </a:lnTo>
                    <a:lnTo>
                      <a:pt x="f439" y="f12"/>
                    </a:lnTo>
                    <a:lnTo>
                      <a:pt x="f433" y="f66"/>
                    </a:lnTo>
                    <a:lnTo>
                      <a:pt x="f440" y="f20"/>
                    </a:lnTo>
                    <a:lnTo>
                      <a:pt x="f433" y="f441"/>
                    </a:lnTo>
                    <a:lnTo>
                      <a:pt x="f433" y="f56"/>
                    </a:lnTo>
                    <a:lnTo>
                      <a:pt x="f430" y="f442"/>
                    </a:lnTo>
                    <a:lnTo>
                      <a:pt x="f434" y="f33"/>
                    </a:lnTo>
                    <a:lnTo>
                      <a:pt x="f443" y="f37"/>
                    </a:lnTo>
                    <a:lnTo>
                      <a:pt x="f444" y="f47"/>
                    </a:lnTo>
                    <a:lnTo>
                      <a:pt x="f445" y="f446"/>
                    </a:lnTo>
                    <a:lnTo>
                      <a:pt x="f445" y="f44"/>
                    </a:lnTo>
                    <a:lnTo>
                      <a:pt x="f444" y="f93"/>
                    </a:lnTo>
                    <a:lnTo>
                      <a:pt x="f447" y="f393"/>
                    </a:lnTo>
                    <a:lnTo>
                      <a:pt x="f430" y="f448"/>
                    </a:lnTo>
                    <a:lnTo>
                      <a:pt x="f437" y="f241"/>
                    </a:lnTo>
                    <a:lnTo>
                      <a:pt x="f439" y="f97"/>
                    </a:lnTo>
                    <a:lnTo>
                      <a:pt x="f176" y="f449"/>
                    </a:lnTo>
                    <a:lnTo>
                      <a:pt x="f2" y="f450"/>
                    </a:lnTo>
                    <a:lnTo>
                      <a:pt x="f172" y="f93"/>
                    </a:lnTo>
                    <a:lnTo>
                      <a:pt x="f451" y="f95"/>
                    </a:lnTo>
                    <a:lnTo>
                      <a:pt x="f452" y="f449"/>
                    </a:lnTo>
                    <a:lnTo>
                      <a:pt x="f453" y="f241"/>
                    </a:lnTo>
                    <a:lnTo>
                      <a:pt x="f454" y="f455"/>
                    </a:lnTo>
                    <a:lnTo>
                      <a:pt x="f456" y="f100"/>
                    </a:lnTo>
                    <a:lnTo>
                      <a:pt x="f457" y="f458"/>
                    </a:lnTo>
                    <a:lnTo>
                      <a:pt x="f459" y="f235"/>
                    </a:lnTo>
                    <a:lnTo>
                      <a:pt x="f451" y="f36"/>
                    </a:lnTo>
                    <a:lnTo>
                      <a:pt x="f460" y="f231"/>
                    </a:lnTo>
                    <a:lnTo>
                      <a:pt x="f461" y="f462"/>
                    </a:lnTo>
                    <a:lnTo>
                      <a:pt x="f463" y="f30"/>
                    </a:lnTo>
                    <a:lnTo>
                      <a:pt x="f176" y="f23"/>
                    </a:lnTo>
                    <a:lnTo>
                      <a:pt x="f439" y="f27"/>
                    </a:lnTo>
                    <a:lnTo>
                      <a:pt x="f438" y="f15"/>
                    </a:lnTo>
                    <a:lnTo>
                      <a:pt x="f178" y="f116"/>
                    </a:lnTo>
                    <a:lnTo>
                      <a:pt x="f176" y="f464"/>
                    </a:lnTo>
                    <a:lnTo>
                      <a:pt x="f2" y="f465"/>
                    </a:lnTo>
                    <a:lnTo>
                      <a:pt x="f466" y="f410"/>
                    </a:lnTo>
                    <a:lnTo>
                      <a:pt x="f2" y="f216"/>
                    </a:lnTo>
                    <a:lnTo>
                      <a:pt x="f467" y="f412"/>
                    </a:lnTo>
                    <a:lnTo>
                      <a:pt x="f468" y="f214"/>
                    </a:lnTo>
                    <a:lnTo>
                      <a:pt x="f439" y="f469"/>
                    </a:lnTo>
                    <a:lnTo>
                      <a:pt x="f438" y="f470"/>
                    </a:lnTo>
                    <a:lnTo>
                      <a:pt x="f439" y="f471"/>
                    </a:lnTo>
                    <a:lnTo>
                      <a:pt x="f176" y="f472"/>
                    </a:lnTo>
                    <a:lnTo>
                      <a:pt x="f2" y="f473"/>
                    </a:lnTo>
                    <a:lnTo>
                      <a:pt x="f172" y="f202"/>
                    </a:lnTo>
                    <a:lnTo>
                      <a:pt x="f474" y="f202"/>
                    </a:lnTo>
                    <a:lnTo>
                      <a:pt x="f475" y="f476"/>
                    </a:lnTo>
                    <a:lnTo>
                      <a:pt x="f477" y="f478"/>
                    </a:lnTo>
                    <a:lnTo>
                      <a:pt x="f166" y="f421"/>
                    </a:lnTo>
                    <a:lnTo>
                      <a:pt x="f479" y="f421"/>
                    </a:lnTo>
                    <a:lnTo>
                      <a:pt x="f480" y="f481"/>
                    </a:lnTo>
                    <a:lnTo>
                      <a:pt x="f482" y="f481"/>
                    </a:lnTo>
                    <a:lnTo>
                      <a:pt x="f483" y="f193"/>
                    </a:lnTo>
                    <a:lnTo>
                      <a:pt x="f484" y="f485"/>
                    </a:lnTo>
                    <a:lnTo>
                      <a:pt x="f486" y="f487"/>
                    </a:lnTo>
                    <a:lnTo>
                      <a:pt x="f488" y="f422"/>
                    </a:lnTo>
                    <a:lnTo>
                      <a:pt x="f489" y="f490"/>
                    </a:lnTo>
                    <a:lnTo>
                      <a:pt x="f489" y="f491"/>
                    </a:lnTo>
                    <a:lnTo>
                      <a:pt x="f492" y="f188"/>
                    </a:lnTo>
                    <a:lnTo>
                      <a:pt x="f493" y="f494"/>
                    </a:lnTo>
                    <a:lnTo>
                      <a:pt x="f495" y="f496"/>
                    </a:lnTo>
                    <a:lnTo>
                      <a:pt x="f497" y="f186"/>
                    </a:lnTo>
                    <a:lnTo>
                      <a:pt x="f497" y="f498"/>
                    </a:lnTo>
                    <a:lnTo>
                      <a:pt x="f499" y="f445"/>
                    </a:lnTo>
                    <a:lnTo>
                      <a:pt x="f500" y="f445"/>
                    </a:lnTo>
                    <a:lnTo>
                      <a:pt x="f131" y="f501"/>
                    </a:lnTo>
                    <a:lnTo>
                      <a:pt x="f502" y="f444"/>
                    </a:lnTo>
                    <a:lnTo>
                      <a:pt x="f503" y="f443"/>
                    </a:lnTo>
                    <a:lnTo>
                      <a:pt x="f504" y="f182"/>
                    </a:lnTo>
                    <a:lnTo>
                      <a:pt x="f142" y="f433"/>
                    </a:lnTo>
                    <a:lnTo>
                      <a:pt x="f148" y="f439"/>
                    </a:lnTo>
                    <a:lnTo>
                      <a:pt x="f150" y="f176"/>
                    </a:lnTo>
                    <a:lnTo>
                      <a:pt x="f150" y="f505"/>
                    </a:lnTo>
                    <a:lnTo>
                      <a:pt x="f506" y="f505"/>
                    </a:lnTo>
                    <a:lnTo>
                      <a:pt x="f507" y="f508"/>
                    </a:lnTo>
                    <a:lnTo>
                      <a:pt x="f509" y="f508"/>
                    </a:lnTo>
                    <a:lnTo>
                      <a:pt x="f152" y="f510"/>
                    </a:lnTo>
                    <a:lnTo>
                      <a:pt x="f511" y="f451"/>
                    </a:lnTo>
                    <a:lnTo>
                      <a:pt x="f511" y="f452"/>
                    </a:lnTo>
                    <a:lnTo>
                      <a:pt x="f512" y="f453"/>
                    </a:lnTo>
                    <a:lnTo>
                      <a:pt x="f127" y="f456"/>
                    </a:lnTo>
                    <a:lnTo>
                      <a:pt x="f513" y="f456"/>
                    </a:lnTo>
                    <a:lnTo>
                      <a:pt x="f150" y="f475"/>
                    </a:lnTo>
                    <a:lnTo>
                      <a:pt x="f514" y="f515"/>
                    </a:lnTo>
                    <a:lnTo>
                      <a:pt x="f516" y="f517"/>
                    </a:lnTo>
                    <a:lnTo>
                      <a:pt x="f125" y="f518"/>
                    </a:lnTo>
                    <a:lnTo>
                      <a:pt x="f519" y="f479"/>
                    </a:lnTo>
                    <a:lnTo>
                      <a:pt x="f520" y="f521"/>
                    </a:lnTo>
                    <a:lnTo>
                      <a:pt x="f5" y="f522"/>
                    </a:lnTo>
                    <a:lnTo>
                      <a:pt x="f523" y="f524"/>
                    </a:lnTo>
                    <a:lnTo>
                      <a:pt x="f123" y="f525"/>
                    </a:lnTo>
                    <a:lnTo>
                      <a:pt x="f526" y="f527"/>
                    </a:lnTo>
                    <a:lnTo>
                      <a:pt x="f528" y="f486"/>
                    </a:lnTo>
                    <a:lnTo>
                      <a:pt x="f146" y="f529"/>
                    </a:lnTo>
                    <a:lnTo>
                      <a:pt x="f507" y="f530"/>
                    </a:lnTo>
                    <a:lnTo>
                      <a:pt x="f511" y="f531"/>
                    </a:lnTo>
                    <a:lnTo>
                      <a:pt x="f532" y="f533"/>
                    </a:lnTo>
                    <a:lnTo>
                      <a:pt x="f495" y="f534"/>
                    </a:lnTo>
                    <a:lnTo>
                      <a:pt x="f157" y="f155"/>
                    </a:lnTo>
                    <a:lnTo>
                      <a:pt x="f493" y="f135"/>
                    </a:lnTo>
                    <a:lnTo>
                      <a:pt x="f493" y="f535"/>
                    </a:lnTo>
                    <a:lnTo>
                      <a:pt x="f157" y="f157"/>
                    </a:lnTo>
                    <a:lnTo>
                      <a:pt x="f157" y="f489"/>
                    </a:lnTo>
                    <a:lnTo>
                      <a:pt x="f536" y="f531"/>
                    </a:lnTo>
                    <a:lnTo>
                      <a:pt x="f537" y="f538"/>
                    </a:lnTo>
                    <a:lnTo>
                      <a:pt x="f539" y="f540"/>
                    </a:lnTo>
                    <a:lnTo>
                      <a:pt x="f529" y="f537"/>
                    </a:lnTo>
                    <a:lnTo>
                      <a:pt x="f541" y="f542"/>
                    </a:lnTo>
                    <a:lnTo>
                      <a:pt x="f543" y="f536"/>
                    </a:lnTo>
                    <a:lnTo>
                      <a:pt x="f483" y="f544"/>
                    </a:lnTo>
                    <a:lnTo>
                      <a:pt x="f545" y="f534"/>
                    </a:lnTo>
                    <a:lnTo>
                      <a:pt x="f546" y="f547"/>
                    </a:lnTo>
                    <a:lnTo>
                      <a:pt x="f548" y="f549"/>
                    </a:lnTo>
                    <a:lnTo>
                      <a:pt x="f480" y="f511"/>
                    </a:lnTo>
                    <a:lnTo>
                      <a:pt x="f550" y="f551"/>
                    </a:lnTo>
                    <a:lnTo>
                      <a:pt x="f518" y="f551"/>
                    </a:lnTo>
                    <a:lnTo>
                      <a:pt x="f552" y="f152"/>
                    </a:lnTo>
                    <a:lnTo>
                      <a:pt x="f553" y="f554"/>
                    </a:lnTo>
                    <a:lnTo>
                      <a:pt x="f555" y="f129"/>
                    </a:lnTo>
                    <a:lnTo>
                      <a:pt x="f556" y="f511"/>
                    </a:lnTo>
                    <a:lnTo>
                      <a:pt x="f459" y="f509"/>
                    </a:lnTo>
                    <a:lnTo>
                      <a:pt x="f460" y="f507"/>
                    </a:lnTo>
                    <a:lnTo>
                      <a:pt x="f463" y="f509"/>
                    </a:lnTo>
                    <a:lnTo>
                      <a:pt x="f176" y="f504"/>
                    </a:lnTo>
                    <a:lnTo>
                      <a:pt x="f433" y="f140"/>
                    </a:lnTo>
                    <a:lnTo>
                      <a:pt x="f557" y="f131"/>
                    </a:lnTo>
                    <a:lnTo>
                      <a:pt x="f494" y="f155"/>
                    </a:lnTo>
                    <a:lnTo>
                      <a:pt x="f558" y="f535"/>
                    </a:lnTo>
                    <a:lnTo>
                      <a:pt x="f559" y="f560"/>
                    </a:lnTo>
                    <a:lnTo>
                      <a:pt x="f190" y="f561"/>
                    </a:lnTo>
                    <a:lnTo>
                      <a:pt x="f562" y="f563"/>
                    </a:lnTo>
                    <a:lnTo>
                      <a:pt x="f564" y="f537"/>
                    </a:lnTo>
                    <a:lnTo>
                      <a:pt x="f485" y="f563"/>
                    </a:lnTo>
                    <a:lnTo>
                      <a:pt x="f198" y="f561"/>
                    </a:lnTo>
                    <a:lnTo>
                      <a:pt x="f204" y="f493"/>
                    </a:lnTo>
                    <a:lnTo>
                      <a:pt x="f472" y="f536"/>
                    </a:lnTo>
                    <a:lnTo>
                      <a:pt x="f416" y="f542"/>
                    </a:lnTo>
                    <a:lnTo>
                      <a:pt x="f471" y="f492"/>
                    </a:lnTo>
                    <a:lnTo>
                      <a:pt x="f470" y="f533"/>
                    </a:lnTo>
                    <a:lnTo>
                      <a:pt x="f214" y="f489"/>
                    </a:lnTo>
                    <a:lnTo>
                      <a:pt x="f565" y="f531"/>
                    </a:lnTo>
                    <a:lnTo>
                      <a:pt x="f566" y="f567"/>
                    </a:lnTo>
                    <a:lnTo>
                      <a:pt x="f218" y="f530"/>
                    </a:lnTo>
                    <a:lnTo>
                      <a:pt x="f465" y="f530"/>
                    </a:lnTo>
                    <a:lnTo>
                      <a:pt x="f568" y="f569"/>
                    </a:lnTo>
                    <a:lnTo>
                      <a:pt x="f405" y="f570"/>
                    </a:lnTo>
                    <a:lnTo>
                      <a:pt x="f405" y="f486"/>
                    </a:lnTo>
                    <a:lnTo>
                      <a:pt x="f220" y="f571"/>
                    </a:lnTo>
                    <a:lnTo>
                      <a:pt x="f220" y="f572"/>
                    </a:lnTo>
                    <a:lnTo>
                      <a:pt x="f573" y="f574"/>
                    </a:lnTo>
                    <a:lnTo>
                      <a:pt x="f231" y="f574"/>
                    </a:lnTo>
                    <a:lnTo>
                      <a:pt x="f36" y="f543"/>
                    </a:lnTo>
                    <a:lnTo>
                      <a:pt x="f38" y="f575"/>
                    </a:lnTo>
                    <a:lnTo>
                      <a:pt x="f576" y="f525"/>
                    </a:lnTo>
                    <a:lnTo>
                      <a:pt x="f576" y="f577"/>
                    </a:lnTo>
                    <a:lnTo>
                      <a:pt x="f38" y="f483"/>
                    </a:lnTo>
                    <a:lnTo>
                      <a:pt x="f38" y="f578"/>
                    </a:lnTo>
                    <a:lnTo>
                      <a:pt x="f576" y="f579"/>
                    </a:lnTo>
                    <a:lnTo>
                      <a:pt x="f576" y="f524"/>
                    </a:lnTo>
                    <a:lnTo>
                      <a:pt x="f399" y="f524"/>
                    </a:lnTo>
                    <a:lnTo>
                      <a:pt x="f580" y="f579"/>
                    </a:lnTo>
                    <a:lnTo>
                      <a:pt x="f40" y="f578"/>
                    </a:lnTo>
                    <a:lnTo>
                      <a:pt x="f581" y="f582"/>
                    </a:lnTo>
                    <a:lnTo>
                      <a:pt x="f241" y="f484"/>
                    </a:lnTo>
                    <a:lnTo>
                      <a:pt x="f95" y="f571"/>
                    </a:lnTo>
                    <a:lnTo>
                      <a:pt x="f583" y="f569"/>
                    </a:lnTo>
                    <a:lnTo>
                      <a:pt x="f446" y="f531"/>
                    </a:lnTo>
                    <a:lnTo>
                      <a:pt x="f446" y="f584"/>
                    </a:lnTo>
                    <a:lnTo>
                      <a:pt x="f585" y="f489"/>
                    </a:lnTo>
                    <a:lnTo>
                      <a:pt x="f585" y="f533"/>
                    </a:lnTo>
                    <a:lnTo>
                      <a:pt x="f389" y="f537"/>
                    </a:lnTo>
                    <a:lnTo>
                      <a:pt x="f45" y="f537"/>
                    </a:lnTo>
                    <a:lnTo>
                      <a:pt x="f49" y="f492"/>
                    </a:lnTo>
                    <a:lnTo>
                      <a:pt x="f53" y="f586"/>
                    </a:lnTo>
                    <a:lnTo>
                      <a:pt x="f35" y="f159"/>
                    </a:lnTo>
                    <a:lnTo>
                      <a:pt x="f247" y="f489"/>
                    </a:lnTo>
                    <a:lnTo>
                      <a:pt x="f51" y="f584"/>
                    </a:lnTo>
                    <a:lnTo>
                      <a:pt x="f51" y="f540"/>
                    </a:lnTo>
                    <a:lnTo>
                      <a:pt x="f59" y="f538"/>
                    </a:lnTo>
                    <a:lnTo>
                      <a:pt x="f33" y="f488"/>
                    </a:lnTo>
                    <a:lnTo>
                      <a:pt x="f57" y="f488"/>
                    </a:lnTo>
                    <a:lnTo>
                      <a:pt x="f55" y="f540"/>
                    </a:lnTo>
                    <a:lnTo>
                      <a:pt x="f378" y="f586"/>
                    </a:lnTo>
                    <a:lnTo>
                      <a:pt x="f67" y="f561"/>
                    </a:lnTo>
                    <a:lnTo>
                      <a:pt x="f377" y="f544"/>
                    </a:lnTo>
                    <a:lnTo>
                      <a:pt x="f58" y="f535"/>
                    </a:lnTo>
                    <a:lnTo>
                      <a:pt x="f60" y="f587"/>
                    </a:lnTo>
                    <a:lnTo>
                      <a:pt x="f588" y="f587"/>
                    </a:lnTo>
                    <a:lnTo>
                      <a:pt x="f589" y="f535"/>
                    </a:lnTo>
                    <a:lnTo>
                      <a:pt x="f20" y="f497"/>
                    </a:lnTo>
                    <a:lnTo>
                      <a:pt x="f590" y="f560"/>
                    </a:lnTo>
                    <a:lnTo>
                      <a:pt x="f590" y="f493"/>
                    </a:lnTo>
                    <a:lnTo>
                      <a:pt x="f64" y="f542"/>
                    </a:lnTo>
                    <a:lnTo>
                      <a:pt x="f64" y="f537"/>
                    </a:lnTo>
                    <a:lnTo>
                      <a:pt x="f591" y="f159"/>
                    </a:lnTo>
                    <a:lnTo>
                      <a:pt x="f255" y="f489"/>
                    </a:lnTo>
                    <a:lnTo>
                      <a:pt x="f592" y="f489"/>
                    </a:lnTo>
                    <a:lnTo>
                      <a:pt x="f367" y="f563"/>
                    </a:lnTo>
                    <a:lnTo>
                      <a:pt x="f367" y="f560"/>
                    </a:lnTo>
                    <a:lnTo>
                      <a:pt x="f593" y="f499"/>
                    </a:lnTo>
                    <a:lnTo>
                      <a:pt x="f594" y="f595"/>
                    </a:lnTo>
                    <a:lnTo>
                      <a:pt x="f14" y="f131"/>
                    </a:lnTo>
                    <a:lnTo>
                      <a:pt x="f270" y="f502"/>
                    </a:lnTo>
                    <a:lnTo>
                      <a:pt x="f71" y="f503"/>
                    </a:lnTo>
                    <a:lnTo>
                      <a:pt x="f8" y="f511"/>
                    </a:lnTo>
                    <a:lnTo>
                      <a:pt x="f365" y="f551"/>
                    </a:lnTo>
                    <a:lnTo>
                      <a:pt x="f117" y="f596"/>
                    </a:lnTo>
                    <a:lnTo>
                      <a:pt x="f112" y="f597"/>
                    </a:lnTo>
                    <a:lnTo>
                      <a:pt x="f108" y="f598"/>
                    </a:lnTo>
                    <a:lnTo>
                      <a:pt x="f106" y="f599"/>
                    </a:lnTo>
                    <a:lnTo>
                      <a:pt x="f600" y="f601"/>
                    </a:lnTo>
                    <a:lnTo>
                      <a:pt x="f602" y="f601"/>
                    </a:lnTo>
                    <a:lnTo>
                      <a:pt x="f78" y="f526"/>
                    </a:lnTo>
                    <a:lnTo>
                      <a:pt x="f84" y="f526"/>
                    </a:lnTo>
                    <a:lnTo>
                      <a:pt x="f603" y="f601"/>
                    </a:lnTo>
                    <a:lnTo>
                      <a:pt x="f291" y="f604"/>
                    </a:lnTo>
                    <a:lnTo>
                      <a:pt x="f605" y="f606"/>
                    </a:lnTo>
                    <a:lnTo>
                      <a:pt x="f607" y="f520"/>
                    </a:lnTo>
                    <a:lnTo>
                      <a:pt x="f608" y="f523"/>
                    </a:lnTo>
                    <a:lnTo>
                      <a:pt x="f119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88CCB38D-0C39-4BE1-BC24-7F5EAA5C91F1}"/>
                  </a:ext>
                </a:extLst>
              </p:cNvPr>
              <p:cNvSpPr/>
              <p:nvPr/>
            </p:nvSpPr>
            <p:spPr>
              <a:xfrm rot="21447621">
                <a:off x="5194304" y="1469943"/>
                <a:ext cx="91915" cy="6936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62"/>
                  <a:gd name="f7" fmla="val 129"/>
                  <a:gd name="f8" fmla="val 90"/>
                  <a:gd name="f9" fmla="val 92"/>
                  <a:gd name="f10" fmla="val 1"/>
                  <a:gd name="f11" fmla="val 93"/>
                  <a:gd name="f12" fmla="val 3"/>
                  <a:gd name="f13" fmla="val 94"/>
                  <a:gd name="f14" fmla="val 9"/>
                  <a:gd name="f15" fmla="val 95"/>
                  <a:gd name="f16" fmla="val 23"/>
                  <a:gd name="f17" fmla="val 97"/>
                  <a:gd name="f18" fmla="val 29"/>
                  <a:gd name="f19" fmla="val 101"/>
                  <a:gd name="f20" fmla="val 32"/>
                  <a:gd name="f21" fmla="val 108"/>
                  <a:gd name="f22" fmla="val 36"/>
                  <a:gd name="f23" fmla="val 116"/>
                  <a:gd name="f24" fmla="val 44"/>
                  <a:gd name="f25" fmla="val 124"/>
                  <a:gd name="f26" fmla="val 51"/>
                  <a:gd name="f27" fmla="val 130"/>
                  <a:gd name="f28" fmla="val 56"/>
                  <a:gd name="f29" fmla="val 132"/>
                  <a:gd name="f30" fmla="val 59"/>
                  <a:gd name="f31" fmla="val 63"/>
                  <a:gd name="f32" fmla="val 67"/>
                  <a:gd name="f33" fmla="val 128"/>
                  <a:gd name="f34" fmla="val 72"/>
                  <a:gd name="f35" fmla="val 75"/>
                  <a:gd name="f36" fmla="val 76"/>
                  <a:gd name="f37" fmla="val 136"/>
                  <a:gd name="f38" fmla="val 77"/>
                  <a:gd name="f39" fmla="val 143"/>
                  <a:gd name="f40" fmla="val 78"/>
                  <a:gd name="f41" fmla="val 151"/>
                  <a:gd name="f42" fmla="val 80"/>
                  <a:gd name="f43" fmla="val 158"/>
                  <a:gd name="f44" fmla="val 83"/>
                  <a:gd name="f45" fmla="val 86"/>
                  <a:gd name="f46" fmla="val 89"/>
                  <a:gd name="f47" fmla="val 154"/>
                  <a:gd name="f48" fmla="val 153"/>
                  <a:gd name="f49" fmla="val 109"/>
                  <a:gd name="f50" fmla="val 115"/>
                  <a:gd name="f51" fmla="val 121"/>
                  <a:gd name="f52" fmla="val 148"/>
                  <a:gd name="f53" fmla="val 126"/>
                  <a:gd name="f54" fmla="val 145"/>
                  <a:gd name="f55" fmla="val 140"/>
                  <a:gd name="f56" fmla="val 133"/>
                  <a:gd name="f57" fmla="val 125"/>
                  <a:gd name="f58" fmla="val 107"/>
                  <a:gd name="f59" fmla="val 111"/>
                  <a:gd name="f60" fmla="val 102"/>
                  <a:gd name="f61" fmla="val 110"/>
                  <a:gd name="f62" fmla="val 98"/>
                  <a:gd name="f63" fmla="val 85"/>
                  <a:gd name="f64" fmla="val 84"/>
                  <a:gd name="f65" fmla="val 119"/>
                  <a:gd name="f66" fmla="val 81"/>
                  <a:gd name="f67" fmla="val 60"/>
                  <a:gd name="f68" fmla="val 120"/>
                  <a:gd name="f69" fmla="val 50"/>
                  <a:gd name="f70" fmla="val 114"/>
                  <a:gd name="f71" fmla="val 39"/>
                  <a:gd name="f72" fmla="val 35"/>
                  <a:gd name="f73" fmla="val 31"/>
                  <a:gd name="f74" fmla="val 24"/>
                  <a:gd name="f75" fmla="val 112"/>
                  <a:gd name="f76" fmla="val 17"/>
                  <a:gd name="f77" fmla="val 10"/>
                  <a:gd name="f78" fmla="val 5"/>
                  <a:gd name="f79" fmla="val 113"/>
                  <a:gd name="f80" fmla="val 106"/>
                  <a:gd name="f81" fmla="val 6"/>
                  <a:gd name="f82" fmla="val 70"/>
                  <a:gd name="f83" fmla="val 8"/>
                  <a:gd name="f84" fmla="val 42"/>
                  <a:gd name="f85" fmla="val 12"/>
                  <a:gd name="f86" fmla="val 38"/>
                  <a:gd name="f87" fmla="val 33"/>
                  <a:gd name="f88" fmla="val 20"/>
                  <a:gd name="f89" fmla="val 28"/>
                  <a:gd name="f90" fmla="val 22"/>
                  <a:gd name="f91" fmla="val 18"/>
                  <a:gd name="f92" fmla="val 34"/>
                  <a:gd name="f93" fmla="val 16"/>
                  <a:gd name="f94" fmla="val 41"/>
                  <a:gd name="f95" fmla="val 49"/>
                  <a:gd name="f96" fmla="val 19"/>
                  <a:gd name="f97" fmla="val 57"/>
                  <a:gd name="f98" fmla="val 66"/>
                  <a:gd name="f99" fmla="val 74"/>
                  <a:gd name="f100" fmla="val 15"/>
                  <a:gd name="f101" fmla="val 82"/>
                  <a:gd name="f102" fmla="val 7"/>
                  <a:gd name="f103" fmla="+- 0 0 -90"/>
                  <a:gd name="f104" fmla="*/ f3 1 162"/>
                  <a:gd name="f105" fmla="*/ f4 1 129"/>
                  <a:gd name="f106" fmla="+- f7 0 f5"/>
                  <a:gd name="f107" fmla="+- f6 0 f5"/>
                  <a:gd name="f108" fmla="*/ f103 f0 1"/>
                  <a:gd name="f109" fmla="*/ f107 1 162"/>
                  <a:gd name="f110" fmla="*/ f106 1 129"/>
                  <a:gd name="f111" fmla="*/ f108 1 f2"/>
                  <a:gd name="f112" fmla="*/ 92 1 f109"/>
                  <a:gd name="f113" fmla="*/ 1 1 f110"/>
                  <a:gd name="f114" fmla="*/ 94 1 f109"/>
                  <a:gd name="f115" fmla="*/ 9 1 f110"/>
                  <a:gd name="f116" fmla="*/ 97 1 f109"/>
                  <a:gd name="f117" fmla="*/ 29 1 f110"/>
                  <a:gd name="f118" fmla="*/ 108 1 f109"/>
                  <a:gd name="f119" fmla="*/ 36 1 f110"/>
                  <a:gd name="f120" fmla="*/ 124 1 f109"/>
                  <a:gd name="f121" fmla="*/ 51 1 f110"/>
                  <a:gd name="f122" fmla="*/ 132 1 f109"/>
                  <a:gd name="f123" fmla="*/ 59 1 f110"/>
                  <a:gd name="f124" fmla="*/ 130 1 f109"/>
                  <a:gd name="f125" fmla="*/ 67 1 f110"/>
                  <a:gd name="f126" fmla="*/ 128 1 f109"/>
                  <a:gd name="f127" fmla="*/ 75 1 f110"/>
                  <a:gd name="f128" fmla="*/ 136 1 f109"/>
                  <a:gd name="f129" fmla="*/ 77 1 f110"/>
                  <a:gd name="f130" fmla="*/ 151 1 f109"/>
                  <a:gd name="f131" fmla="*/ 80 1 f110"/>
                  <a:gd name="f132" fmla="*/ 162 1 f109"/>
                  <a:gd name="f133" fmla="*/ 86 1 f110"/>
                  <a:gd name="f134" fmla="*/ 158 1 f109"/>
                  <a:gd name="f135" fmla="*/ 94 1 f110"/>
                  <a:gd name="f136" fmla="*/ 153 1 f109"/>
                  <a:gd name="f137" fmla="*/ 109 1 f110"/>
                  <a:gd name="f138" fmla="*/ 121 1 f110"/>
                  <a:gd name="f139" fmla="*/ 145 1 f109"/>
                  <a:gd name="f140" fmla="*/ 129 1 f110"/>
                  <a:gd name="f141" fmla="*/ 133 1 f109"/>
                  <a:gd name="f142" fmla="*/ 125 1 f110"/>
                  <a:gd name="f143" fmla="*/ 107 1 f109"/>
                  <a:gd name="f144" fmla="*/ 111 1 f110"/>
                  <a:gd name="f145" fmla="*/ 98 1 f109"/>
                  <a:gd name="f146" fmla="*/ 110 1 f110"/>
                  <a:gd name="f147" fmla="*/ 89 1 f109"/>
                  <a:gd name="f148" fmla="*/ 107 1 f110"/>
                  <a:gd name="f149" fmla="*/ 84 1 f109"/>
                  <a:gd name="f150" fmla="*/ 108 1 f110"/>
                  <a:gd name="f151" fmla="*/ 83 1 f109"/>
                  <a:gd name="f152" fmla="*/ 81 1 f109"/>
                  <a:gd name="f153" fmla="*/ 60 1 f109"/>
                  <a:gd name="f154" fmla="*/ 120 1 f110"/>
                  <a:gd name="f155" fmla="*/ 44 1 f109"/>
                  <a:gd name="f156" fmla="*/ 35 1 f109"/>
                  <a:gd name="f157" fmla="*/ 24 1 f109"/>
                  <a:gd name="f158" fmla="*/ 112 1 f110"/>
                  <a:gd name="f159" fmla="*/ 10 1 f109"/>
                  <a:gd name="f160" fmla="*/ 115 1 f110"/>
                  <a:gd name="f161" fmla="*/ 1 1 f109"/>
                  <a:gd name="f162" fmla="*/ 106 1 f110"/>
                  <a:gd name="f163" fmla="*/ 0 1 f109"/>
                  <a:gd name="f164" fmla="*/ 89 1 f110"/>
                  <a:gd name="f165" fmla="*/ 5 1 f109"/>
                  <a:gd name="f166" fmla="*/ 78 1 f110"/>
                  <a:gd name="f167" fmla="*/ 8 1 f109"/>
                  <a:gd name="f168" fmla="*/ 50 1 f110"/>
                  <a:gd name="f169" fmla="*/ 12 1 f109"/>
                  <a:gd name="f170" fmla="*/ 38 1 f110"/>
                  <a:gd name="f171" fmla="*/ 20 1 f109"/>
                  <a:gd name="f172" fmla="*/ 28 1 f110"/>
                  <a:gd name="f173" fmla="*/ 28 1 f109"/>
                  <a:gd name="f174" fmla="*/ 18 1 f110"/>
                  <a:gd name="f175" fmla="*/ 41 1 f109"/>
                  <a:gd name="f176" fmla="*/ 17 1 f110"/>
                  <a:gd name="f177" fmla="*/ 57 1 f109"/>
                  <a:gd name="f178" fmla="*/ 20 1 f110"/>
                  <a:gd name="f179" fmla="*/ 74 1 f109"/>
                  <a:gd name="f180" fmla="*/ 15 1 f110"/>
                  <a:gd name="f181" fmla="*/ 82 1 f109"/>
                  <a:gd name="f182" fmla="*/ 7 1 f110"/>
                  <a:gd name="f183" fmla="*/ 90 1 f109"/>
                  <a:gd name="f184" fmla="*/ 0 1 f110"/>
                  <a:gd name="f185" fmla="*/ f6 1 f109"/>
                  <a:gd name="f186" fmla="*/ f7 1 f110"/>
                  <a:gd name="f187" fmla="+- f111 0 f1"/>
                  <a:gd name="f188" fmla="*/ f163 f104 1"/>
                  <a:gd name="f189" fmla="*/ f185 f104 1"/>
                  <a:gd name="f190" fmla="*/ f186 f105 1"/>
                  <a:gd name="f191" fmla="*/ f184 f105 1"/>
                  <a:gd name="f192" fmla="*/ f112 f104 1"/>
                  <a:gd name="f193" fmla="*/ f113 f105 1"/>
                  <a:gd name="f194" fmla="*/ f114 f104 1"/>
                  <a:gd name="f195" fmla="*/ f115 f105 1"/>
                  <a:gd name="f196" fmla="*/ f116 f104 1"/>
                  <a:gd name="f197" fmla="*/ f117 f105 1"/>
                  <a:gd name="f198" fmla="*/ f118 f104 1"/>
                  <a:gd name="f199" fmla="*/ f119 f105 1"/>
                  <a:gd name="f200" fmla="*/ f120 f104 1"/>
                  <a:gd name="f201" fmla="*/ f121 f105 1"/>
                  <a:gd name="f202" fmla="*/ f122 f104 1"/>
                  <a:gd name="f203" fmla="*/ f123 f105 1"/>
                  <a:gd name="f204" fmla="*/ f124 f104 1"/>
                  <a:gd name="f205" fmla="*/ f125 f105 1"/>
                  <a:gd name="f206" fmla="*/ f126 f104 1"/>
                  <a:gd name="f207" fmla="*/ f127 f105 1"/>
                  <a:gd name="f208" fmla="*/ f128 f104 1"/>
                  <a:gd name="f209" fmla="*/ f129 f105 1"/>
                  <a:gd name="f210" fmla="*/ f130 f104 1"/>
                  <a:gd name="f211" fmla="*/ f131 f105 1"/>
                  <a:gd name="f212" fmla="*/ f132 f104 1"/>
                  <a:gd name="f213" fmla="*/ f133 f105 1"/>
                  <a:gd name="f214" fmla="*/ f134 f104 1"/>
                  <a:gd name="f215" fmla="*/ f135 f105 1"/>
                  <a:gd name="f216" fmla="*/ f136 f104 1"/>
                  <a:gd name="f217" fmla="*/ f137 f105 1"/>
                  <a:gd name="f218" fmla="*/ f138 f105 1"/>
                  <a:gd name="f219" fmla="*/ f139 f104 1"/>
                  <a:gd name="f220" fmla="*/ f140 f105 1"/>
                  <a:gd name="f221" fmla="*/ f141 f104 1"/>
                  <a:gd name="f222" fmla="*/ f142 f105 1"/>
                  <a:gd name="f223" fmla="*/ f143 f104 1"/>
                  <a:gd name="f224" fmla="*/ f144 f105 1"/>
                  <a:gd name="f225" fmla="*/ f145 f104 1"/>
                  <a:gd name="f226" fmla="*/ f146 f105 1"/>
                  <a:gd name="f227" fmla="*/ f147 f104 1"/>
                  <a:gd name="f228" fmla="*/ f148 f105 1"/>
                  <a:gd name="f229" fmla="*/ f149 f104 1"/>
                  <a:gd name="f230" fmla="*/ f150 f105 1"/>
                  <a:gd name="f231" fmla="*/ f151 f104 1"/>
                  <a:gd name="f232" fmla="*/ f152 f104 1"/>
                  <a:gd name="f233" fmla="*/ f153 f104 1"/>
                  <a:gd name="f234" fmla="*/ f154 f105 1"/>
                  <a:gd name="f235" fmla="*/ f155 f104 1"/>
                  <a:gd name="f236" fmla="*/ f156 f104 1"/>
                  <a:gd name="f237" fmla="*/ f157 f104 1"/>
                  <a:gd name="f238" fmla="*/ f158 f105 1"/>
                  <a:gd name="f239" fmla="*/ f159 f104 1"/>
                  <a:gd name="f240" fmla="*/ f160 f105 1"/>
                  <a:gd name="f241" fmla="*/ f161 f104 1"/>
                  <a:gd name="f242" fmla="*/ f162 f105 1"/>
                  <a:gd name="f243" fmla="*/ f164 f105 1"/>
                  <a:gd name="f244" fmla="*/ f165 f104 1"/>
                  <a:gd name="f245" fmla="*/ f166 f105 1"/>
                  <a:gd name="f246" fmla="*/ f167 f104 1"/>
                  <a:gd name="f247" fmla="*/ f168 f105 1"/>
                  <a:gd name="f248" fmla="*/ f169 f104 1"/>
                  <a:gd name="f249" fmla="*/ f170 f105 1"/>
                  <a:gd name="f250" fmla="*/ f171 f104 1"/>
                  <a:gd name="f251" fmla="*/ f172 f105 1"/>
                  <a:gd name="f252" fmla="*/ f173 f104 1"/>
                  <a:gd name="f253" fmla="*/ f174 f105 1"/>
                  <a:gd name="f254" fmla="*/ f175 f104 1"/>
                  <a:gd name="f255" fmla="*/ f176 f105 1"/>
                  <a:gd name="f256" fmla="*/ f177 f104 1"/>
                  <a:gd name="f257" fmla="*/ f178 f105 1"/>
                  <a:gd name="f258" fmla="*/ f179 f104 1"/>
                  <a:gd name="f259" fmla="*/ f180 f105 1"/>
                  <a:gd name="f260" fmla="*/ f181 f104 1"/>
                  <a:gd name="f261" fmla="*/ f182 f105 1"/>
                  <a:gd name="f262" fmla="*/ f183 f10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87">
                    <a:pos x="f192" y="f193"/>
                  </a:cxn>
                  <a:cxn ang="f187">
                    <a:pos x="f194" y="f195"/>
                  </a:cxn>
                  <a:cxn ang="f187">
                    <a:pos x="f196" y="f197"/>
                  </a:cxn>
                  <a:cxn ang="f187">
                    <a:pos x="f198" y="f199"/>
                  </a:cxn>
                  <a:cxn ang="f187">
                    <a:pos x="f200" y="f201"/>
                  </a:cxn>
                  <a:cxn ang="f187">
                    <a:pos x="f202" y="f203"/>
                  </a:cxn>
                  <a:cxn ang="f187">
                    <a:pos x="f204" y="f205"/>
                  </a:cxn>
                  <a:cxn ang="f187">
                    <a:pos x="f206" y="f207"/>
                  </a:cxn>
                  <a:cxn ang="f187">
                    <a:pos x="f208" y="f209"/>
                  </a:cxn>
                  <a:cxn ang="f187">
                    <a:pos x="f210" y="f211"/>
                  </a:cxn>
                  <a:cxn ang="f187">
                    <a:pos x="f212" y="f213"/>
                  </a:cxn>
                  <a:cxn ang="f187">
                    <a:pos x="f214" y="f215"/>
                  </a:cxn>
                  <a:cxn ang="f187">
                    <a:pos x="f216" y="f217"/>
                  </a:cxn>
                  <a:cxn ang="f187">
                    <a:pos x="f210" y="f218"/>
                  </a:cxn>
                  <a:cxn ang="f187">
                    <a:pos x="f219" y="f220"/>
                  </a:cxn>
                  <a:cxn ang="f187">
                    <a:pos x="f221" y="f222"/>
                  </a:cxn>
                  <a:cxn ang="f187">
                    <a:pos x="f223" y="f224"/>
                  </a:cxn>
                  <a:cxn ang="f187">
                    <a:pos x="f225" y="f226"/>
                  </a:cxn>
                  <a:cxn ang="f187">
                    <a:pos x="f227" y="f228"/>
                  </a:cxn>
                  <a:cxn ang="f187">
                    <a:pos x="f229" y="f230"/>
                  </a:cxn>
                  <a:cxn ang="f187">
                    <a:pos x="f231" y="f224"/>
                  </a:cxn>
                  <a:cxn ang="f187">
                    <a:pos x="f232" y="f218"/>
                  </a:cxn>
                  <a:cxn ang="f187">
                    <a:pos x="f233" y="f234"/>
                  </a:cxn>
                  <a:cxn ang="f187">
                    <a:pos x="f235" y="f226"/>
                  </a:cxn>
                  <a:cxn ang="f187">
                    <a:pos x="f236" y="f228"/>
                  </a:cxn>
                  <a:cxn ang="f187">
                    <a:pos x="f237" y="f238"/>
                  </a:cxn>
                  <a:cxn ang="f187">
                    <a:pos x="f239" y="f240"/>
                  </a:cxn>
                  <a:cxn ang="f187">
                    <a:pos x="f241" y="f242"/>
                  </a:cxn>
                  <a:cxn ang="f187">
                    <a:pos x="f188" y="f243"/>
                  </a:cxn>
                  <a:cxn ang="f187">
                    <a:pos x="f244" y="f245"/>
                  </a:cxn>
                  <a:cxn ang="f187">
                    <a:pos x="f246" y="f247"/>
                  </a:cxn>
                  <a:cxn ang="f187">
                    <a:pos x="f248" y="f249"/>
                  </a:cxn>
                  <a:cxn ang="f187">
                    <a:pos x="f250" y="f251"/>
                  </a:cxn>
                  <a:cxn ang="f187">
                    <a:pos x="f252" y="f253"/>
                  </a:cxn>
                  <a:cxn ang="f187">
                    <a:pos x="f254" y="f255"/>
                  </a:cxn>
                  <a:cxn ang="f187">
                    <a:pos x="f256" y="f257"/>
                  </a:cxn>
                  <a:cxn ang="f187">
                    <a:pos x="f258" y="f259"/>
                  </a:cxn>
                  <a:cxn ang="f187">
                    <a:pos x="f260" y="f261"/>
                  </a:cxn>
                  <a:cxn ang="f187">
                    <a:pos x="f262" y="f191"/>
                  </a:cxn>
                </a:cxnLst>
                <a:rect l="f188" t="f191" r="f189" b="f190"/>
                <a:pathLst>
                  <a:path w="162" h="129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29" y="f31"/>
                    </a:lnTo>
                    <a:lnTo>
                      <a:pt x="f27" y="f32"/>
                    </a:lnTo>
                    <a:lnTo>
                      <a:pt x="f33" y="f34"/>
                    </a:lnTo>
                    <a:lnTo>
                      <a:pt x="f33" y="f35"/>
                    </a:lnTo>
                    <a:lnTo>
                      <a:pt x="f27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6" y="f45"/>
                    </a:lnTo>
                    <a:lnTo>
                      <a:pt x="f6" y="f46"/>
                    </a:lnTo>
                    <a:lnTo>
                      <a:pt x="f43" y="f13"/>
                    </a:lnTo>
                    <a:lnTo>
                      <a:pt x="f47" y="f19"/>
                    </a:lnTo>
                    <a:lnTo>
                      <a:pt x="f48" y="f49"/>
                    </a:lnTo>
                    <a:lnTo>
                      <a:pt x="f48" y="f50"/>
                    </a:lnTo>
                    <a:lnTo>
                      <a:pt x="f41" y="f51"/>
                    </a:lnTo>
                    <a:lnTo>
                      <a:pt x="f52" y="f53"/>
                    </a:lnTo>
                    <a:lnTo>
                      <a:pt x="f54" y="f7"/>
                    </a:lnTo>
                    <a:lnTo>
                      <a:pt x="f55" y="f7"/>
                    </a:lnTo>
                    <a:lnTo>
                      <a:pt x="f56" y="f57"/>
                    </a:lnTo>
                    <a:lnTo>
                      <a:pt x="f50" y="f50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1"/>
                    </a:lnTo>
                    <a:lnTo>
                      <a:pt x="f13" y="f21"/>
                    </a:lnTo>
                    <a:lnTo>
                      <a:pt x="f46" y="f58"/>
                    </a:lnTo>
                    <a:lnTo>
                      <a:pt x="f63" y="f58"/>
                    </a:lnTo>
                    <a:lnTo>
                      <a:pt x="f64" y="f21"/>
                    </a:lnTo>
                    <a:lnTo>
                      <a:pt x="f64" y="f49"/>
                    </a:lnTo>
                    <a:lnTo>
                      <a:pt x="f44" y="f59"/>
                    </a:lnTo>
                    <a:lnTo>
                      <a:pt x="f44" y="f65"/>
                    </a:lnTo>
                    <a:lnTo>
                      <a:pt x="f66" y="f51"/>
                    </a:lnTo>
                    <a:lnTo>
                      <a:pt x="f32" y="f51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24" y="f61"/>
                    </a:lnTo>
                    <a:lnTo>
                      <a:pt x="f71" y="f58"/>
                    </a:lnTo>
                    <a:lnTo>
                      <a:pt x="f72" y="f58"/>
                    </a:lnTo>
                    <a:lnTo>
                      <a:pt x="f73" y="f49"/>
                    </a:lnTo>
                    <a:lnTo>
                      <a:pt x="f74" y="f75"/>
                    </a:lnTo>
                    <a:lnTo>
                      <a:pt x="f76" y="f70"/>
                    </a:lnTo>
                    <a:lnTo>
                      <a:pt x="f77" y="f50"/>
                    </a:lnTo>
                    <a:lnTo>
                      <a:pt x="f78" y="f79"/>
                    </a:lnTo>
                    <a:lnTo>
                      <a:pt x="f10" y="f80"/>
                    </a:lnTo>
                    <a:lnTo>
                      <a:pt x="f5" y="f62"/>
                    </a:lnTo>
                    <a:lnTo>
                      <a:pt x="f5" y="f46"/>
                    </a:lnTo>
                    <a:lnTo>
                      <a:pt x="f12" y="f44"/>
                    </a:lnTo>
                    <a:lnTo>
                      <a:pt x="f78" y="f40"/>
                    </a:lnTo>
                    <a:lnTo>
                      <a:pt x="f81" y="f82"/>
                    </a:lnTo>
                    <a:lnTo>
                      <a:pt x="f83" y="f69"/>
                    </a:lnTo>
                    <a:lnTo>
                      <a:pt x="f14" y="f84"/>
                    </a:lnTo>
                    <a:lnTo>
                      <a:pt x="f85" y="f86"/>
                    </a:lnTo>
                    <a:lnTo>
                      <a:pt x="f76" y="f87"/>
                    </a:lnTo>
                    <a:lnTo>
                      <a:pt x="f88" y="f89"/>
                    </a:lnTo>
                    <a:lnTo>
                      <a:pt x="f16" y="f90"/>
                    </a:lnTo>
                    <a:lnTo>
                      <a:pt x="f89" y="f91"/>
                    </a:lnTo>
                    <a:lnTo>
                      <a:pt x="f92" y="f93"/>
                    </a:lnTo>
                    <a:lnTo>
                      <a:pt x="f94" y="f76"/>
                    </a:lnTo>
                    <a:lnTo>
                      <a:pt x="f95" y="f96"/>
                    </a:lnTo>
                    <a:lnTo>
                      <a:pt x="f97" y="f88"/>
                    </a:lnTo>
                    <a:lnTo>
                      <a:pt x="f98" y="f91"/>
                    </a:lnTo>
                    <a:lnTo>
                      <a:pt x="f99" y="f100"/>
                    </a:lnTo>
                    <a:lnTo>
                      <a:pt x="f42" y="f77"/>
                    </a:lnTo>
                    <a:lnTo>
                      <a:pt x="f101" y="f102"/>
                    </a:lnTo>
                    <a:lnTo>
                      <a:pt x="f63" y="f78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5A1A9E79-3D30-46C9-A72A-8BC87E76D7F3}"/>
                  </a:ext>
                </a:extLst>
              </p:cNvPr>
              <p:cNvSpPr/>
              <p:nvPr/>
            </p:nvSpPr>
            <p:spPr>
              <a:xfrm rot="21447621">
                <a:off x="5254289" y="1131460"/>
                <a:ext cx="66385" cy="71515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17"/>
                  <a:gd name="f7" fmla="val 133"/>
                  <a:gd name="f8" fmla="val 9"/>
                  <a:gd name="f9" fmla="val 13"/>
                  <a:gd name="f10" fmla="val 1"/>
                  <a:gd name="f11" fmla="val 16"/>
                  <a:gd name="f12" fmla="val 4"/>
                  <a:gd name="f13" fmla="val 20"/>
                  <a:gd name="f14" fmla="val 28"/>
                  <a:gd name="f15" fmla="val 23"/>
                  <a:gd name="f16" fmla="val 31"/>
                  <a:gd name="f17" fmla="val 36"/>
                  <a:gd name="f18" fmla="val 30"/>
                  <a:gd name="f19" fmla="val 45"/>
                  <a:gd name="f20" fmla="val 32"/>
                  <a:gd name="f21" fmla="val 56"/>
                  <a:gd name="f22" fmla="val 65"/>
                  <a:gd name="f23" fmla="val 43"/>
                  <a:gd name="f24" fmla="val 70"/>
                  <a:gd name="f25" fmla="val 49"/>
                  <a:gd name="f26" fmla="val 78"/>
                  <a:gd name="f27" fmla="val 58"/>
                  <a:gd name="f28" fmla="val 87"/>
                  <a:gd name="f29" fmla="val 68"/>
                  <a:gd name="f30" fmla="val 96"/>
                  <a:gd name="f31" fmla="val 76"/>
                  <a:gd name="f32" fmla="val 105"/>
                  <a:gd name="f33" fmla="val 84"/>
                  <a:gd name="f34" fmla="val 114"/>
                  <a:gd name="f35" fmla="val 89"/>
                  <a:gd name="f36" fmla="val 90"/>
                  <a:gd name="f37" fmla="val 115"/>
                  <a:gd name="f38" fmla="val 116"/>
                  <a:gd name="f39" fmla="val 108"/>
                  <a:gd name="f40" fmla="val 123"/>
                  <a:gd name="f41" fmla="val 121"/>
                  <a:gd name="f42" fmla="val 110"/>
                  <a:gd name="f43" fmla="val 119"/>
                  <a:gd name="f44" fmla="val 103"/>
                  <a:gd name="f45" fmla="val 120"/>
                  <a:gd name="f46" fmla="val 79"/>
                  <a:gd name="f47" fmla="val 74"/>
                  <a:gd name="f48" fmla="val 122"/>
                  <a:gd name="f49" fmla="val 69"/>
                  <a:gd name="f50" fmla="val 124"/>
                  <a:gd name="f51" fmla="val 62"/>
                  <a:gd name="f52" fmla="val 127"/>
                  <a:gd name="f53" fmla="val 53"/>
                  <a:gd name="f54" fmla="val 130"/>
                  <a:gd name="f55" fmla="val 132"/>
                  <a:gd name="f56" fmla="val 29"/>
                  <a:gd name="f57" fmla="val 128"/>
                  <a:gd name="f58" fmla="val 35"/>
                  <a:gd name="f59" fmla="val 40"/>
                  <a:gd name="f60" fmla="val 118"/>
                  <a:gd name="f61" fmla="val 46"/>
                  <a:gd name="f62" fmla="val 112"/>
                  <a:gd name="f63" fmla="val 51"/>
                  <a:gd name="f64" fmla="val 50"/>
                  <a:gd name="f65" fmla="val 38"/>
                  <a:gd name="f66" fmla="val 34"/>
                  <a:gd name="f67" fmla="val 83"/>
                  <a:gd name="f68" fmla="val 77"/>
                  <a:gd name="f69" fmla="val 41"/>
                  <a:gd name="f70" fmla="val 73"/>
                  <a:gd name="f71" fmla="val 48"/>
                  <a:gd name="f72" fmla="val 86"/>
                  <a:gd name="f73" fmla="val 52"/>
                  <a:gd name="f74" fmla="val 88"/>
                  <a:gd name="f75" fmla="val 54"/>
                  <a:gd name="f76" fmla="val 55"/>
                  <a:gd name="f77" fmla="val 59"/>
                  <a:gd name="f78" fmla="val 72"/>
                  <a:gd name="f79" fmla="val 85"/>
                  <a:gd name="f80" fmla="val 75"/>
                  <a:gd name="f81" fmla="val 81"/>
                  <a:gd name="f82" fmla="val 67"/>
                  <a:gd name="f83" fmla="val 64"/>
                  <a:gd name="f84" fmla="val 61"/>
                  <a:gd name="f85" fmla="val 63"/>
                  <a:gd name="f86" fmla="val 47"/>
                  <a:gd name="f87" fmla="val 42"/>
                  <a:gd name="f88" fmla="val 39"/>
                  <a:gd name="f89" fmla="val 57"/>
                  <a:gd name="f90" fmla="val 60"/>
                  <a:gd name="f91" fmla="val 27"/>
                  <a:gd name="f92" fmla="val 26"/>
                  <a:gd name="f93" fmla="val 66"/>
                  <a:gd name="f94" fmla="val 25"/>
                  <a:gd name="f95" fmla="val 24"/>
                  <a:gd name="f96" fmla="val 21"/>
                  <a:gd name="f97" fmla="val 18"/>
                  <a:gd name="f98" fmla="val 17"/>
                  <a:gd name="f99" fmla="val 11"/>
                  <a:gd name="f100" fmla="val 8"/>
                  <a:gd name="f101" fmla="val 10"/>
                  <a:gd name="f102" fmla="val 33"/>
                  <a:gd name="f103" fmla="val 22"/>
                  <a:gd name="f104" fmla="val 7"/>
                  <a:gd name="f105" fmla="val 14"/>
                  <a:gd name="f106" fmla="val 2"/>
                  <a:gd name="f107" fmla="val 6"/>
                  <a:gd name="f108" fmla="val 3"/>
                  <a:gd name="f109" fmla="+- 0 0 -90"/>
                  <a:gd name="f110" fmla="*/ f3 1 117"/>
                  <a:gd name="f111" fmla="*/ f4 1 133"/>
                  <a:gd name="f112" fmla="+- f7 0 f5"/>
                  <a:gd name="f113" fmla="+- f6 0 f5"/>
                  <a:gd name="f114" fmla="*/ f109 f0 1"/>
                  <a:gd name="f115" fmla="*/ f113 1 117"/>
                  <a:gd name="f116" fmla="*/ f112 1 133"/>
                  <a:gd name="f117" fmla="*/ f114 1 f2"/>
                  <a:gd name="f118" fmla="*/ 13 1 f115"/>
                  <a:gd name="f119" fmla="*/ 1 1 f116"/>
                  <a:gd name="f120" fmla="*/ 20 1 f115"/>
                  <a:gd name="f121" fmla="*/ 9 1 f116"/>
                  <a:gd name="f122" fmla="*/ 31 1 f115"/>
                  <a:gd name="f123" fmla="*/ 28 1 f116"/>
                  <a:gd name="f124" fmla="*/ 45 1 f115"/>
                  <a:gd name="f125" fmla="*/ 32 1 f116"/>
                  <a:gd name="f126" fmla="*/ 65 1 f115"/>
                  <a:gd name="f127" fmla="*/ 43 1 f116"/>
                  <a:gd name="f128" fmla="*/ 78 1 f115"/>
                  <a:gd name="f129" fmla="*/ 58 1 f116"/>
                  <a:gd name="f130" fmla="*/ 96 1 f115"/>
                  <a:gd name="f131" fmla="*/ 76 1 f116"/>
                  <a:gd name="f132" fmla="*/ 114 1 f115"/>
                  <a:gd name="f133" fmla="*/ 89 1 f116"/>
                  <a:gd name="f134" fmla="*/ 115 1 f115"/>
                  <a:gd name="f135" fmla="*/ 90 1 f116"/>
                  <a:gd name="f136" fmla="*/ 117 1 f115"/>
                  <a:gd name="f137" fmla="*/ 123 1 f116"/>
                  <a:gd name="f138" fmla="*/ 110 1 f115"/>
                  <a:gd name="f139" fmla="*/ 119 1 f116"/>
                  <a:gd name="f140" fmla="*/ 120 1 f116"/>
                  <a:gd name="f141" fmla="*/ 79 1 f115"/>
                  <a:gd name="f142" fmla="*/ 121 1 f116"/>
                  <a:gd name="f143" fmla="*/ 69 1 f115"/>
                  <a:gd name="f144" fmla="*/ 124 1 f116"/>
                  <a:gd name="f145" fmla="*/ 53 1 f115"/>
                  <a:gd name="f146" fmla="*/ 130 1 f116"/>
                  <a:gd name="f147" fmla="*/ 36 1 f115"/>
                  <a:gd name="f148" fmla="*/ 133 1 f116"/>
                  <a:gd name="f149" fmla="*/ 29 1 f115"/>
                  <a:gd name="f150" fmla="*/ 30 1 f115"/>
                  <a:gd name="f151" fmla="*/ 35 1 f115"/>
                  <a:gd name="f152" fmla="*/ 46 1 f115"/>
                  <a:gd name="f153" fmla="*/ 115 1 f116"/>
                  <a:gd name="f154" fmla="*/ 51 1 f115"/>
                  <a:gd name="f155" fmla="*/ 108 1 f116"/>
                  <a:gd name="f156" fmla="*/ 38 1 f115"/>
                  <a:gd name="f157" fmla="*/ 77 1 f116"/>
                  <a:gd name="f158" fmla="*/ 73 1 f116"/>
                  <a:gd name="f159" fmla="*/ 50 1 f115"/>
                  <a:gd name="f160" fmla="*/ 86 1 f116"/>
                  <a:gd name="f161" fmla="*/ 55 1 f115"/>
                  <a:gd name="f162" fmla="*/ 88 1 f116"/>
                  <a:gd name="f163" fmla="*/ 73 1 f115"/>
                  <a:gd name="f164" fmla="*/ 85 1 f116"/>
                  <a:gd name="f165" fmla="*/ 77 1 f115"/>
                  <a:gd name="f166" fmla="*/ 75 1 f116"/>
                  <a:gd name="f167" fmla="*/ 76 1 f115"/>
                  <a:gd name="f168" fmla="*/ 67 1 f116"/>
                  <a:gd name="f169" fmla="*/ 67 1 f115"/>
                  <a:gd name="f170" fmla="*/ 61 1 f116"/>
                  <a:gd name="f171" fmla="*/ 48 1 f116"/>
                  <a:gd name="f172" fmla="*/ 46 1 f116"/>
                  <a:gd name="f173" fmla="*/ 42 1 f115"/>
                  <a:gd name="f174" fmla="*/ 49 1 f116"/>
                  <a:gd name="f175" fmla="*/ 41 1 f115"/>
                  <a:gd name="f176" fmla="*/ 52 1 f116"/>
                  <a:gd name="f177" fmla="*/ 40 1 f115"/>
                  <a:gd name="f178" fmla="*/ 55 1 f116"/>
                  <a:gd name="f179" fmla="*/ 60 1 f116"/>
                  <a:gd name="f180" fmla="*/ 32 1 f115"/>
                  <a:gd name="f181" fmla="*/ 69 1 f116"/>
                  <a:gd name="f182" fmla="*/ 26 1 f115"/>
                  <a:gd name="f183" fmla="*/ 66 1 f116"/>
                  <a:gd name="f184" fmla="*/ 62 1 f116"/>
                  <a:gd name="f185" fmla="*/ 27 1 f115"/>
                  <a:gd name="f186" fmla="*/ 28 1 f115"/>
                  <a:gd name="f187" fmla="*/ 24 1 f115"/>
                  <a:gd name="f188" fmla="*/ 54 1 f116"/>
                  <a:gd name="f189" fmla="*/ 59 1 f116"/>
                  <a:gd name="f190" fmla="*/ 17 1 f115"/>
                  <a:gd name="f191" fmla="*/ 11 1 f115"/>
                  <a:gd name="f192" fmla="*/ 10 1 f115"/>
                  <a:gd name="f193" fmla="*/ 51 1 f116"/>
                  <a:gd name="f194" fmla="*/ 33 1 f116"/>
                  <a:gd name="f195" fmla="*/ 18 1 f115"/>
                  <a:gd name="f196" fmla="*/ 22 1 f116"/>
                  <a:gd name="f197" fmla="*/ 7 1 f115"/>
                  <a:gd name="f198" fmla="*/ 14 1 f116"/>
                  <a:gd name="f199" fmla="*/ 0 1 f115"/>
                  <a:gd name="f200" fmla="*/ 6 1 f116"/>
                  <a:gd name="f201" fmla="*/ 9 1 f115"/>
                  <a:gd name="f202" fmla="*/ 0 1 f116"/>
                  <a:gd name="f203" fmla="*/ f6 1 f115"/>
                  <a:gd name="f204" fmla="*/ f7 1 f116"/>
                  <a:gd name="f205" fmla="+- f117 0 f1"/>
                  <a:gd name="f206" fmla="*/ f199 f110 1"/>
                  <a:gd name="f207" fmla="*/ f203 f110 1"/>
                  <a:gd name="f208" fmla="*/ f204 f111 1"/>
                  <a:gd name="f209" fmla="*/ f202 f111 1"/>
                  <a:gd name="f210" fmla="*/ f118 f110 1"/>
                  <a:gd name="f211" fmla="*/ f119 f111 1"/>
                  <a:gd name="f212" fmla="*/ f120 f110 1"/>
                  <a:gd name="f213" fmla="*/ f121 f111 1"/>
                  <a:gd name="f214" fmla="*/ f122 f110 1"/>
                  <a:gd name="f215" fmla="*/ f123 f111 1"/>
                  <a:gd name="f216" fmla="*/ f124 f110 1"/>
                  <a:gd name="f217" fmla="*/ f125 f111 1"/>
                  <a:gd name="f218" fmla="*/ f126 f110 1"/>
                  <a:gd name="f219" fmla="*/ f127 f111 1"/>
                  <a:gd name="f220" fmla="*/ f128 f110 1"/>
                  <a:gd name="f221" fmla="*/ f129 f111 1"/>
                  <a:gd name="f222" fmla="*/ f130 f110 1"/>
                  <a:gd name="f223" fmla="*/ f131 f111 1"/>
                  <a:gd name="f224" fmla="*/ f132 f110 1"/>
                  <a:gd name="f225" fmla="*/ f133 f111 1"/>
                  <a:gd name="f226" fmla="*/ f134 f110 1"/>
                  <a:gd name="f227" fmla="*/ f135 f111 1"/>
                  <a:gd name="f228" fmla="*/ f136 f110 1"/>
                  <a:gd name="f229" fmla="*/ f137 f111 1"/>
                  <a:gd name="f230" fmla="*/ f138 f110 1"/>
                  <a:gd name="f231" fmla="*/ f139 f111 1"/>
                  <a:gd name="f232" fmla="*/ f140 f111 1"/>
                  <a:gd name="f233" fmla="*/ f141 f110 1"/>
                  <a:gd name="f234" fmla="*/ f142 f111 1"/>
                  <a:gd name="f235" fmla="*/ f143 f110 1"/>
                  <a:gd name="f236" fmla="*/ f144 f111 1"/>
                  <a:gd name="f237" fmla="*/ f145 f110 1"/>
                  <a:gd name="f238" fmla="*/ f146 f111 1"/>
                  <a:gd name="f239" fmla="*/ f147 f110 1"/>
                  <a:gd name="f240" fmla="*/ f148 f111 1"/>
                  <a:gd name="f241" fmla="*/ f149 f110 1"/>
                  <a:gd name="f242" fmla="*/ f150 f110 1"/>
                  <a:gd name="f243" fmla="*/ f151 f110 1"/>
                  <a:gd name="f244" fmla="*/ f152 f110 1"/>
                  <a:gd name="f245" fmla="*/ f153 f111 1"/>
                  <a:gd name="f246" fmla="*/ f154 f110 1"/>
                  <a:gd name="f247" fmla="*/ f155 f111 1"/>
                  <a:gd name="f248" fmla="*/ f156 f110 1"/>
                  <a:gd name="f249" fmla="*/ f157 f111 1"/>
                  <a:gd name="f250" fmla="*/ f158 f111 1"/>
                  <a:gd name="f251" fmla="*/ f159 f110 1"/>
                  <a:gd name="f252" fmla="*/ f160 f111 1"/>
                  <a:gd name="f253" fmla="*/ f161 f110 1"/>
                  <a:gd name="f254" fmla="*/ f162 f111 1"/>
                  <a:gd name="f255" fmla="*/ f163 f110 1"/>
                  <a:gd name="f256" fmla="*/ f164 f111 1"/>
                  <a:gd name="f257" fmla="*/ f165 f110 1"/>
                  <a:gd name="f258" fmla="*/ f166 f111 1"/>
                  <a:gd name="f259" fmla="*/ f167 f110 1"/>
                  <a:gd name="f260" fmla="*/ f168 f111 1"/>
                  <a:gd name="f261" fmla="*/ f169 f110 1"/>
                  <a:gd name="f262" fmla="*/ f170 f111 1"/>
                  <a:gd name="f263" fmla="*/ f171 f111 1"/>
                  <a:gd name="f264" fmla="*/ f172 f111 1"/>
                  <a:gd name="f265" fmla="*/ f173 f110 1"/>
                  <a:gd name="f266" fmla="*/ f174 f111 1"/>
                  <a:gd name="f267" fmla="*/ f175 f110 1"/>
                  <a:gd name="f268" fmla="*/ f176 f111 1"/>
                  <a:gd name="f269" fmla="*/ f177 f110 1"/>
                  <a:gd name="f270" fmla="*/ f178 f111 1"/>
                  <a:gd name="f271" fmla="*/ f179 f111 1"/>
                  <a:gd name="f272" fmla="*/ f180 f110 1"/>
                  <a:gd name="f273" fmla="*/ f181 f111 1"/>
                  <a:gd name="f274" fmla="*/ f182 f110 1"/>
                  <a:gd name="f275" fmla="*/ f183 f111 1"/>
                  <a:gd name="f276" fmla="*/ f184 f111 1"/>
                  <a:gd name="f277" fmla="*/ f185 f110 1"/>
                  <a:gd name="f278" fmla="*/ f186 f110 1"/>
                  <a:gd name="f279" fmla="*/ f187 f110 1"/>
                  <a:gd name="f280" fmla="*/ f188 f111 1"/>
                  <a:gd name="f281" fmla="*/ f189 f111 1"/>
                  <a:gd name="f282" fmla="*/ f190 f110 1"/>
                  <a:gd name="f283" fmla="*/ f191 f110 1"/>
                  <a:gd name="f284" fmla="*/ f192 f110 1"/>
                  <a:gd name="f285" fmla="*/ f193 f111 1"/>
                  <a:gd name="f286" fmla="*/ f194 f111 1"/>
                  <a:gd name="f287" fmla="*/ f195 f110 1"/>
                  <a:gd name="f288" fmla="*/ f196 f111 1"/>
                  <a:gd name="f289" fmla="*/ f197 f110 1"/>
                  <a:gd name="f290" fmla="*/ f198 f111 1"/>
                  <a:gd name="f291" fmla="*/ f200 f111 1"/>
                  <a:gd name="f292" fmla="*/ f201 f11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05">
                    <a:pos x="f210" y="f211"/>
                  </a:cxn>
                  <a:cxn ang="f205">
                    <a:pos x="f212" y="f213"/>
                  </a:cxn>
                  <a:cxn ang="f205">
                    <a:pos x="f214" y="f215"/>
                  </a:cxn>
                  <a:cxn ang="f205">
                    <a:pos x="f216" y="f217"/>
                  </a:cxn>
                  <a:cxn ang="f205">
                    <a:pos x="f218" y="f219"/>
                  </a:cxn>
                  <a:cxn ang="f205">
                    <a:pos x="f220" y="f221"/>
                  </a:cxn>
                  <a:cxn ang="f205">
                    <a:pos x="f222" y="f223"/>
                  </a:cxn>
                  <a:cxn ang="f205">
                    <a:pos x="f224" y="f225"/>
                  </a:cxn>
                  <a:cxn ang="f205">
                    <a:pos x="f226" y="f227"/>
                  </a:cxn>
                  <a:cxn ang="f205">
                    <a:pos x="f228" y="f229"/>
                  </a:cxn>
                  <a:cxn ang="f205">
                    <a:pos x="f230" y="f231"/>
                  </a:cxn>
                  <a:cxn ang="f205">
                    <a:pos x="f222" y="f232"/>
                  </a:cxn>
                  <a:cxn ang="f205">
                    <a:pos x="f233" y="f234"/>
                  </a:cxn>
                  <a:cxn ang="f205">
                    <a:pos x="f235" y="f236"/>
                  </a:cxn>
                  <a:cxn ang="f205">
                    <a:pos x="f237" y="f238"/>
                  </a:cxn>
                  <a:cxn ang="f205">
                    <a:pos x="f239" y="f240"/>
                  </a:cxn>
                  <a:cxn ang="f205">
                    <a:pos x="f241" y="f238"/>
                  </a:cxn>
                  <a:cxn ang="f205">
                    <a:pos x="f242" y="f236"/>
                  </a:cxn>
                  <a:cxn ang="f205">
                    <a:pos x="f243" y="f232"/>
                  </a:cxn>
                  <a:cxn ang="f205">
                    <a:pos x="f244" y="f245"/>
                  </a:cxn>
                  <a:cxn ang="f205">
                    <a:pos x="f246" y="f247"/>
                  </a:cxn>
                  <a:cxn ang="f205">
                    <a:pos x="f248" y="f225"/>
                  </a:cxn>
                  <a:cxn ang="f205">
                    <a:pos x="f243" y="f249"/>
                  </a:cxn>
                  <a:cxn ang="f205">
                    <a:pos x="f244" y="f250"/>
                  </a:cxn>
                  <a:cxn ang="f205">
                    <a:pos x="f251" y="f223"/>
                  </a:cxn>
                  <a:cxn ang="f205">
                    <a:pos x="f246" y="f252"/>
                  </a:cxn>
                  <a:cxn ang="f205">
                    <a:pos x="f237" y="f225"/>
                  </a:cxn>
                  <a:cxn ang="f205">
                    <a:pos x="f253" y="f254"/>
                  </a:cxn>
                  <a:cxn ang="f205">
                    <a:pos x="f235" y="f225"/>
                  </a:cxn>
                  <a:cxn ang="f205">
                    <a:pos x="f255" y="f256"/>
                  </a:cxn>
                  <a:cxn ang="f205">
                    <a:pos x="f257" y="f258"/>
                  </a:cxn>
                  <a:cxn ang="f205">
                    <a:pos x="f259" y="f260"/>
                  </a:cxn>
                  <a:cxn ang="f205">
                    <a:pos x="f261" y="f262"/>
                  </a:cxn>
                  <a:cxn ang="f205">
                    <a:pos x="f253" y="f263"/>
                  </a:cxn>
                  <a:cxn ang="f205">
                    <a:pos x="f216" y="f264"/>
                  </a:cxn>
                  <a:cxn ang="f205">
                    <a:pos x="f265" y="f266"/>
                  </a:cxn>
                  <a:cxn ang="f205">
                    <a:pos x="f267" y="f268"/>
                  </a:cxn>
                  <a:cxn ang="f205">
                    <a:pos x="f269" y="f270"/>
                  </a:cxn>
                  <a:cxn ang="f205">
                    <a:pos x="f248" y="f271"/>
                  </a:cxn>
                  <a:cxn ang="f205">
                    <a:pos x="f272" y="f260"/>
                  </a:cxn>
                  <a:cxn ang="f205">
                    <a:pos x="f241" y="f273"/>
                  </a:cxn>
                  <a:cxn ang="f205">
                    <a:pos x="f274" y="f275"/>
                  </a:cxn>
                  <a:cxn ang="f205">
                    <a:pos x="f274" y="f276"/>
                  </a:cxn>
                  <a:cxn ang="f205">
                    <a:pos x="f277" y="f221"/>
                  </a:cxn>
                  <a:cxn ang="f205">
                    <a:pos x="f278" y="f270"/>
                  </a:cxn>
                  <a:cxn ang="f205">
                    <a:pos x="f279" y="f280"/>
                  </a:cxn>
                  <a:cxn ang="f205">
                    <a:pos x="f212" y="f281"/>
                  </a:cxn>
                  <a:cxn ang="f205">
                    <a:pos x="f282" y="f276"/>
                  </a:cxn>
                  <a:cxn ang="f205">
                    <a:pos x="f283" y="f271"/>
                  </a:cxn>
                  <a:cxn ang="f205">
                    <a:pos x="f284" y="f285"/>
                  </a:cxn>
                  <a:cxn ang="f205">
                    <a:pos x="f212" y="f286"/>
                  </a:cxn>
                  <a:cxn ang="f205">
                    <a:pos x="f287" y="f288"/>
                  </a:cxn>
                  <a:cxn ang="f205">
                    <a:pos x="f289" y="f290"/>
                  </a:cxn>
                  <a:cxn ang="f205">
                    <a:pos x="f206" y="f291"/>
                  </a:cxn>
                  <a:cxn ang="f205">
                    <a:pos x="f292" y="f209"/>
                  </a:cxn>
                </a:cxnLst>
                <a:rect l="f206" t="f209" r="f207" b="f208"/>
                <a:pathLst>
                  <a:path w="117" h="133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8"/>
                    </a:lnTo>
                    <a:lnTo>
                      <a:pt x="f14" y="f15"/>
                    </a:lnTo>
                    <a:lnTo>
                      <a:pt x="f16" y="f14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17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4" y="f36"/>
                    </a:lnTo>
                    <a:lnTo>
                      <a:pt x="f37" y="f36"/>
                    </a:lnTo>
                    <a:lnTo>
                      <a:pt x="f38" y="f39"/>
                    </a:lnTo>
                    <a:lnTo>
                      <a:pt x="f6" y="f40"/>
                    </a:lnTo>
                    <a:lnTo>
                      <a:pt x="f34" y="f41"/>
                    </a:lnTo>
                    <a:lnTo>
                      <a:pt x="f42" y="f43"/>
                    </a:lnTo>
                    <a:lnTo>
                      <a:pt x="f44" y="f43"/>
                    </a:lnTo>
                    <a:lnTo>
                      <a:pt x="f30" y="f45"/>
                    </a:lnTo>
                    <a:lnTo>
                      <a:pt x="f28" y="f45"/>
                    </a:lnTo>
                    <a:lnTo>
                      <a:pt x="f46" y="f41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23" y="f7"/>
                    </a:lnTo>
                    <a:lnTo>
                      <a:pt x="f17" y="f7"/>
                    </a:lnTo>
                    <a:lnTo>
                      <a:pt x="f16" y="f55"/>
                    </a:lnTo>
                    <a:lnTo>
                      <a:pt x="f56" y="f54"/>
                    </a:lnTo>
                    <a:lnTo>
                      <a:pt x="f14" y="f57"/>
                    </a:lnTo>
                    <a:lnTo>
                      <a:pt x="f18" y="f50"/>
                    </a:lnTo>
                    <a:lnTo>
                      <a:pt x="f20" y="f48"/>
                    </a:lnTo>
                    <a:lnTo>
                      <a:pt x="f58" y="f45"/>
                    </a:lnTo>
                    <a:lnTo>
                      <a:pt x="f59" y="f60"/>
                    </a:lnTo>
                    <a:lnTo>
                      <a:pt x="f61" y="f37"/>
                    </a:lnTo>
                    <a:lnTo>
                      <a:pt x="f25" y="f62"/>
                    </a:lnTo>
                    <a:lnTo>
                      <a:pt x="f63" y="f39"/>
                    </a:lnTo>
                    <a:lnTo>
                      <a:pt x="f64" y="f44"/>
                    </a:lnTo>
                    <a:lnTo>
                      <a:pt x="f65" y="f35"/>
                    </a:lnTo>
                    <a:lnTo>
                      <a:pt x="f66" y="f67"/>
                    </a:lnTo>
                    <a:lnTo>
                      <a:pt x="f58" y="f68"/>
                    </a:lnTo>
                    <a:lnTo>
                      <a:pt x="f69" y="f70"/>
                    </a:lnTo>
                    <a:lnTo>
                      <a:pt x="f61" y="f70"/>
                    </a:lnTo>
                    <a:lnTo>
                      <a:pt x="f71" y="f47"/>
                    </a:lnTo>
                    <a:lnTo>
                      <a:pt x="f64" y="f31"/>
                    </a:lnTo>
                    <a:lnTo>
                      <a:pt x="f64" y="f67"/>
                    </a:lnTo>
                    <a:lnTo>
                      <a:pt x="f63" y="f72"/>
                    </a:lnTo>
                    <a:lnTo>
                      <a:pt x="f73" y="f74"/>
                    </a:lnTo>
                    <a:lnTo>
                      <a:pt x="f53" y="f35"/>
                    </a:lnTo>
                    <a:lnTo>
                      <a:pt x="f75" y="f35"/>
                    </a:lnTo>
                    <a:lnTo>
                      <a:pt x="f76" y="f74"/>
                    </a:lnTo>
                    <a:lnTo>
                      <a:pt x="f77" y="f28"/>
                    </a:lnTo>
                    <a:lnTo>
                      <a:pt x="f49" y="f35"/>
                    </a:lnTo>
                    <a:lnTo>
                      <a:pt x="f78" y="f74"/>
                    </a:lnTo>
                    <a:lnTo>
                      <a:pt x="f70" y="f79"/>
                    </a:lnTo>
                    <a:lnTo>
                      <a:pt x="f80" y="f81"/>
                    </a:lnTo>
                    <a:lnTo>
                      <a:pt x="f68" y="f80"/>
                    </a:lnTo>
                    <a:lnTo>
                      <a:pt x="f68" y="f24"/>
                    </a:lnTo>
                    <a:lnTo>
                      <a:pt x="f31" y="f82"/>
                    </a:lnTo>
                    <a:lnTo>
                      <a:pt x="f78" y="f83"/>
                    </a:lnTo>
                    <a:lnTo>
                      <a:pt x="f82" y="f84"/>
                    </a:lnTo>
                    <a:lnTo>
                      <a:pt x="f85" y="f21"/>
                    </a:lnTo>
                    <a:lnTo>
                      <a:pt x="f76" y="f71"/>
                    </a:lnTo>
                    <a:lnTo>
                      <a:pt x="f64" y="f61"/>
                    </a:lnTo>
                    <a:lnTo>
                      <a:pt x="f19" y="f61"/>
                    </a:lnTo>
                    <a:lnTo>
                      <a:pt x="f23" y="f86"/>
                    </a:lnTo>
                    <a:lnTo>
                      <a:pt x="f87" y="f25"/>
                    </a:lnTo>
                    <a:lnTo>
                      <a:pt x="f69" y="f64"/>
                    </a:lnTo>
                    <a:lnTo>
                      <a:pt x="f69" y="f73"/>
                    </a:lnTo>
                    <a:lnTo>
                      <a:pt x="f59" y="f53"/>
                    </a:lnTo>
                    <a:lnTo>
                      <a:pt x="f59" y="f76"/>
                    </a:lnTo>
                    <a:lnTo>
                      <a:pt x="f88" y="f89"/>
                    </a:lnTo>
                    <a:lnTo>
                      <a:pt x="f65" y="f90"/>
                    </a:lnTo>
                    <a:lnTo>
                      <a:pt x="f17" y="f85"/>
                    </a:lnTo>
                    <a:lnTo>
                      <a:pt x="f20" y="f82"/>
                    </a:lnTo>
                    <a:lnTo>
                      <a:pt x="f16" y="f49"/>
                    </a:lnTo>
                    <a:lnTo>
                      <a:pt x="f56" y="f49"/>
                    </a:lnTo>
                    <a:lnTo>
                      <a:pt x="f91" y="f29"/>
                    </a:lnTo>
                    <a:lnTo>
                      <a:pt x="f92" y="f93"/>
                    </a:lnTo>
                    <a:lnTo>
                      <a:pt x="f94" y="f22"/>
                    </a:lnTo>
                    <a:lnTo>
                      <a:pt x="f92" y="f51"/>
                    </a:lnTo>
                    <a:lnTo>
                      <a:pt x="f92" y="f90"/>
                    </a:lnTo>
                    <a:lnTo>
                      <a:pt x="f91" y="f27"/>
                    </a:lnTo>
                    <a:lnTo>
                      <a:pt x="f91" y="f21"/>
                    </a:lnTo>
                    <a:lnTo>
                      <a:pt x="f14" y="f76"/>
                    </a:lnTo>
                    <a:lnTo>
                      <a:pt x="f91" y="f75"/>
                    </a:lnTo>
                    <a:lnTo>
                      <a:pt x="f95" y="f75"/>
                    </a:lnTo>
                    <a:lnTo>
                      <a:pt x="f96" y="f89"/>
                    </a:lnTo>
                    <a:lnTo>
                      <a:pt x="f13" y="f77"/>
                    </a:lnTo>
                    <a:lnTo>
                      <a:pt x="f97" y="f90"/>
                    </a:lnTo>
                    <a:lnTo>
                      <a:pt x="f98" y="f51"/>
                    </a:lnTo>
                    <a:lnTo>
                      <a:pt x="f9" y="f51"/>
                    </a:lnTo>
                    <a:lnTo>
                      <a:pt x="f99" y="f90"/>
                    </a:lnTo>
                    <a:lnTo>
                      <a:pt x="f100" y="f21"/>
                    </a:lnTo>
                    <a:lnTo>
                      <a:pt x="f101" y="f63"/>
                    </a:lnTo>
                    <a:lnTo>
                      <a:pt x="f11" y="f23"/>
                    </a:lnTo>
                    <a:lnTo>
                      <a:pt x="f13" y="f102"/>
                    </a:lnTo>
                    <a:lnTo>
                      <a:pt x="f96" y="f91"/>
                    </a:lnTo>
                    <a:lnTo>
                      <a:pt x="f97" y="f103"/>
                    </a:lnTo>
                    <a:lnTo>
                      <a:pt x="f9" y="f97"/>
                    </a:lnTo>
                    <a:lnTo>
                      <a:pt x="f104" y="f105"/>
                    </a:lnTo>
                    <a:lnTo>
                      <a:pt x="f106" y="f101"/>
                    </a:lnTo>
                    <a:lnTo>
                      <a:pt x="f5" y="f107"/>
                    </a:lnTo>
                    <a:lnTo>
                      <a:pt x="f108" y="f108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62C32E3B-1644-4DC3-9B81-617224AFF51C}"/>
                  </a:ext>
                </a:extLst>
              </p:cNvPr>
              <p:cNvSpPr/>
              <p:nvPr/>
            </p:nvSpPr>
            <p:spPr>
              <a:xfrm rot="21447621">
                <a:off x="5320611" y="1177848"/>
                <a:ext cx="26663" cy="24734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7"/>
                  <a:gd name="f7" fmla="val 46"/>
                  <a:gd name="f8" fmla="val 12"/>
                  <a:gd name="f9" fmla="val 4"/>
                  <a:gd name="f10" fmla="val 23"/>
                  <a:gd name="f11" fmla="val 7"/>
                  <a:gd name="f12" fmla="val 32"/>
                  <a:gd name="f13" fmla="val 10"/>
                  <a:gd name="f14" fmla="val 37"/>
                  <a:gd name="f15" fmla="val 13"/>
                  <a:gd name="f16" fmla="val 38"/>
                  <a:gd name="f17" fmla="val 15"/>
                  <a:gd name="f18" fmla="val 39"/>
                  <a:gd name="f19" fmla="val 18"/>
                  <a:gd name="f20" fmla="val 21"/>
                  <a:gd name="f21" fmla="val 41"/>
                  <a:gd name="f22" fmla="val 25"/>
                  <a:gd name="f23" fmla="val 45"/>
                  <a:gd name="f24" fmla="val 27"/>
                  <a:gd name="f25" fmla="val 29"/>
                  <a:gd name="f26" fmla="val 31"/>
                  <a:gd name="f27" fmla="val 33"/>
                  <a:gd name="f28" fmla="val 35"/>
                  <a:gd name="f29" fmla="val 40"/>
                  <a:gd name="f30" fmla="val 34"/>
                  <a:gd name="f31" fmla="val 43"/>
                  <a:gd name="f32" fmla="val 24"/>
                  <a:gd name="f33" fmla="val 42"/>
                  <a:gd name="f34" fmla="val 8"/>
                  <a:gd name="f35" fmla="val 2"/>
                  <a:gd name="f36" fmla="val 1"/>
                  <a:gd name="f37" fmla="+- 0 0 -90"/>
                  <a:gd name="f38" fmla="*/ f3 1 47"/>
                  <a:gd name="f39" fmla="*/ f4 1 46"/>
                  <a:gd name="f40" fmla="+- f7 0 f5"/>
                  <a:gd name="f41" fmla="+- f6 0 f5"/>
                  <a:gd name="f42" fmla="*/ f37 f0 1"/>
                  <a:gd name="f43" fmla="*/ f41 1 47"/>
                  <a:gd name="f44" fmla="*/ f40 1 46"/>
                  <a:gd name="f45" fmla="*/ f42 1 f2"/>
                  <a:gd name="f46" fmla="*/ 0 1 f43"/>
                  <a:gd name="f47" fmla="*/ 0 1 f44"/>
                  <a:gd name="f48" fmla="*/ 12 1 f43"/>
                  <a:gd name="f49" fmla="*/ 4 1 f44"/>
                  <a:gd name="f50" fmla="*/ 23 1 f43"/>
                  <a:gd name="f51" fmla="*/ 7 1 f44"/>
                  <a:gd name="f52" fmla="*/ 32 1 f43"/>
                  <a:gd name="f53" fmla="*/ 10 1 f44"/>
                  <a:gd name="f54" fmla="*/ 37 1 f43"/>
                  <a:gd name="f55" fmla="*/ 13 1 f44"/>
                  <a:gd name="f56" fmla="*/ 38 1 f43"/>
                  <a:gd name="f57" fmla="*/ 15 1 f44"/>
                  <a:gd name="f58" fmla="*/ 39 1 f43"/>
                  <a:gd name="f59" fmla="*/ 18 1 f44"/>
                  <a:gd name="f60" fmla="*/ 21 1 f44"/>
                  <a:gd name="f61" fmla="*/ 41 1 f43"/>
                  <a:gd name="f62" fmla="*/ 25 1 f44"/>
                  <a:gd name="f63" fmla="*/ 45 1 f43"/>
                  <a:gd name="f64" fmla="*/ 27 1 f44"/>
                  <a:gd name="f65" fmla="*/ 46 1 f43"/>
                  <a:gd name="f66" fmla="*/ 29 1 f44"/>
                  <a:gd name="f67" fmla="*/ 31 1 f44"/>
                  <a:gd name="f68" fmla="*/ 47 1 f43"/>
                  <a:gd name="f69" fmla="*/ 33 1 f44"/>
                  <a:gd name="f70" fmla="*/ 35 1 f44"/>
                  <a:gd name="f71" fmla="*/ 37 1 f44"/>
                  <a:gd name="f72" fmla="*/ 40 1 f43"/>
                  <a:gd name="f73" fmla="*/ 38 1 f44"/>
                  <a:gd name="f74" fmla="*/ 34 1 f43"/>
                  <a:gd name="f75" fmla="*/ 40 1 f44"/>
                  <a:gd name="f76" fmla="*/ 31 1 f43"/>
                  <a:gd name="f77" fmla="*/ 43 1 f44"/>
                  <a:gd name="f78" fmla="*/ 45 1 f44"/>
                  <a:gd name="f79" fmla="*/ 29 1 f43"/>
                  <a:gd name="f80" fmla="*/ 46 1 f44"/>
                  <a:gd name="f81" fmla="*/ 24 1 f43"/>
                  <a:gd name="f82" fmla="*/ 18 1 f43"/>
                  <a:gd name="f83" fmla="*/ 42 1 f44"/>
                  <a:gd name="f84" fmla="*/ 8 1 f43"/>
                  <a:gd name="f85" fmla="*/ 39 1 f44"/>
                  <a:gd name="f86" fmla="*/ 2 1 f43"/>
                  <a:gd name="f87" fmla="*/ 1 1 f43"/>
                  <a:gd name="f88" fmla="*/ f6 1 f43"/>
                  <a:gd name="f89" fmla="*/ f7 1 f44"/>
                  <a:gd name="f90" fmla="+- f45 0 f1"/>
                  <a:gd name="f91" fmla="*/ f46 f38 1"/>
                  <a:gd name="f92" fmla="*/ f88 f38 1"/>
                  <a:gd name="f93" fmla="*/ f89 f39 1"/>
                  <a:gd name="f94" fmla="*/ f47 f39 1"/>
                  <a:gd name="f95" fmla="*/ f48 f38 1"/>
                  <a:gd name="f96" fmla="*/ f49 f39 1"/>
                  <a:gd name="f97" fmla="*/ f50 f38 1"/>
                  <a:gd name="f98" fmla="*/ f51 f39 1"/>
                  <a:gd name="f99" fmla="*/ f52 f38 1"/>
                  <a:gd name="f100" fmla="*/ f53 f39 1"/>
                  <a:gd name="f101" fmla="*/ f54 f38 1"/>
                  <a:gd name="f102" fmla="*/ f55 f39 1"/>
                  <a:gd name="f103" fmla="*/ f56 f38 1"/>
                  <a:gd name="f104" fmla="*/ f57 f39 1"/>
                  <a:gd name="f105" fmla="*/ f58 f38 1"/>
                  <a:gd name="f106" fmla="*/ f59 f39 1"/>
                  <a:gd name="f107" fmla="*/ f60 f39 1"/>
                  <a:gd name="f108" fmla="*/ f61 f38 1"/>
                  <a:gd name="f109" fmla="*/ f62 f39 1"/>
                  <a:gd name="f110" fmla="*/ f63 f38 1"/>
                  <a:gd name="f111" fmla="*/ f64 f39 1"/>
                  <a:gd name="f112" fmla="*/ f65 f38 1"/>
                  <a:gd name="f113" fmla="*/ f66 f39 1"/>
                  <a:gd name="f114" fmla="*/ f67 f39 1"/>
                  <a:gd name="f115" fmla="*/ f68 f38 1"/>
                  <a:gd name="f116" fmla="*/ f69 f39 1"/>
                  <a:gd name="f117" fmla="*/ f70 f39 1"/>
                  <a:gd name="f118" fmla="*/ f71 f39 1"/>
                  <a:gd name="f119" fmla="*/ f72 f38 1"/>
                  <a:gd name="f120" fmla="*/ f73 f39 1"/>
                  <a:gd name="f121" fmla="*/ f74 f38 1"/>
                  <a:gd name="f122" fmla="*/ f75 f39 1"/>
                  <a:gd name="f123" fmla="*/ f76 f38 1"/>
                  <a:gd name="f124" fmla="*/ f77 f39 1"/>
                  <a:gd name="f125" fmla="*/ f78 f39 1"/>
                  <a:gd name="f126" fmla="*/ f79 f38 1"/>
                  <a:gd name="f127" fmla="*/ f80 f39 1"/>
                  <a:gd name="f128" fmla="*/ f81 f38 1"/>
                  <a:gd name="f129" fmla="*/ f82 f38 1"/>
                  <a:gd name="f130" fmla="*/ f83 f39 1"/>
                  <a:gd name="f131" fmla="*/ f84 f38 1"/>
                  <a:gd name="f132" fmla="*/ f85 f39 1"/>
                  <a:gd name="f133" fmla="*/ f86 f38 1"/>
                  <a:gd name="f134" fmla="*/ f87 f3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90">
                    <a:pos x="f91" y="f94"/>
                  </a:cxn>
                  <a:cxn ang="f90">
                    <a:pos x="f95" y="f96"/>
                  </a:cxn>
                  <a:cxn ang="f90">
                    <a:pos x="f97" y="f98"/>
                  </a:cxn>
                  <a:cxn ang="f90">
                    <a:pos x="f99" y="f100"/>
                  </a:cxn>
                  <a:cxn ang="f90">
                    <a:pos x="f101" y="f102"/>
                  </a:cxn>
                  <a:cxn ang="f90">
                    <a:pos x="f103" y="f104"/>
                  </a:cxn>
                  <a:cxn ang="f90">
                    <a:pos x="f105" y="f106"/>
                  </a:cxn>
                  <a:cxn ang="f90">
                    <a:pos x="f105" y="f107"/>
                  </a:cxn>
                  <a:cxn ang="f90">
                    <a:pos x="f108" y="f109"/>
                  </a:cxn>
                  <a:cxn ang="f90">
                    <a:pos x="f110" y="f111"/>
                  </a:cxn>
                  <a:cxn ang="f90">
                    <a:pos x="f112" y="f113"/>
                  </a:cxn>
                  <a:cxn ang="f90">
                    <a:pos x="f112" y="f114"/>
                  </a:cxn>
                  <a:cxn ang="f90">
                    <a:pos x="f115" y="f116"/>
                  </a:cxn>
                  <a:cxn ang="f90">
                    <a:pos x="f115" y="f117"/>
                  </a:cxn>
                  <a:cxn ang="f90">
                    <a:pos x="f110" y="f118"/>
                  </a:cxn>
                  <a:cxn ang="f90">
                    <a:pos x="f119" y="f118"/>
                  </a:cxn>
                  <a:cxn ang="f90">
                    <a:pos x="f101" y="f120"/>
                  </a:cxn>
                  <a:cxn ang="f90">
                    <a:pos x="f121" y="f122"/>
                  </a:cxn>
                  <a:cxn ang="f90">
                    <a:pos x="f123" y="f124"/>
                  </a:cxn>
                  <a:cxn ang="f90">
                    <a:pos x="f123" y="f125"/>
                  </a:cxn>
                  <a:cxn ang="f90">
                    <a:pos x="f126" y="f127"/>
                  </a:cxn>
                  <a:cxn ang="f90">
                    <a:pos x="f128" y="f127"/>
                  </a:cxn>
                  <a:cxn ang="f90">
                    <a:pos x="f129" y="f125"/>
                  </a:cxn>
                  <a:cxn ang="f90">
                    <a:pos x="f95" y="f130"/>
                  </a:cxn>
                  <a:cxn ang="f90">
                    <a:pos x="f131" y="f132"/>
                  </a:cxn>
                  <a:cxn ang="f90">
                    <a:pos x="f133" y="f116"/>
                  </a:cxn>
                  <a:cxn ang="f90">
                    <a:pos x="f134" y="f106"/>
                  </a:cxn>
                  <a:cxn ang="f90">
                    <a:pos x="f91" y="f94"/>
                  </a:cxn>
                </a:cxnLst>
                <a:rect l="f91" t="f94" r="f92" b="f93"/>
                <a:pathLst>
                  <a:path w="47" h="46">
                    <a:moveTo>
                      <a:pt x="f5" y="f5"/>
                    </a:moveTo>
                    <a:lnTo>
                      <a:pt x="f8" y="f9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18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7" y="f25"/>
                    </a:lnTo>
                    <a:lnTo>
                      <a:pt x="f7" y="f26"/>
                    </a:lnTo>
                    <a:lnTo>
                      <a:pt x="f6" y="f27"/>
                    </a:lnTo>
                    <a:lnTo>
                      <a:pt x="f6" y="f28"/>
                    </a:lnTo>
                    <a:lnTo>
                      <a:pt x="f23" y="f14"/>
                    </a:lnTo>
                    <a:lnTo>
                      <a:pt x="f29" y="f14"/>
                    </a:lnTo>
                    <a:lnTo>
                      <a:pt x="f14" y="f16"/>
                    </a:lnTo>
                    <a:lnTo>
                      <a:pt x="f30" y="f29"/>
                    </a:lnTo>
                    <a:lnTo>
                      <a:pt x="f26" y="f31"/>
                    </a:lnTo>
                    <a:lnTo>
                      <a:pt x="f26" y="f23"/>
                    </a:lnTo>
                    <a:lnTo>
                      <a:pt x="f25" y="f7"/>
                    </a:lnTo>
                    <a:lnTo>
                      <a:pt x="f32" y="f7"/>
                    </a:lnTo>
                    <a:lnTo>
                      <a:pt x="f19" y="f23"/>
                    </a:lnTo>
                    <a:lnTo>
                      <a:pt x="f8" y="f33"/>
                    </a:lnTo>
                    <a:lnTo>
                      <a:pt x="f34" y="f18"/>
                    </a:lnTo>
                    <a:lnTo>
                      <a:pt x="f35" y="f27"/>
                    </a:lnTo>
                    <a:lnTo>
                      <a:pt x="f36" y="f19"/>
                    </a:lnTo>
                    <a:lnTo>
                      <a:pt x="f5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225F8828-4F41-406C-B592-E5BE00426833}"/>
                  </a:ext>
                </a:extLst>
              </p:cNvPr>
              <p:cNvSpPr/>
              <p:nvPr/>
            </p:nvSpPr>
            <p:spPr>
              <a:xfrm rot="21447621">
                <a:off x="5159850" y="1024292"/>
                <a:ext cx="88513" cy="9893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56"/>
                  <a:gd name="f7" fmla="val 184"/>
                  <a:gd name="f8" fmla="val 66"/>
                  <a:gd name="f9" fmla="val 69"/>
                  <a:gd name="f10" fmla="val 2"/>
                  <a:gd name="f11" fmla="val 65"/>
                  <a:gd name="f12" fmla="val 6"/>
                  <a:gd name="f13" fmla="val 63"/>
                  <a:gd name="f14" fmla="val 9"/>
                  <a:gd name="f15" fmla="val 62"/>
                  <a:gd name="f16" fmla="val 12"/>
                  <a:gd name="f17" fmla="val 61"/>
                  <a:gd name="f18" fmla="val 14"/>
                  <a:gd name="f19" fmla="val 19"/>
                  <a:gd name="f20" fmla="val 25"/>
                  <a:gd name="f21" fmla="val 64"/>
                  <a:gd name="f22" fmla="val 31"/>
                  <a:gd name="f23" fmla="val 68"/>
                  <a:gd name="f24" fmla="val 34"/>
                  <a:gd name="f25" fmla="val 75"/>
                  <a:gd name="f26" fmla="val 37"/>
                  <a:gd name="f27" fmla="val 85"/>
                  <a:gd name="f28" fmla="val 39"/>
                  <a:gd name="f29" fmla="val 96"/>
                  <a:gd name="f30" fmla="val 38"/>
                  <a:gd name="f31" fmla="val 103"/>
                  <a:gd name="f32" fmla="val 112"/>
                  <a:gd name="f33" fmla="val 36"/>
                  <a:gd name="f34" fmla="val 120"/>
                  <a:gd name="f35" fmla="val 125"/>
                  <a:gd name="f36" fmla="val 129"/>
                  <a:gd name="f37" fmla="val 40"/>
                  <a:gd name="f38" fmla="val 131"/>
                  <a:gd name="f39" fmla="val 45"/>
                  <a:gd name="f40" fmla="val 132"/>
                  <a:gd name="f41" fmla="val 52"/>
                  <a:gd name="f42" fmla="val 59"/>
                  <a:gd name="f43" fmla="val 128"/>
                  <a:gd name="f44" fmla="val 123"/>
                  <a:gd name="f45" fmla="val 67"/>
                  <a:gd name="f46" fmla="val 117"/>
                  <a:gd name="f47" fmla="val 74"/>
                  <a:gd name="f48" fmla="val 111"/>
                  <a:gd name="f49" fmla="val 82"/>
                  <a:gd name="f50" fmla="val 109"/>
                  <a:gd name="f51" fmla="val 90"/>
                  <a:gd name="f52" fmla="val 97"/>
                  <a:gd name="f53" fmla="val 114"/>
                  <a:gd name="f54" fmla="val 104"/>
                  <a:gd name="f55" fmla="val 124"/>
                  <a:gd name="f56" fmla="val 139"/>
                  <a:gd name="f57" fmla="val 115"/>
                  <a:gd name="f58" fmla="val 145"/>
                  <a:gd name="f59" fmla="val 153"/>
                  <a:gd name="f60" fmla="val 130"/>
                  <a:gd name="f61" fmla="val 133"/>
                  <a:gd name="f62" fmla="val 137"/>
                  <a:gd name="f63" fmla="val 155"/>
                  <a:gd name="f64" fmla="val 140"/>
                  <a:gd name="f65" fmla="val 152"/>
                  <a:gd name="f66" fmla="val 157"/>
                  <a:gd name="f67" fmla="val 148"/>
                  <a:gd name="f68" fmla="val 159"/>
                  <a:gd name="f69" fmla="val 158"/>
                  <a:gd name="f70" fmla="val 135"/>
                  <a:gd name="f71" fmla="val 138"/>
                  <a:gd name="f72" fmla="val 151"/>
                  <a:gd name="f73" fmla="val 149"/>
                  <a:gd name="f74" fmla="val 142"/>
                  <a:gd name="f75" fmla="val 147"/>
                  <a:gd name="f76" fmla="val 141"/>
                  <a:gd name="f77" fmla="val 146"/>
                  <a:gd name="f78" fmla="val 136"/>
                  <a:gd name="f79" fmla="val 144"/>
                  <a:gd name="f80" fmla="val 134"/>
                  <a:gd name="f81" fmla="val 126"/>
                  <a:gd name="f82" fmla="val 121"/>
                  <a:gd name="f83" fmla="val 119"/>
                  <a:gd name="f84" fmla="val 107"/>
                  <a:gd name="f85" fmla="val 98"/>
                  <a:gd name="f86" fmla="val 86"/>
                  <a:gd name="f87" fmla="val 83"/>
                  <a:gd name="f88" fmla="val 73"/>
                  <a:gd name="f89" fmla="val 163"/>
                  <a:gd name="f90" fmla="val 164"/>
                  <a:gd name="f91" fmla="val 60"/>
                  <a:gd name="f92" fmla="val 166"/>
                  <a:gd name="f93" fmla="val 167"/>
                  <a:gd name="f94" fmla="val 169"/>
                  <a:gd name="f95" fmla="val 171"/>
                  <a:gd name="f96" fmla="val 173"/>
                  <a:gd name="f97" fmla="val 71"/>
                  <a:gd name="f98" fmla="val 72"/>
                  <a:gd name="f99" fmla="val 174"/>
                  <a:gd name="f100" fmla="val 176"/>
                  <a:gd name="f101" fmla="val 177"/>
                  <a:gd name="f102" fmla="val 179"/>
                  <a:gd name="f103" fmla="val 182"/>
                  <a:gd name="f104" fmla="val 183"/>
                  <a:gd name="f105" fmla="val 70"/>
                  <a:gd name="f106" fmla="val 53"/>
                  <a:gd name="f107" fmla="val 51"/>
                  <a:gd name="f108" fmla="val 181"/>
                  <a:gd name="f109" fmla="val 54"/>
                  <a:gd name="f110" fmla="val 170"/>
                  <a:gd name="f111" fmla="val 33"/>
                  <a:gd name="f112" fmla="val 29"/>
                  <a:gd name="f113" fmla="val 172"/>
                  <a:gd name="f114" fmla="val 13"/>
                  <a:gd name="f115" fmla="val 160"/>
                  <a:gd name="f116" fmla="val 7"/>
                  <a:gd name="f117" fmla="val 5"/>
                  <a:gd name="f118" fmla="val 11"/>
                  <a:gd name="f119" fmla="val 27"/>
                  <a:gd name="f120" fmla="val 30"/>
                  <a:gd name="f121" fmla="val 127"/>
                  <a:gd name="f122" fmla="val 118"/>
                  <a:gd name="f123" fmla="val 22"/>
                  <a:gd name="f124" fmla="val 113"/>
                  <a:gd name="f125" fmla="val 16"/>
                  <a:gd name="f126" fmla="val 101"/>
                  <a:gd name="f127" fmla="val 99"/>
                  <a:gd name="f128" fmla="val 15"/>
                  <a:gd name="f129" fmla="val 95"/>
                  <a:gd name="f130" fmla="val 94"/>
                  <a:gd name="f131" fmla="val 20"/>
                  <a:gd name="f132" fmla="val 92"/>
                  <a:gd name="f133" fmla="val 23"/>
                  <a:gd name="f134" fmla="val 26"/>
                  <a:gd name="f135" fmla="val 91"/>
                  <a:gd name="f136" fmla="val 89"/>
                  <a:gd name="f137" fmla="val 87"/>
                  <a:gd name="f138" fmla="val 28"/>
                  <a:gd name="f139" fmla="val 24"/>
                  <a:gd name="f140" fmla="val 78"/>
                  <a:gd name="f141" fmla="val 18"/>
                  <a:gd name="f142" fmla="val 10"/>
                  <a:gd name="f143" fmla="val 58"/>
                  <a:gd name="f144" fmla="val 56"/>
                  <a:gd name="f145" fmla="val 32"/>
                  <a:gd name="f146" fmla="val 41"/>
                  <a:gd name="f147" fmla="val 43"/>
                  <a:gd name="f148" fmla="val 46"/>
                  <a:gd name="f149" fmla="val 49"/>
                  <a:gd name="f150" fmla="val 48"/>
                  <a:gd name="f151" fmla="val 55"/>
                  <a:gd name="f152" fmla="val 76"/>
                  <a:gd name="f153" fmla="val 77"/>
                  <a:gd name="f154" fmla="val 50"/>
                  <a:gd name="f155" fmla="val 35"/>
                  <a:gd name="f156" fmla="val 47"/>
                  <a:gd name="f157" fmla="val 42"/>
                  <a:gd name="f158" fmla="val 17"/>
                  <a:gd name="f159" fmla="+- 0 0 -90"/>
                  <a:gd name="f160" fmla="*/ f3 1 156"/>
                  <a:gd name="f161" fmla="*/ f4 1 184"/>
                  <a:gd name="f162" fmla="+- f7 0 f5"/>
                  <a:gd name="f163" fmla="+- f6 0 f5"/>
                  <a:gd name="f164" fmla="*/ f159 f0 1"/>
                  <a:gd name="f165" fmla="*/ f163 1 156"/>
                  <a:gd name="f166" fmla="*/ f162 1 184"/>
                  <a:gd name="f167" fmla="*/ f164 1 f2"/>
                  <a:gd name="f168" fmla="*/ 65 1 f165"/>
                  <a:gd name="f169" fmla="*/ 6 1 f166"/>
                  <a:gd name="f170" fmla="*/ 61 1 f165"/>
                  <a:gd name="f171" fmla="*/ 19 1 f166"/>
                  <a:gd name="f172" fmla="*/ 75 1 f165"/>
                  <a:gd name="f173" fmla="*/ 37 1 f166"/>
                  <a:gd name="f174" fmla="*/ 112 1 f165"/>
                  <a:gd name="f175" fmla="*/ 36 1 f166"/>
                  <a:gd name="f176" fmla="*/ 131 1 f165"/>
                  <a:gd name="f177" fmla="*/ 45 1 f166"/>
                  <a:gd name="f178" fmla="*/ 123 1 f165"/>
                  <a:gd name="f179" fmla="*/ 67 1 f166"/>
                  <a:gd name="f180" fmla="*/ 111 1 f165"/>
                  <a:gd name="f181" fmla="*/ 97 1 f166"/>
                  <a:gd name="f182" fmla="*/ 132 1 f165"/>
                  <a:gd name="f183" fmla="*/ 112 1 f166"/>
                  <a:gd name="f184" fmla="*/ 156 1 f165"/>
                  <a:gd name="f185" fmla="*/ 133 1 f166"/>
                  <a:gd name="f186" fmla="*/ 152 1 f165"/>
                  <a:gd name="f187" fmla="*/ 157 1 f166"/>
                  <a:gd name="f188" fmla="*/ 129 1 f165"/>
                  <a:gd name="f189" fmla="*/ 156 1 f166"/>
                  <a:gd name="f190" fmla="*/ 138 1 f165"/>
                  <a:gd name="f191" fmla="*/ 151 1 f166"/>
                  <a:gd name="f192" fmla="*/ 141 1 f165"/>
                  <a:gd name="f193" fmla="*/ 146 1 f166"/>
                  <a:gd name="f194" fmla="*/ 142 1 f166"/>
                  <a:gd name="f195" fmla="*/ 134 1 f165"/>
                  <a:gd name="f196" fmla="*/ 136 1 f166"/>
                  <a:gd name="f197" fmla="*/ 126 1 f165"/>
                  <a:gd name="f198" fmla="*/ 134 1 f166"/>
                  <a:gd name="f199" fmla="*/ 107 1 f165"/>
                  <a:gd name="f200" fmla="*/ 138 1 f166"/>
                  <a:gd name="f201" fmla="*/ 83 1 f165"/>
                  <a:gd name="f202" fmla="*/ 145 1 f166"/>
                  <a:gd name="f203" fmla="*/ 62 1 f165"/>
                  <a:gd name="f204" fmla="*/ 164 1 f166"/>
                  <a:gd name="f205" fmla="*/ 63 1 f165"/>
                  <a:gd name="f206" fmla="*/ 171 1 f166"/>
                  <a:gd name="f207" fmla="*/ 73 1 f165"/>
                  <a:gd name="f208" fmla="*/ 176 1 f166"/>
                  <a:gd name="f209" fmla="*/ 74 1 f165"/>
                  <a:gd name="f210" fmla="*/ 182 1 f166"/>
                  <a:gd name="f211" fmla="*/ 53 1 f165"/>
                  <a:gd name="f212" fmla="*/ 184 1 f166"/>
                  <a:gd name="f213" fmla="*/ 54 1 f165"/>
                  <a:gd name="f214" fmla="*/ 170 1 f166"/>
                  <a:gd name="f215" fmla="*/ 33 1 f165"/>
                  <a:gd name="f216" fmla="*/ 174 1 f166"/>
                  <a:gd name="f217" fmla="*/ 7 1 f165"/>
                  <a:gd name="f218" fmla="*/ 153 1 f166"/>
                  <a:gd name="f219" fmla="*/ 5 1 f165"/>
                  <a:gd name="f220" fmla="*/ 130 1 f166"/>
                  <a:gd name="f221" fmla="*/ 30 1 f165"/>
                  <a:gd name="f222" fmla="*/ 127 1 f166"/>
                  <a:gd name="f223" fmla="*/ 16 1 f165"/>
                  <a:gd name="f224" fmla="*/ 109 1 f166"/>
                  <a:gd name="f225" fmla="*/ 12 1 f165"/>
                  <a:gd name="f226" fmla="*/ 99 1 f166"/>
                  <a:gd name="f227" fmla="*/ 20 1 f165"/>
                  <a:gd name="f228" fmla="*/ 92 1 f166"/>
                  <a:gd name="f229" fmla="*/ 31 1 f165"/>
                  <a:gd name="f230" fmla="*/ 87 1 f166"/>
                  <a:gd name="f231" fmla="*/ 18 1 f165"/>
                  <a:gd name="f232" fmla="*/ 73 1 f166"/>
                  <a:gd name="f233" fmla="*/ 65 1 f166"/>
                  <a:gd name="f234" fmla="*/ 22 1 f165"/>
                  <a:gd name="f235" fmla="*/ 56 1 f166"/>
                  <a:gd name="f236" fmla="*/ 64 1 f166"/>
                  <a:gd name="f237" fmla="*/ 39 1 f165"/>
                  <a:gd name="f238" fmla="*/ 68 1 f166"/>
                  <a:gd name="f239" fmla="*/ 49 1 f165"/>
                  <a:gd name="f240" fmla="*/ 48 1 f166"/>
                  <a:gd name="f241" fmla="*/ 60 1 f166"/>
                  <a:gd name="f242" fmla="*/ 62 1 f166"/>
                  <a:gd name="f243" fmla="*/ 70 1 f165"/>
                  <a:gd name="f244" fmla="*/ 75 1 f166"/>
                  <a:gd name="f245" fmla="*/ 77 1 f166"/>
                  <a:gd name="f246" fmla="*/ 92 1 f165"/>
                  <a:gd name="f247" fmla="*/ 51 1 f166"/>
                  <a:gd name="f248" fmla="*/ 58 1 f165"/>
                  <a:gd name="f249" fmla="*/ 35 1 f166"/>
                  <a:gd name="f250" fmla="*/ 51 1 f165"/>
                  <a:gd name="f251" fmla="*/ 30 1 f166"/>
                  <a:gd name="f252" fmla="*/ 23 1 f166"/>
                  <a:gd name="f253" fmla="*/ 24 1 f165"/>
                  <a:gd name="f254" fmla="*/ 18 1 f166"/>
                  <a:gd name="f255" fmla="*/ 26 1 f165"/>
                  <a:gd name="f256" fmla="*/ 10 1 f166"/>
                  <a:gd name="f257" fmla="*/ 60 1 f165"/>
                  <a:gd name="f258" fmla="*/ 0 1 f166"/>
                  <a:gd name="f259" fmla="*/ 0 1 f165"/>
                  <a:gd name="f260" fmla="*/ f6 1 f165"/>
                  <a:gd name="f261" fmla="*/ f7 1 f166"/>
                  <a:gd name="f262" fmla="+- f167 0 f1"/>
                  <a:gd name="f263" fmla="*/ f259 f160 1"/>
                  <a:gd name="f264" fmla="*/ f260 f160 1"/>
                  <a:gd name="f265" fmla="*/ f261 f161 1"/>
                  <a:gd name="f266" fmla="*/ f258 f161 1"/>
                  <a:gd name="f267" fmla="*/ f168 f160 1"/>
                  <a:gd name="f268" fmla="*/ f169 f161 1"/>
                  <a:gd name="f269" fmla="*/ f170 f160 1"/>
                  <a:gd name="f270" fmla="*/ f171 f161 1"/>
                  <a:gd name="f271" fmla="*/ f172 f160 1"/>
                  <a:gd name="f272" fmla="*/ f173 f161 1"/>
                  <a:gd name="f273" fmla="*/ f174 f160 1"/>
                  <a:gd name="f274" fmla="*/ f175 f161 1"/>
                  <a:gd name="f275" fmla="*/ f176 f160 1"/>
                  <a:gd name="f276" fmla="*/ f177 f161 1"/>
                  <a:gd name="f277" fmla="*/ f178 f160 1"/>
                  <a:gd name="f278" fmla="*/ f179 f161 1"/>
                  <a:gd name="f279" fmla="*/ f180 f160 1"/>
                  <a:gd name="f280" fmla="*/ f181 f161 1"/>
                  <a:gd name="f281" fmla="*/ f182 f160 1"/>
                  <a:gd name="f282" fmla="*/ f183 f161 1"/>
                  <a:gd name="f283" fmla="*/ f184 f160 1"/>
                  <a:gd name="f284" fmla="*/ f185 f161 1"/>
                  <a:gd name="f285" fmla="*/ f186 f160 1"/>
                  <a:gd name="f286" fmla="*/ f187 f161 1"/>
                  <a:gd name="f287" fmla="*/ f188 f160 1"/>
                  <a:gd name="f288" fmla="*/ f189 f161 1"/>
                  <a:gd name="f289" fmla="*/ f190 f160 1"/>
                  <a:gd name="f290" fmla="*/ f191 f161 1"/>
                  <a:gd name="f291" fmla="*/ f192 f160 1"/>
                  <a:gd name="f292" fmla="*/ f193 f161 1"/>
                  <a:gd name="f293" fmla="*/ f194 f161 1"/>
                  <a:gd name="f294" fmla="*/ f195 f160 1"/>
                  <a:gd name="f295" fmla="*/ f196 f161 1"/>
                  <a:gd name="f296" fmla="*/ f197 f160 1"/>
                  <a:gd name="f297" fmla="*/ f198 f161 1"/>
                  <a:gd name="f298" fmla="*/ f199 f160 1"/>
                  <a:gd name="f299" fmla="*/ f200 f161 1"/>
                  <a:gd name="f300" fmla="*/ f201 f160 1"/>
                  <a:gd name="f301" fmla="*/ f202 f161 1"/>
                  <a:gd name="f302" fmla="*/ f203 f160 1"/>
                  <a:gd name="f303" fmla="*/ f204 f161 1"/>
                  <a:gd name="f304" fmla="*/ f205 f160 1"/>
                  <a:gd name="f305" fmla="*/ f206 f161 1"/>
                  <a:gd name="f306" fmla="*/ f207 f160 1"/>
                  <a:gd name="f307" fmla="*/ f208 f161 1"/>
                  <a:gd name="f308" fmla="*/ f209 f160 1"/>
                  <a:gd name="f309" fmla="*/ f210 f161 1"/>
                  <a:gd name="f310" fmla="*/ f211 f160 1"/>
                  <a:gd name="f311" fmla="*/ f212 f161 1"/>
                  <a:gd name="f312" fmla="*/ f213 f160 1"/>
                  <a:gd name="f313" fmla="*/ f214 f161 1"/>
                  <a:gd name="f314" fmla="*/ f215 f160 1"/>
                  <a:gd name="f315" fmla="*/ f216 f161 1"/>
                  <a:gd name="f316" fmla="*/ f217 f160 1"/>
                  <a:gd name="f317" fmla="*/ f218 f161 1"/>
                  <a:gd name="f318" fmla="*/ f219 f160 1"/>
                  <a:gd name="f319" fmla="*/ f220 f161 1"/>
                  <a:gd name="f320" fmla="*/ f221 f160 1"/>
                  <a:gd name="f321" fmla="*/ f222 f161 1"/>
                  <a:gd name="f322" fmla="*/ f223 f160 1"/>
                  <a:gd name="f323" fmla="*/ f224 f161 1"/>
                  <a:gd name="f324" fmla="*/ f225 f160 1"/>
                  <a:gd name="f325" fmla="*/ f226 f161 1"/>
                  <a:gd name="f326" fmla="*/ f227 f160 1"/>
                  <a:gd name="f327" fmla="*/ f228 f161 1"/>
                  <a:gd name="f328" fmla="*/ f229 f160 1"/>
                  <a:gd name="f329" fmla="*/ f230 f161 1"/>
                  <a:gd name="f330" fmla="*/ f231 f160 1"/>
                  <a:gd name="f331" fmla="*/ f232 f161 1"/>
                  <a:gd name="f332" fmla="*/ f233 f161 1"/>
                  <a:gd name="f333" fmla="*/ f234 f160 1"/>
                  <a:gd name="f334" fmla="*/ f235 f161 1"/>
                  <a:gd name="f335" fmla="*/ f236 f161 1"/>
                  <a:gd name="f336" fmla="*/ f237 f160 1"/>
                  <a:gd name="f337" fmla="*/ f238 f161 1"/>
                  <a:gd name="f338" fmla="*/ f239 f160 1"/>
                  <a:gd name="f339" fmla="*/ f240 f161 1"/>
                  <a:gd name="f340" fmla="*/ f241 f161 1"/>
                  <a:gd name="f341" fmla="*/ f242 f161 1"/>
                  <a:gd name="f342" fmla="*/ f243 f160 1"/>
                  <a:gd name="f343" fmla="*/ f244 f161 1"/>
                  <a:gd name="f344" fmla="*/ f245 f161 1"/>
                  <a:gd name="f345" fmla="*/ f246 f160 1"/>
                  <a:gd name="f346" fmla="*/ f247 f161 1"/>
                  <a:gd name="f347" fmla="*/ f248 f160 1"/>
                  <a:gd name="f348" fmla="*/ f249 f161 1"/>
                  <a:gd name="f349" fmla="*/ f250 f160 1"/>
                  <a:gd name="f350" fmla="*/ f251 f161 1"/>
                  <a:gd name="f351" fmla="*/ f252 f161 1"/>
                  <a:gd name="f352" fmla="*/ f253 f160 1"/>
                  <a:gd name="f353" fmla="*/ f254 f161 1"/>
                  <a:gd name="f354" fmla="*/ f255 f160 1"/>
                  <a:gd name="f355" fmla="*/ f256 f161 1"/>
                  <a:gd name="f356" fmla="*/ f257 f16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62">
                    <a:pos x="f267" y="f268"/>
                  </a:cxn>
                  <a:cxn ang="f262">
                    <a:pos x="f269" y="f270"/>
                  </a:cxn>
                  <a:cxn ang="f262">
                    <a:pos x="f271" y="f272"/>
                  </a:cxn>
                  <a:cxn ang="f262">
                    <a:pos x="f273" y="f274"/>
                  </a:cxn>
                  <a:cxn ang="f262">
                    <a:pos x="f275" y="f276"/>
                  </a:cxn>
                  <a:cxn ang="f262">
                    <a:pos x="f277" y="f278"/>
                  </a:cxn>
                  <a:cxn ang="f262">
                    <a:pos x="f279" y="f280"/>
                  </a:cxn>
                  <a:cxn ang="f262">
                    <a:pos x="f281" y="f282"/>
                  </a:cxn>
                  <a:cxn ang="f262">
                    <a:pos x="f283" y="f284"/>
                  </a:cxn>
                  <a:cxn ang="f262">
                    <a:pos x="f285" y="f286"/>
                  </a:cxn>
                  <a:cxn ang="f262">
                    <a:pos x="f287" y="f288"/>
                  </a:cxn>
                  <a:cxn ang="f262">
                    <a:pos x="f289" y="f290"/>
                  </a:cxn>
                  <a:cxn ang="f262">
                    <a:pos x="f291" y="f292"/>
                  </a:cxn>
                  <a:cxn ang="f262">
                    <a:pos x="f281" y="f293"/>
                  </a:cxn>
                  <a:cxn ang="f262">
                    <a:pos x="f294" y="f295"/>
                  </a:cxn>
                  <a:cxn ang="f262">
                    <a:pos x="f296" y="f297"/>
                  </a:cxn>
                  <a:cxn ang="f262">
                    <a:pos x="f298" y="f299"/>
                  </a:cxn>
                  <a:cxn ang="f262">
                    <a:pos x="f300" y="f301"/>
                  </a:cxn>
                  <a:cxn ang="f262">
                    <a:pos x="f302" y="f303"/>
                  </a:cxn>
                  <a:cxn ang="f262">
                    <a:pos x="f304" y="f305"/>
                  </a:cxn>
                  <a:cxn ang="f262">
                    <a:pos x="f306" y="f307"/>
                  </a:cxn>
                  <a:cxn ang="f262">
                    <a:pos x="f308" y="f309"/>
                  </a:cxn>
                  <a:cxn ang="f262">
                    <a:pos x="f310" y="f311"/>
                  </a:cxn>
                  <a:cxn ang="f262">
                    <a:pos x="f312" y="f313"/>
                  </a:cxn>
                  <a:cxn ang="f262">
                    <a:pos x="f314" y="f315"/>
                  </a:cxn>
                  <a:cxn ang="f262">
                    <a:pos x="f316" y="f317"/>
                  </a:cxn>
                  <a:cxn ang="f262">
                    <a:pos x="f318" y="f319"/>
                  </a:cxn>
                  <a:cxn ang="f262">
                    <a:pos x="f320" y="f321"/>
                  </a:cxn>
                  <a:cxn ang="f262">
                    <a:pos x="f322" y="f323"/>
                  </a:cxn>
                  <a:cxn ang="f262">
                    <a:pos x="f324" y="f325"/>
                  </a:cxn>
                  <a:cxn ang="f262">
                    <a:pos x="f326" y="f327"/>
                  </a:cxn>
                  <a:cxn ang="f262">
                    <a:pos x="f328" y="f329"/>
                  </a:cxn>
                  <a:cxn ang="f262">
                    <a:pos x="f330" y="f331"/>
                  </a:cxn>
                  <a:cxn ang="f262">
                    <a:pos x="f318" y="f332"/>
                  </a:cxn>
                  <a:cxn ang="f262">
                    <a:pos x="f333" y="f334"/>
                  </a:cxn>
                  <a:cxn ang="f262">
                    <a:pos x="f314" y="f335"/>
                  </a:cxn>
                  <a:cxn ang="f262">
                    <a:pos x="f336" y="f337"/>
                  </a:cxn>
                  <a:cxn ang="f262">
                    <a:pos x="f338" y="f339"/>
                  </a:cxn>
                  <a:cxn ang="f262">
                    <a:pos x="f310" y="f340"/>
                  </a:cxn>
                  <a:cxn ang="f262">
                    <a:pos x="f304" y="f341"/>
                  </a:cxn>
                  <a:cxn ang="f262">
                    <a:pos x="f342" y="f343"/>
                  </a:cxn>
                  <a:cxn ang="f262">
                    <a:pos x="f300" y="f344"/>
                  </a:cxn>
                  <a:cxn ang="f262">
                    <a:pos x="f345" y="f346"/>
                  </a:cxn>
                  <a:cxn ang="f262">
                    <a:pos x="f304" y="f276"/>
                  </a:cxn>
                  <a:cxn ang="f262">
                    <a:pos x="f347" y="f348"/>
                  </a:cxn>
                  <a:cxn ang="f262">
                    <a:pos x="f349" y="f350"/>
                  </a:cxn>
                  <a:cxn ang="f262">
                    <a:pos x="f320" y="f276"/>
                  </a:cxn>
                  <a:cxn ang="f262">
                    <a:pos x="f336" y="f351"/>
                  </a:cxn>
                  <a:cxn ang="f262">
                    <a:pos x="f352" y="f353"/>
                  </a:cxn>
                  <a:cxn ang="f262">
                    <a:pos x="f354" y="f355"/>
                  </a:cxn>
                  <a:cxn ang="f262">
                    <a:pos x="f356" y="f266"/>
                  </a:cxn>
                </a:cxnLst>
                <a:rect l="f263" t="f266" r="f264" b="f265"/>
                <a:pathLst>
                  <a:path w="156" h="184">
                    <a:moveTo>
                      <a:pt x="f8" y="f5"/>
                    </a:moveTo>
                    <a:lnTo>
                      <a:pt x="f9" y="f5"/>
                    </a:ln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7" y="f19"/>
                    </a:lnTo>
                    <a:lnTo>
                      <a:pt x="f15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26"/>
                    </a:lnTo>
                    <a:lnTo>
                      <a:pt x="f32" y="f33"/>
                    </a:lnTo>
                    <a:lnTo>
                      <a:pt x="f34" y="f33"/>
                    </a:lnTo>
                    <a:lnTo>
                      <a:pt x="f35" y="f30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38" y="f42"/>
                    </a:lnTo>
                    <a:lnTo>
                      <a:pt x="f43" y="f1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51"/>
                    </a:lnTo>
                    <a:lnTo>
                      <a:pt x="f48" y="f52"/>
                    </a:lnTo>
                    <a:lnTo>
                      <a:pt x="f53" y="f54"/>
                    </a:lnTo>
                    <a:lnTo>
                      <a:pt x="f34" y="f50"/>
                    </a:lnTo>
                    <a:lnTo>
                      <a:pt x="f55" y="f48"/>
                    </a:lnTo>
                    <a:lnTo>
                      <a:pt x="f40" y="f32"/>
                    </a:lnTo>
                    <a:lnTo>
                      <a:pt x="f56" y="f57"/>
                    </a:lnTo>
                    <a:lnTo>
                      <a:pt x="f58" y="f34"/>
                    </a:lnTo>
                    <a:lnTo>
                      <a:pt x="f59" y="f60"/>
                    </a:lnTo>
                    <a:lnTo>
                      <a:pt x="f6" y="f61"/>
                    </a:lnTo>
                    <a:lnTo>
                      <a:pt x="f6" y="f62"/>
                    </a:lnTo>
                    <a:lnTo>
                      <a:pt x="f63" y="f64"/>
                    </a:lnTo>
                    <a:lnTo>
                      <a:pt x="f59" y="f65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40" y="f68"/>
                    </a:lnTo>
                    <a:lnTo>
                      <a:pt x="f36" y="f69"/>
                    </a:lnTo>
                    <a:lnTo>
                      <a:pt x="f36" y="f6"/>
                    </a:lnTo>
                    <a:lnTo>
                      <a:pt x="f38" y="f63"/>
                    </a:lnTo>
                    <a:lnTo>
                      <a:pt x="f61" y="f59"/>
                    </a:lnTo>
                    <a:lnTo>
                      <a:pt x="f70" y="f65"/>
                    </a:lnTo>
                    <a:lnTo>
                      <a:pt x="f71" y="f72"/>
                    </a:lnTo>
                    <a:lnTo>
                      <a:pt x="f64" y="f73"/>
                    </a:lnTo>
                    <a:lnTo>
                      <a:pt x="f74" y="f67"/>
                    </a:lnTo>
                    <a:lnTo>
                      <a:pt x="f74" y="f75"/>
                    </a:lnTo>
                    <a:lnTo>
                      <a:pt x="f76" y="f77"/>
                    </a:lnTo>
                    <a:lnTo>
                      <a:pt x="f56" y="f58"/>
                    </a:lnTo>
                    <a:lnTo>
                      <a:pt x="f78" y="f79"/>
                    </a:lnTo>
                    <a:lnTo>
                      <a:pt x="f80" y="f79"/>
                    </a:lnTo>
                    <a:lnTo>
                      <a:pt x="f40" y="f74"/>
                    </a:lnTo>
                    <a:lnTo>
                      <a:pt x="f40" y="f64"/>
                    </a:lnTo>
                    <a:lnTo>
                      <a:pt x="f61" y="f71"/>
                    </a:lnTo>
                    <a:lnTo>
                      <a:pt x="f61" y="f71"/>
                    </a:lnTo>
                    <a:lnTo>
                      <a:pt x="f80" y="f78"/>
                    </a:lnTo>
                    <a:lnTo>
                      <a:pt x="f80" y="f80"/>
                    </a:lnTo>
                    <a:lnTo>
                      <a:pt x="f40" y="f61"/>
                    </a:lnTo>
                    <a:lnTo>
                      <a:pt x="f60" y="f61"/>
                    </a:lnTo>
                    <a:lnTo>
                      <a:pt x="f81" y="f80"/>
                    </a:lnTo>
                    <a:lnTo>
                      <a:pt x="f82" y="f71"/>
                    </a:lnTo>
                    <a:lnTo>
                      <a:pt x="f83" y="f56"/>
                    </a:lnTo>
                    <a:lnTo>
                      <a:pt x="f57" y="f71"/>
                    </a:lnTo>
                    <a:lnTo>
                      <a:pt x="f84" y="f71"/>
                    </a:lnTo>
                    <a:lnTo>
                      <a:pt x="f85" y="f71"/>
                    </a:lnTo>
                    <a:lnTo>
                      <a:pt x="f51" y="f56"/>
                    </a:lnTo>
                    <a:lnTo>
                      <a:pt x="f86" y="f76"/>
                    </a:lnTo>
                    <a:lnTo>
                      <a:pt x="f87" y="f58"/>
                    </a:lnTo>
                    <a:lnTo>
                      <a:pt x="f88" y="f68"/>
                    </a:lnTo>
                    <a:lnTo>
                      <a:pt x="f9" y="f89"/>
                    </a:lnTo>
                    <a:lnTo>
                      <a:pt x="f45" y="f90"/>
                    </a:lnTo>
                    <a:lnTo>
                      <a:pt x="f15" y="f90"/>
                    </a:lnTo>
                    <a:lnTo>
                      <a:pt x="f91" y="f92"/>
                    </a:lnTo>
                    <a:lnTo>
                      <a:pt x="f91" y="f93"/>
                    </a:lnTo>
                    <a:lnTo>
                      <a:pt x="f17" y="f94"/>
                    </a:lnTo>
                    <a:lnTo>
                      <a:pt x="f13" y="f95"/>
                    </a:lnTo>
                    <a:lnTo>
                      <a:pt x="f9" y="f96"/>
                    </a:lnTo>
                    <a:lnTo>
                      <a:pt x="f97" y="f96"/>
                    </a:lnTo>
                    <a:lnTo>
                      <a:pt x="f98" y="f99"/>
                    </a:lnTo>
                    <a:lnTo>
                      <a:pt x="f88" y="f100"/>
                    </a:lnTo>
                    <a:lnTo>
                      <a:pt x="f47" y="f101"/>
                    </a:lnTo>
                    <a:lnTo>
                      <a:pt x="f25" y="f102"/>
                    </a:lnTo>
                    <a:lnTo>
                      <a:pt x="f47" y="f2"/>
                    </a:lnTo>
                    <a:lnTo>
                      <a:pt x="f47" y="f103"/>
                    </a:lnTo>
                    <a:lnTo>
                      <a:pt x="f98" y="f104"/>
                    </a:lnTo>
                    <a:lnTo>
                      <a:pt x="f105" y="f104"/>
                    </a:lnTo>
                    <a:lnTo>
                      <a:pt x="f21" y="f7"/>
                    </a:lnTo>
                    <a:lnTo>
                      <a:pt x="f106" y="f7"/>
                    </a:lnTo>
                    <a:lnTo>
                      <a:pt x="f107" y="f108"/>
                    </a:lnTo>
                    <a:lnTo>
                      <a:pt x="f107" y="f102"/>
                    </a:lnTo>
                    <a:lnTo>
                      <a:pt x="f109" y="f96"/>
                    </a:lnTo>
                    <a:lnTo>
                      <a:pt x="f109" y="f110"/>
                    </a:lnTo>
                    <a:lnTo>
                      <a:pt x="f107" y="f110"/>
                    </a:lnTo>
                    <a:lnTo>
                      <a:pt x="f39" y="f95"/>
                    </a:lnTo>
                    <a:lnTo>
                      <a:pt x="f28" y="f96"/>
                    </a:lnTo>
                    <a:lnTo>
                      <a:pt x="f111" y="f99"/>
                    </a:lnTo>
                    <a:lnTo>
                      <a:pt x="f112" y="f99"/>
                    </a:lnTo>
                    <a:lnTo>
                      <a:pt x="f20" y="f113"/>
                    </a:lnTo>
                    <a:lnTo>
                      <a:pt x="f114" y="f115"/>
                    </a:lnTo>
                    <a:lnTo>
                      <a:pt x="f116" y="f59"/>
                    </a:lnTo>
                    <a:lnTo>
                      <a:pt x="f10" y="f77"/>
                    </a:lnTo>
                    <a:lnTo>
                      <a:pt x="f5" y="f64"/>
                    </a:lnTo>
                    <a:lnTo>
                      <a:pt x="f10" y="f80"/>
                    </a:lnTo>
                    <a:lnTo>
                      <a:pt x="f117" y="f60"/>
                    </a:lnTo>
                    <a:lnTo>
                      <a:pt x="f118" y="f36"/>
                    </a:lnTo>
                    <a:lnTo>
                      <a:pt x="f119" y="f36"/>
                    </a:lnTo>
                    <a:lnTo>
                      <a:pt x="f112" y="f43"/>
                    </a:lnTo>
                    <a:lnTo>
                      <a:pt x="f120" y="f121"/>
                    </a:lnTo>
                    <a:lnTo>
                      <a:pt x="f120" y="f44"/>
                    </a:lnTo>
                    <a:lnTo>
                      <a:pt x="f119" y="f122"/>
                    </a:lnTo>
                    <a:lnTo>
                      <a:pt x="f123" y="f124"/>
                    </a:lnTo>
                    <a:lnTo>
                      <a:pt x="f125" y="f50"/>
                    </a:lnTo>
                    <a:lnTo>
                      <a:pt x="f16" y="f84"/>
                    </a:lnTo>
                    <a:lnTo>
                      <a:pt x="f118" y="f84"/>
                    </a:lnTo>
                    <a:lnTo>
                      <a:pt x="f118" y="f126"/>
                    </a:lnTo>
                    <a:lnTo>
                      <a:pt x="f16" y="f127"/>
                    </a:lnTo>
                    <a:lnTo>
                      <a:pt x="f18" y="f52"/>
                    </a:lnTo>
                    <a:lnTo>
                      <a:pt x="f128" y="f129"/>
                    </a:lnTo>
                    <a:lnTo>
                      <a:pt x="f125" y="f130"/>
                    </a:lnTo>
                    <a:lnTo>
                      <a:pt x="f131" y="f132"/>
                    </a:lnTo>
                    <a:lnTo>
                      <a:pt x="f133" y="f132"/>
                    </a:lnTo>
                    <a:lnTo>
                      <a:pt x="f134" y="f135"/>
                    </a:lnTo>
                    <a:lnTo>
                      <a:pt x="f120" y="f136"/>
                    </a:lnTo>
                    <a:lnTo>
                      <a:pt x="f22" y="f137"/>
                    </a:lnTo>
                    <a:lnTo>
                      <a:pt x="f22" y="f86"/>
                    </a:lnTo>
                    <a:lnTo>
                      <a:pt x="f138" y="f87"/>
                    </a:lnTo>
                    <a:lnTo>
                      <a:pt x="f139" y="f140"/>
                    </a:lnTo>
                    <a:lnTo>
                      <a:pt x="f141" y="f88"/>
                    </a:lnTo>
                    <a:lnTo>
                      <a:pt x="f16" y="f105"/>
                    </a:lnTo>
                    <a:lnTo>
                      <a:pt x="f14" y="f23"/>
                    </a:lnTo>
                    <a:lnTo>
                      <a:pt x="f12" y="f45"/>
                    </a:lnTo>
                    <a:lnTo>
                      <a:pt x="f117" y="f11"/>
                    </a:lnTo>
                    <a:lnTo>
                      <a:pt x="f117" y="f13"/>
                    </a:lnTo>
                    <a:lnTo>
                      <a:pt x="f116" y="f42"/>
                    </a:lnTo>
                    <a:lnTo>
                      <a:pt x="f142" y="f143"/>
                    </a:lnTo>
                    <a:lnTo>
                      <a:pt x="f123" y="f144"/>
                    </a:lnTo>
                    <a:lnTo>
                      <a:pt x="f138" y="f144"/>
                    </a:lnTo>
                    <a:lnTo>
                      <a:pt x="f22" y="f42"/>
                    </a:lnTo>
                    <a:lnTo>
                      <a:pt x="f145" y="f17"/>
                    </a:lnTo>
                    <a:lnTo>
                      <a:pt x="f111" y="f21"/>
                    </a:lnTo>
                    <a:lnTo>
                      <a:pt x="f24" y="f8"/>
                    </a:lnTo>
                    <a:lnTo>
                      <a:pt x="f26" y="f9"/>
                    </a:lnTo>
                    <a:lnTo>
                      <a:pt x="f30" y="f9"/>
                    </a:lnTo>
                    <a:lnTo>
                      <a:pt x="f28" y="f23"/>
                    </a:lnTo>
                    <a:lnTo>
                      <a:pt x="f146" y="f21"/>
                    </a:lnTo>
                    <a:lnTo>
                      <a:pt x="f147" y="f42"/>
                    </a:lnTo>
                    <a:lnTo>
                      <a:pt x="f148" y="f106"/>
                    </a:lnTo>
                    <a:lnTo>
                      <a:pt x="f149" y="f150"/>
                    </a:lnTo>
                    <a:lnTo>
                      <a:pt x="f107" y="f39"/>
                    </a:lnTo>
                    <a:lnTo>
                      <a:pt x="f41" y="f39"/>
                    </a:lnTo>
                    <a:lnTo>
                      <a:pt x="f41" y="f151"/>
                    </a:lnTo>
                    <a:lnTo>
                      <a:pt x="f106" y="f91"/>
                    </a:lnTo>
                    <a:lnTo>
                      <a:pt x="f109" y="f21"/>
                    </a:lnTo>
                    <a:lnTo>
                      <a:pt x="f144" y="f11"/>
                    </a:lnTo>
                    <a:lnTo>
                      <a:pt x="f91" y="f13"/>
                    </a:lnTo>
                    <a:lnTo>
                      <a:pt x="f13" y="f15"/>
                    </a:lnTo>
                    <a:lnTo>
                      <a:pt x="f45" y="f15"/>
                    </a:lnTo>
                    <a:lnTo>
                      <a:pt x="f9" y="f13"/>
                    </a:lnTo>
                    <a:lnTo>
                      <a:pt x="f105" y="f11"/>
                    </a:lnTo>
                    <a:lnTo>
                      <a:pt x="f105" y="f25"/>
                    </a:lnTo>
                    <a:lnTo>
                      <a:pt x="f97" y="f152"/>
                    </a:lnTo>
                    <a:lnTo>
                      <a:pt x="f88" y="f153"/>
                    </a:lnTo>
                    <a:lnTo>
                      <a:pt x="f152" y="f140"/>
                    </a:lnTo>
                    <a:lnTo>
                      <a:pt x="f87" y="f153"/>
                    </a:lnTo>
                    <a:lnTo>
                      <a:pt x="f51" y="f47"/>
                    </a:lnTo>
                    <a:lnTo>
                      <a:pt x="f130" y="f105"/>
                    </a:lnTo>
                    <a:lnTo>
                      <a:pt x="f130" y="f106"/>
                    </a:lnTo>
                    <a:lnTo>
                      <a:pt x="f132" y="f107"/>
                    </a:lnTo>
                    <a:lnTo>
                      <a:pt x="f51" y="f154"/>
                    </a:lnTo>
                    <a:lnTo>
                      <a:pt x="f153" y="f154"/>
                    </a:lnTo>
                    <a:lnTo>
                      <a:pt x="f9" y="f149"/>
                    </a:lnTo>
                    <a:lnTo>
                      <a:pt x="f13" y="f39"/>
                    </a:lnTo>
                    <a:lnTo>
                      <a:pt x="f17" y="f147"/>
                    </a:lnTo>
                    <a:lnTo>
                      <a:pt x="f91" y="f37"/>
                    </a:lnTo>
                    <a:lnTo>
                      <a:pt x="f42" y="f30"/>
                    </a:lnTo>
                    <a:lnTo>
                      <a:pt x="f143" y="f155"/>
                    </a:lnTo>
                    <a:lnTo>
                      <a:pt x="f144" y="f22"/>
                    </a:lnTo>
                    <a:lnTo>
                      <a:pt x="f109" y="f120"/>
                    </a:lnTo>
                    <a:lnTo>
                      <a:pt x="f106" y="f112"/>
                    </a:lnTo>
                    <a:lnTo>
                      <a:pt x="f107" y="f120"/>
                    </a:lnTo>
                    <a:lnTo>
                      <a:pt x="f156" y="f111"/>
                    </a:lnTo>
                    <a:lnTo>
                      <a:pt x="f26" y="f147"/>
                    </a:lnTo>
                    <a:lnTo>
                      <a:pt x="f111" y="f148"/>
                    </a:lnTo>
                    <a:lnTo>
                      <a:pt x="f120" y="f39"/>
                    </a:lnTo>
                    <a:lnTo>
                      <a:pt x="f120" y="f157"/>
                    </a:lnTo>
                    <a:lnTo>
                      <a:pt x="f22" y="f30"/>
                    </a:lnTo>
                    <a:lnTo>
                      <a:pt x="f26" y="f138"/>
                    </a:lnTo>
                    <a:lnTo>
                      <a:pt x="f28" y="f133"/>
                    </a:lnTo>
                    <a:lnTo>
                      <a:pt x="f37" y="f131"/>
                    </a:lnTo>
                    <a:lnTo>
                      <a:pt x="f26" y="f141"/>
                    </a:lnTo>
                    <a:lnTo>
                      <a:pt x="f120" y="f158"/>
                    </a:lnTo>
                    <a:lnTo>
                      <a:pt x="f139" y="f141"/>
                    </a:lnTo>
                    <a:lnTo>
                      <a:pt x="f131" y="f141"/>
                    </a:lnTo>
                    <a:lnTo>
                      <a:pt x="f141" y="f158"/>
                    </a:lnTo>
                    <a:lnTo>
                      <a:pt x="f19" y="f18"/>
                    </a:lnTo>
                    <a:lnTo>
                      <a:pt x="f134" y="f142"/>
                    </a:lnTo>
                    <a:lnTo>
                      <a:pt x="f155" y="f116"/>
                    </a:lnTo>
                    <a:lnTo>
                      <a:pt x="f39" y="f117"/>
                    </a:lnTo>
                    <a:lnTo>
                      <a:pt x="f106" y="f10"/>
                    </a:lnTo>
                    <a:lnTo>
                      <a:pt x="f91" y="f5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0DBC92E8-BC9E-45AC-AD5F-C9C1558F4867}"/>
                  </a:ext>
                </a:extLst>
              </p:cNvPr>
              <p:cNvSpPr/>
              <p:nvPr/>
            </p:nvSpPr>
            <p:spPr>
              <a:xfrm rot="21447621">
                <a:off x="4869381" y="1079056"/>
                <a:ext cx="43123" cy="3065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76"/>
                  <a:gd name="f7" fmla="val 57"/>
                  <a:gd name="f8" fmla="val 23"/>
                  <a:gd name="f9" fmla="val 30"/>
                  <a:gd name="f10" fmla="val 2"/>
                  <a:gd name="f11" fmla="val 39"/>
                  <a:gd name="f12" fmla="val 5"/>
                  <a:gd name="f13" fmla="val 49"/>
                  <a:gd name="f14" fmla="val 10"/>
                  <a:gd name="f15" fmla="val 58"/>
                  <a:gd name="f16" fmla="val 14"/>
                  <a:gd name="f17" fmla="val 62"/>
                  <a:gd name="f18" fmla="val 19"/>
                  <a:gd name="f19" fmla="val 64"/>
                  <a:gd name="f20" fmla="val 72"/>
                  <a:gd name="f21" fmla="val 35"/>
                  <a:gd name="f22" fmla="val 75"/>
                  <a:gd name="f23" fmla="val 41"/>
                  <a:gd name="f24" fmla="val 46"/>
                  <a:gd name="f25" fmla="val 48"/>
                  <a:gd name="f26" fmla="val 68"/>
                  <a:gd name="f27" fmla="val 52"/>
                  <a:gd name="f28" fmla="val 45"/>
                  <a:gd name="f29" fmla="val 42"/>
                  <a:gd name="f30" fmla="val 47"/>
                  <a:gd name="f31" fmla="val 38"/>
                  <a:gd name="f32" fmla="val 51"/>
                  <a:gd name="f33" fmla="val 36"/>
                  <a:gd name="f34" fmla="val 55"/>
                  <a:gd name="f35" fmla="val 34"/>
                  <a:gd name="f36" fmla="val 56"/>
                  <a:gd name="f37" fmla="val 33"/>
                  <a:gd name="f38" fmla="val 31"/>
                  <a:gd name="f39" fmla="val 29"/>
                  <a:gd name="f40" fmla="val 27"/>
                  <a:gd name="f41" fmla="val 26"/>
                  <a:gd name="f42" fmla="val 25"/>
                  <a:gd name="f43" fmla="val 22"/>
                  <a:gd name="f44" fmla="val 37"/>
                  <a:gd name="f45" fmla="val 6"/>
                  <a:gd name="f46" fmla="val 28"/>
                  <a:gd name="f47" fmla="val 21"/>
                  <a:gd name="f48" fmla="val 9"/>
                  <a:gd name="f49" fmla="val 13"/>
                  <a:gd name="f50" fmla="val 7"/>
                  <a:gd name="f51" fmla="+- 0 0 -90"/>
                  <a:gd name="f52" fmla="*/ f3 1 76"/>
                  <a:gd name="f53" fmla="*/ f4 1 57"/>
                  <a:gd name="f54" fmla="+- f7 0 f5"/>
                  <a:gd name="f55" fmla="+- f6 0 f5"/>
                  <a:gd name="f56" fmla="*/ f51 f0 1"/>
                  <a:gd name="f57" fmla="*/ f55 1 76"/>
                  <a:gd name="f58" fmla="*/ f54 1 57"/>
                  <a:gd name="f59" fmla="*/ f56 1 f2"/>
                  <a:gd name="f60" fmla="*/ 23 1 f57"/>
                  <a:gd name="f61" fmla="*/ 0 1 f58"/>
                  <a:gd name="f62" fmla="*/ 30 1 f57"/>
                  <a:gd name="f63" fmla="*/ 2 1 f58"/>
                  <a:gd name="f64" fmla="*/ 39 1 f57"/>
                  <a:gd name="f65" fmla="*/ 5 1 f58"/>
                  <a:gd name="f66" fmla="*/ 49 1 f57"/>
                  <a:gd name="f67" fmla="*/ 10 1 f58"/>
                  <a:gd name="f68" fmla="*/ 58 1 f57"/>
                  <a:gd name="f69" fmla="*/ 14 1 f58"/>
                  <a:gd name="f70" fmla="*/ 62 1 f57"/>
                  <a:gd name="f71" fmla="*/ 19 1 f58"/>
                  <a:gd name="f72" fmla="*/ 64 1 f57"/>
                  <a:gd name="f73" fmla="*/ 23 1 f58"/>
                  <a:gd name="f74" fmla="*/ 72 1 f57"/>
                  <a:gd name="f75" fmla="*/ 35 1 f58"/>
                  <a:gd name="f76" fmla="*/ 75 1 f57"/>
                  <a:gd name="f77" fmla="*/ 41 1 f58"/>
                  <a:gd name="f78" fmla="*/ 76 1 f57"/>
                  <a:gd name="f79" fmla="*/ 46 1 f58"/>
                  <a:gd name="f80" fmla="*/ 48 1 f58"/>
                  <a:gd name="f81" fmla="*/ 68 1 f57"/>
                  <a:gd name="f82" fmla="*/ 52 1 f57"/>
                  <a:gd name="f83" fmla="*/ 45 1 f57"/>
                  <a:gd name="f84" fmla="*/ 42 1 f57"/>
                  <a:gd name="f85" fmla="*/ 47 1 f58"/>
                  <a:gd name="f86" fmla="*/ 38 1 f57"/>
                  <a:gd name="f87" fmla="*/ 51 1 f58"/>
                  <a:gd name="f88" fmla="*/ 36 1 f57"/>
                  <a:gd name="f89" fmla="*/ 55 1 f58"/>
                  <a:gd name="f90" fmla="*/ 34 1 f57"/>
                  <a:gd name="f91" fmla="*/ 56 1 f58"/>
                  <a:gd name="f92" fmla="*/ 33 1 f57"/>
                  <a:gd name="f93" fmla="*/ 57 1 f58"/>
                  <a:gd name="f94" fmla="*/ 31 1 f57"/>
                  <a:gd name="f95" fmla="*/ 29 1 f57"/>
                  <a:gd name="f96" fmla="*/ 52 1 f58"/>
                  <a:gd name="f97" fmla="*/ 27 1 f57"/>
                  <a:gd name="f98" fmla="*/ 26 1 f57"/>
                  <a:gd name="f99" fmla="*/ 42 1 f58"/>
                  <a:gd name="f100" fmla="*/ 25 1 f57"/>
                  <a:gd name="f101" fmla="*/ 38 1 f58"/>
                  <a:gd name="f102" fmla="*/ 22 1 f57"/>
                  <a:gd name="f103" fmla="*/ 37 1 f58"/>
                  <a:gd name="f104" fmla="*/ 6 1 f57"/>
                  <a:gd name="f105" fmla="*/ 2 1 f57"/>
                  <a:gd name="f106" fmla="*/ 36 1 f58"/>
                  <a:gd name="f107" fmla="*/ 0 1 f57"/>
                  <a:gd name="f108" fmla="*/ 33 1 f58"/>
                  <a:gd name="f109" fmla="*/ 28 1 f58"/>
                  <a:gd name="f110" fmla="*/ 5 1 f57"/>
                  <a:gd name="f111" fmla="*/ 21 1 f58"/>
                  <a:gd name="f112" fmla="*/ 9 1 f57"/>
                  <a:gd name="f113" fmla="*/ 13 1 f58"/>
                  <a:gd name="f114" fmla="*/ 14 1 f57"/>
                  <a:gd name="f115" fmla="*/ 7 1 f58"/>
                  <a:gd name="f116" fmla="*/ 19 1 f57"/>
                  <a:gd name="f117" fmla="*/ f6 1 f57"/>
                  <a:gd name="f118" fmla="*/ f7 1 f58"/>
                  <a:gd name="f119" fmla="+- f59 0 f1"/>
                  <a:gd name="f120" fmla="*/ f107 f52 1"/>
                  <a:gd name="f121" fmla="*/ f117 f52 1"/>
                  <a:gd name="f122" fmla="*/ f118 f53 1"/>
                  <a:gd name="f123" fmla="*/ f61 f53 1"/>
                  <a:gd name="f124" fmla="*/ f60 f52 1"/>
                  <a:gd name="f125" fmla="*/ f62 f52 1"/>
                  <a:gd name="f126" fmla="*/ f63 f53 1"/>
                  <a:gd name="f127" fmla="*/ f64 f52 1"/>
                  <a:gd name="f128" fmla="*/ f65 f53 1"/>
                  <a:gd name="f129" fmla="*/ f66 f52 1"/>
                  <a:gd name="f130" fmla="*/ f67 f53 1"/>
                  <a:gd name="f131" fmla="*/ f68 f52 1"/>
                  <a:gd name="f132" fmla="*/ f69 f53 1"/>
                  <a:gd name="f133" fmla="*/ f70 f52 1"/>
                  <a:gd name="f134" fmla="*/ f71 f53 1"/>
                  <a:gd name="f135" fmla="*/ f72 f52 1"/>
                  <a:gd name="f136" fmla="*/ f73 f53 1"/>
                  <a:gd name="f137" fmla="*/ f74 f52 1"/>
                  <a:gd name="f138" fmla="*/ f75 f53 1"/>
                  <a:gd name="f139" fmla="*/ f76 f52 1"/>
                  <a:gd name="f140" fmla="*/ f77 f53 1"/>
                  <a:gd name="f141" fmla="*/ f78 f52 1"/>
                  <a:gd name="f142" fmla="*/ f79 f53 1"/>
                  <a:gd name="f143" fmla="*/ f80 f53 1"/>
                  <a:gd name="f144" fmla="*/ f81 f52 1"/>
                  <a:gd name="f145" fmla="*/ f82 f52 1"/>
                  <a:gd name="f146" fmla="*/ f83 f52 1"/>
                  <a:gd name="f147" fmla="*/ f84 f52 1"/>
                  <a:gd name="f148" fmla="*/ f85 f53 1"/>
                  <a:gd name="f149" fmla="*/ f86 f52 1"/>
                  <a:gd name="f150" fmla="*/ f87 f53 1"/>
                  <a:gd name="f151" fmla="*/ f88 f52 1"/>
                  <a:gd name="f152" fmla="*/ f89 f53 1"/>
                  <a:gd name="f153" fmla="*/ f90 f52 1"/>
                  <a:gd name="f154" fmla="*/ f91 f53 1"/>
                  <a:gd name="f155" fmla="*/ f92 f52 1"/>
                  <a:gd name="f156" fmla="*/ f93 f53 1"/>
                  <a:gd name="f157" fmla="*/ f94 f52 1"/>
                  <a:gd name="f158" fmla="*/ f95 f52 1"/>
                  <a:gd name="f159" fmla="*/ f96 f53 1"/>
                  <a:gd name="f160" fmla="*/ f97 f52 1"/>
                  <a:gd name="f161" fmla="*/ f98 f52 1"/>
                  <a:gd name="f162" fmla="*/ f99 f53 1"/>
                  <a:gd name="f163" fmla="*/ f100 f52 1"/>
                  <a:gd name="f164" fmla="*/ f101 f53 1"/>
                  <a:gd name="f165" fmla="*/ f102 f52 1"/>
                  <a:gd name="f166" fmla="*/ f103 f53 1"/>
                  <a:gd name="f167" fmla="*/ f104 f52 1"/>
                  <a:gd name="f168" fmla="*/ f105 f52 1"/>
                  <a:gd name="f169" fmla="*/ f106 f53 1"/>
                  <a:gd name="f170" fmla="*/ f108 f53 1"/>
                  <a:gd name="f171" fmla="*/ f109 f53 1"/>
                  <a:gd name="f172" fmla="*/ f110 f52 1"/>
                  <a:gd name="f173" fmla="*/ f111 f53 1"/>
                  <a:gd name="f174" fmla="*/ f112 f52 1"/>
                  <a:gd name="f175" fmla="*/ f113 f53 1"/>
                  <a:gd name="f176" fmla="*/ f114 f52 1"/>
                  <a:gd name="f177" fmla="*/ f115 f53 1"/>
                  <a:gd name="f178" fmla="*/ f116 f5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19">
                    <a:pos x="f124" y="f123"/>
                  </a:cxn>
                  <a:cxn ang="f119">
                    <a:pos x="f125" y="f126"/>
                  </a:cxn>
                  <a:cxn ang="f119">
                    <a:pos x="f127" y="f128"/>
                  </a:cxn>
                  <a:cxn ang="f119">
                    <a:pos x="f129" y="f130"/>
                  </a:cxn>
                  <a:cxn ang="f119">
                    <a:pos x="f131" y="f132"/>
                  </a:cxn>
                  <a:cxn ang="f119">
                    <a:pos x="f133" y="f134"/>
                  </a:cxn>
                  <a:cxn ang="f119">
                    <a:pos x="f135" y="f136"/>
                  </a:cxn>
                  <a:cxn ang="f119">
                    <a:pos x="f137" y="f138"/>
                  </a:cxn>
                  <a:cxn ang="f119">
                    <a:pos x="f139" y="f140"/>
                  </a:cxn>
                  <a:cxn ang="f119">
                    <a:pos x="f141" y="f142"/>
                  </a:cxn>
                  <a:cxn ang="f119">
                    <a:pos x="f139" y="f143"/>
                  </a:cxn>
                  <a:cxn ang="f119">
                    <a:pos x="f144" y="f143"/>
                  </a:cxn>
                  <a:cxn ang="f119">
                    <a:pos x="f145" y="f142"/>
                  </a:cxn>
                  <a:cxn ang="f119">
                    <a:pos x="f146" y="f142"/>
                  </a:cxn>
                  <a:cxn ang="f119">
                    <a:pos x="f147" y="f148"/>
                  </a:cxn>
                  <a:cxn ang="f119">
                    <a:pos x="f149" y="f150"/>
                  </a:cxn>
                  <a:cxn ang="f119">
                    <a:pos x="f151" y="f152"/>
                  </a:cxn>
                  <a:cxn ang="f119">
                    <a:pos x="f153" y="f154"/>
                  </a:cxn>
                  <a:cxn ang="f119">
                    <a:pos x="f155" y="f156"/>
                  </a:cxn>
                  <a:cxn ang="f119">
                    <a:pos x="f157" y="f154"/>
                  </a:cxn>
                  <a:cxn ang="f119">
                    <a:pos x="f158" y="f159"/>
                  </a:cxn>
                  <a:cxn ang="f119">
                    <a:pos x="f160" y="f148"/>
                  </a:cxn>
                  <a:cxn ang="f119">
                    <a:pos x="f161" y="f162"/>
                  </a:cxn>
                  <a:cxn ang="f119">
                    <a:pos x="f163" y="f164"/>
                  </a:cxn>
                  <a:cxn ang="f119">
                    <a:pos x="f165" y="f166"/>
                  </a:cxn>
                  <a:cxn ang="f119">
                    <a:pos x="f167" y="f166"/>
                  </a:cxn>
                  <a:cxn ang="f119">
                    <a:pos x="f168" y="f169"/>
                  </a:cxn>
                  <a:cxn ang="f119">
                    <a:pos x="f120" y="f170"/>
                  </a:cxn>
                  <a:cxn ang="f119">
                    <a:pos x="f168" y="f171"/>
                  </a:cxn>
                  <a:cxn ang="f119">
                    <a:pos x="f172" y="f173"/>
                  </a:cxn>
                  <a:cxn ang="f119">
                    <a:pos x="f174" y="f175"/>
                  </a:cxn>
                  <a:cxn ang="f119">
                    <a:pos x="f176" y="f177"/>
                  </a:cxn>
                  <a:cxn ang="f119">
                    <a:pos x="f178" y="f126"/>
                  </a:cxn>
                  <a:cxn ang="f119">
                    <a:pos x="f124" y="f123"/>
                  </a:cxn>
                </a:cxnLst>
                <a:rect l="f120" t="f123" r="f121" b="f122"/>
                <a:pathLst>
                  <a:path w="76" h="57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8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6" y="f24"/>
                    </a:lnTo>
                    <a:lnTo>
                      <a:pt x="f22" y="f25"/>
                    </a:lnTo>
                    <a:lnTo>
                      <a:pt x="f26" y="f25"/>
                    </a:lnTo>
                    <a:lnTo>
                      <a:pt x="f27" y="f24"/>
                    </a:lnTo>
                    <a:lnTo>
                      <a:pt x="f28" y="f24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7"/>
                    </a:lnTo>
                    <a:lnTo>
                      <a:pt x="f38" y="f36"/>
                    </a:lnTo>
                    <a:lnTo>
                      <a:pt x="f39" y="f27"/>
                    </a:lnTo>
                    <a:lnTo>
                      <a:pt x="f40" y="f30"/>
                    </a:lnTo>
                    <a:lnTo>
                      <a:pt x="f41" y="f29"/>
                    </a:lnTo>
                    <a:lnTo>
                      <a:pt x="f42" y="f31"/>
                    </a:lnTo>
                    <a:lnTo>
                      <a:pt x="f43" y="f44"/>
                    </a:lnTo>
                    <a:lnTo>
                      <a:pt x="f45" y="f44"/>
                    </a:lnTo>
                    <a:lnTo>
                      <a:pt x="f10" y="f33"/>
                    </a:lnTo>
                    <a:lnTo>
                      <a:pt x="f5" y="f37"/>
                    </a:lnTo>
                    <a:lnTo>
                      <a:pt x="f10" y="f46"/>
                    </a:lnTo>
                    <a:lnTo>
                      <a:pt x="f12" y="f47"/>
                    </a:lnTo>
                    <a:lnTo>
                      <a:pt x="f48" y="f49"/>
                    </a:lnTo>
                    <a:lnTo>
                      <a:pt x="f16" y="f50"/>
                    </a:lnTo>
                    <a:lnTo>
                      <a:pt x="f18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AB255229-6A3C-4A00-8CC9-D95F6F1B5C26}"/>
                  </a:ext>
                </a:extLst>
              </p:cNvPr>
              <p:cNvSpPr/>
              <p:nvPr/>
            </p:nvSpPr>
            <p:spPr>
              <a:xfrm rot="21447621">
                <a:off x="4927217" y="1186918"/>
                <a:ext cx="14182" cy="1613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5"/>
                  <a:gd name="f7" fmla="val 30"/>
                  <a:gd name="f8" fmla="val 21"/>
                  <a:gd name="f9" fmla="val 24"/>
                  <a:gd name="f10" fmla="val 3"/>
                  <a:gd name="f11" fmla="val 11"/>
                  <a:gd name="f12" fmla="val 20"/>
                  <a:gd name="f13" fmla="val 22"/>
                  <a:gd name="f14" fmla="val 27"/>
                  <a:gd name="f15" fmla="val 12"/>
                  <a:gd name="f16" fmla="val 29"/>
                  <a:gd name="f17" fmla="val 7"/>
                  <a:gd name="f18" fmla="val 28"/>
                  <a:gd name="f19" fmla="val 1"/>
                  <a:gd name="f20" fmla="val 19"/>
                  <a:gd name="f21" fmla="val 16"/>
                  <a:gd name="f22" fmla="val 14"/>
                  <a:gd name="f23" fmla="val 6"/>
                  <a:gd name="f24" fmla="val 8"/>
                  <a:gd name="f25" fmla="val 2"/>
                  <a:gd name="f26" fmla="+- 0 0 -90"/>
                  <a:gd name="f27" fmla="*/ f3 1 25"/>
                  <a:gd name="f28" fmla="*/ f4 1 30"/>
                  <a:gd name="f29" fmla="+- f7 0 f5"/>
                  <a:gd name="f30" fmla="+- f6 0 f5"/>
                  <a:gd name="f31" fmla="*/ f26 f0 1"/>
                  <a:gd name="f32" fmla="*/ f30 1 25"/>
                  <a:gd name="f33" fmla="*/ f29 1 30"/>
                  <a:gd name="f34" fmla="*/ f31 1 f2"/>
                  <a:gd name="f35" fmla="*/ 21 1 f32"/>
                  <a:gd name="f36" fmla="*/ 0 1 f33"/>
                  <a:gd name="f37" fmla="*/ 24 1 f32"/>
                  <a:gd name="f38" fmla="*/ 25 1 f32"/>
                  <a:gd name="f39" fmla="*/ 3 1 f33"/>
                  <a:gd name="f40" fmla="*/ 11 1 f33"/>
                  <a:gd name="f41" fmla="*/ 20 1 f33"/>
                  <a:gd name="f42" fmla="*/ 22 1 f32"/>
                  <a:gd name="f43" fmla="*/ 27 1 f33"/>
                  <a:gd name="f44" fmla="*/ 20 1 f32"/>
                  <a:gd name="f45" fmla="*/ 30 1 f33"/>
                  <a:gd name="f46" fmla="*/ 12 1 f32"/>
                  <a:gd name="f47" fmla="*/ 29 1 f33"/>
                  <a:gd name="f48" fmla="*/ 7 1 f32"/>
                  <a:gd name="f49" fmla="*/ 28 1 f33"/>
                  <a:gd name="f50" fmla="*/ 3 1 f32"/>
                  <a:gd name="f51" fmla="*/ 25 1 f33"/>
                  <a:gd name="f52" fmla="*/ 1 1 f32"/>
                  <a:gd name="f53" fmla="*/ 21 1 f33"/>
                  <a:gd name="f54" fmla="*/ 19 1 f33"/>
                  <a:gd name="f55" fmla="*/ 0 1 f32"/>
                  <a:gd name="f56" fmla="*/ 16 1 f33"/>
                  <a:gd name="f57" fmla="*/ 14 1 f33"/>
                  <a:gd name="f58" fmla="*/ 6 1 f32"/>
                  <a:gd name="f59" fmla="*/ 8 1 f33"/>
                  <a:gd name="f60" fmla="*/ 16 1 f32"/>
                  <a:gd name="f61" fmla="*/ 2 1 f33"/>
                  <a:gd name="f62" fmla="*/ f6 1 f32"/>
                  <a:gd name="f63" fmla="*/ f7 1 f33"/>
                  <a:gd name="f64" fmla="+- f34 0 f1"/>
                  <a:gd name="f65" fmla="*/ f55 f27 1"/>
                  <a:gd name="f66" fmla="*/ f62 f27 1"/>
                  <a:gd name="f67" fmla="*/ f63 f28 1"/>
                  <a:gd name="f68" fmla="*/ f36 f28 1"/>
                  <a:gd name="f69" fmla="*/ f35 f27 1"/>
                  <a:gd name="f70" fmla="*/ f37 f27 1"/>
                  <a:gd name="f71" fmla="*/ f38 f27 1"/>
                  <a:gd name="f72" fmla="*/ f39 f28 1"/>
                  <a:gd name="f73" fmla="*/ f40 f28 1"/>
                  <a:gd name="f74" fmla="*/ f41 f28 1"/>
                  <a:gd name="f75" fmla="*/ f42 f27 1"/>
                  <a:gd name="f76" fmla="*/ f43 f28 1"/>
                  <a:gd name="f77" fmla="*/ f44 f27 1"/>
                  <a:gd name="f78" fmla="*/ f45 f28 1"/>
                  <a:gd name="f79" fmla="*/ f46 f27 1"/>
                  <a:gd name="f80" fmla="*/ f47 f28 1"/>
                  <a:gd name="f81" fmla="*/ f48 f27 1"/>
                  <a:gd name="f82" fmla="*/ f49 f28 1"/>
                  <a:gd name="f83" fmla="*/ f50 f27 1"/>
                  <a:gd name="f84" fmla="*/ f51 f28 1"/>
                  <a:gd name="f85" fmla="*/ f52 f27 1"/>
                  <a:gd name="f86" fmla="*/ f53 f28 1"/>
                  <a:gd name="f87" fmla="*/ f54 f28 1"/>
                  <a:gd name="f88" fmla="*/ f56 f28 1"/>
                  <a:gd name="f89" fmla="*/ f57 f28 1"/>
                  <a:gd name="f90" fmla="*/ f58 f27 1"/>
                  <a:gd name="f91" fmla="*/ f59 f28 1"/>
                  <a:gd name="f92" fmla="*/ f60 f27 1"/>
                  <a:gd name="f93" fmla="*/ f61 f2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4">
                    <a:pos x="f69" y="f68"/>
                  </a:cxn>
                  <a:cxn ang="f64">
                    <a:pos x="f70" y="f68"/>
                  </a:cxn>
                  <a:cxn ang="f64">
                    <a:pos x="f71" y="f72"/>
                  </a:cxn>
                  <a:cxn ang="f64">
                    <a:pos x="f71" y="f73"/>
                  </a:cxn>
                  <a:cxn ang="f64">
                    <a:pos x="f70" y="f74"/>
                  </a:cxn>
                  <a:cxn ang="f64">
                    <a:pos x="f75" y="f76"/>
                  </a:cxn>
                  <a:cxn ang="f64">
                    <a:pos x="f77" y="f78"/>
                  </a:cxn>
                  <a:cxn ang="f64">
                    <a:pos x="f79" y="f80"/>
                  </a:cxn>
                  <a:cxn ang="f64">
                    <a:pos x="f81" y="f82"/>
                  </a:cxn>
                  <a:cxn ang="f64">
                    <a:pos x="f83" y="f84"/>
                  </a:cxn>
                  <a:cxn ang="f64">
                    <a:pos x="f85" y="f86"/>
                  </a:cxn>
                  <a:cxn ang="f64">
                    <a:pos x="f85" y="f87"/>
                  </a:cxn>
                  <a:cxn ang="f64">
                    <a:pos x="f65" y="f88"/>
                  </a:cxn>
                  <a:cxn ang="f64">
                    <a:pos x="f65" y="f89"/>
                  </a:cxn>
                  <a:cxn ang="f64">
                    <a:pos x="f90" y="f91"/>
                  </a:cxn>
                  <a:cxn ang="f64">
                    <a:pos x="f92" y="f93"/>
                  </a:cxn>
                  <a:cxn ang="f64">
                    <a:pos x="f69" y="f68"/>
                  </a:cxn>
                </a:cxnLst>
                <a:rect l="f65" t="f68" r="f66" b="f67"/>
                <a:pathLst>
                  <a:path w="25" h="30">
                    <a:moveTo>
                      <a:pt x="f8" y="f5"/>
                    </a:moveTo>
                    <a:lnTo>
                      <a:pt x="f9" y="f5"/>
                    </a:lnTo>
                    <a:lnTo>
                      <a:pt x="f6" y="f10"/>
                    </a:lnTo>
                    <a:lnTo>
                      <a:pt x="f6" y="f11"/>
                    </a:lnTo>
                    <a:lnTo>
                      <a:pt x="f9" y="f12"/>
                    </a:lnTo>
                    <a:lnTo>
                      <a:pt x="f13" y="f14"/>
                    </a:lnTo>
                    <a:lnTo>
                      <a:pt x="f12" y="f7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0" y="f6"/>
                    </a:lnTo>
                    <a:lnTo>
                      <a:pt x="f19" y="f8"/>
                    </a:lnTo>
                    <a:lnTo>
                      <a:pt x="f19" y="f20"/>
                    </a:lnTo>
                    <a:lnTo>
                      <a:pt x="f5" y="f21"/>
                    </a:lnTo>
                    <a:lnTo>
                      <a:pt x="f5" y="f22"/>
                    </a:lnTo>
                    <a:lnTo>
                      <a:pt x="f23" y="f24"/>
                    </a:lnTo>
                    <a:lnTo>
                      <a:pt x="f21" y="f25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9F80C51-48C8-4CB5-BDBB-0255FA1D4252}"/>
                  </a:ext>
                </a:extLst>
              </p:cNvPr>
              <p:cNvSpPr/>
              <p:nvPr/>
            </p:nvSpPr>
            <p:spPr>
              <a:xfrm rot="21447621">
                <a:off x="4307483" y="1291572"/>
                <a:ext cx="5111" cy="6455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9"/>
                  <a:gd name="f7" fmla="val 12"/>
                  <a:gd name="f8" fmla="val 4"/>
                  <a:gd name="f9" fmla="val 6"/>
                  <a:gd name="f10" fmla="val 7"/>
                  <a:gd name="f11" fmla="val 1"/>
                  <a:gd name="f12" fmla="val 5"/>
                  <a:gd name="f13" fmla="val 8"/>
                  <a:gd name="f14" fmla="val 11"/>
                  <a:gd name="f15" fmla="val 3"/>
                  <a:gd name="f16" fmla="val 2"/>
                  <a:gd name="f17" fmla="+- 0 0 -90"/>
                  <a:gd name="f18" fmla="*/ f3 1 9"/>
                  <a:gd name="f19" fmla="*/ f4 1 12"/>
                  <a:gd name="f20" fmla="+- f7 0 f5"/>
                  <a:gd name="f21" fmla="+- f6 0 f5"/>
                  <a:gd name="f22" fmla="*/ f17 f0 1"/>
                  <a:gd name="f23" fmla="*/ f21 1 9"/>
                  <a:gd name="f24" fmla="*/ f20 1 12"/>
                  <a:gd name="f25" fmla="*/ f22 1 f2"/>
                  <a:gd name="f26" fmla="*/ 4 1 f23"/>
                  <a:gd name="f27" fmla="*/ 0 1 f24"/>
                  <a:gd name="f28" fmla="*/ 6 1 f23"/>
                  <a:gd name="f29" fmla="*/ 7 1 f23"/>
                  <a:gd name="f30" fmla="*/ 1 1 f24"/>
                  <a:gd name="f31" fmla="*/ 9 1 f23"/>
                  <a:gd name="f32" fmla="*/ 5 1 f24"/>
                  <a:gd name="f33" fmla="*/ 9 1 f24"/>
                  <a:gd name="f34" fmla="*/ 8 1 f23"/>
                  <a:gd name="f35" fmla="*/ 11 1 f24"/>
                  <a:gd name="f36" fmla="*/ 12 1 f24"/>
                  <a:gd name="f37" fmla="*/ 3 1 f23"/>
                  <a:gd name="f38" fmla="*/ 0 1 f23"/>
                  <a:gd name="f39" fmla="*/ 1 1 f23"/>
                  <a:gd name="f40" fmla="*/ 2 1 f24"/>
                  <a:gd name="f41" fmla="*/ 2 1 f23"/>
                  <a:gd name="f42" fmla="*/ f6 1 f23"/>
                  <a:gd name="f43" fmla="*/ f7 1 f24"/>
                  <a:gd name="f44" fmla="+- f25 0 f1"/>
                  <a:gd name="f45" fmla="*/ f38 f18 1"/>
                  <a:gd name="f46" fmla="*/ f42 f18 1"/>
                  <a:gd name="f47" fmla="*/ f43 f19 1"/>
                  <a:gd name="f48" fmla="*/ f27 f19 1"/>
                  <a:gd name="f49" fmla="*/ f26 f18 1"/>
                  <a:gd name="f50" fmla="*/ f28 f18 1"/>
                  <a:gd name="f51" fmla="*/ f29 f18 1"/>
                  <a:gd name="f52" fmla="*/ f30 f19 1"/>
                  <a:gd name="f53" fmla="*/ f31 f18 1"/>
                  <a:gd name="f54" fmla="*/ f32 f19 1"/>
                  <a:gd name="f55" fmla="*/ f33 f19 1"/>
                  <a:gd name="f56" fmla="*/ f34 f18 1"/>
                  <a:gd name="f57" fmla="*/ f35 f19 1"/>
                  <a:gd name="f58" fmla="*/ f36 f19 1"/>
                  <a:gd name="f59" fmla="*/ f37 f18 1"/>
                  <a:gd name="f60" fmla="*/ f39 f18 1"/>
                  <a:gd name="f61" fmla="*/ f40 f19 1"/>
                  <a:gd name="f62" fmla="*/ f41 f1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4">
                    <a:pos x="f49" y="f48"/>
                  </a:cxn>
                  <a:cxn ang="f44">
                    <a:pos x="f50" y="f48"/>
                  </a:cxn>
                  <a:cxn ang="f44">
                    <a:pos x="f51" y="f52"/>
                  </a:cxn>
                  <a:cxn ang="f44">
                    <a:pos x="f53" y="f54"/>
                  </a:cxn>
                  <a:cxn ang="f44">
                    <a:pos x="f53" y="f55"/>
                  </a:cxn>
                  <a:cxn ang="f44">
                    <a:pos x="f56" y="f57"/>
                  </a:cxn>
                  <a:cxn ang="f44">
                    <a:pos x="f51" y="f58"/>
                  </a:cxn>
                  <a:cxn ang="f44">
                    <a:pos x="f50" y="f58"/>
                  </a:cxn>
                  <a:cxn ang="f44">
                    <a:pos x="f59" y="f57"/>
                  </a:cxn>
                  <a:cxn ang="f44">
                    <a:pos x="f45" y="f54"/>
                  </a:cxn>
                  <a:cxn ang="f44">
                    <a:pos x="f60" y="f61"/>
                  </a:cxn>
                  <a:cxn ang="f44">
                    <a:pos x="f62" y="f52"/>
                  </a:cxn>
                  <a:cxn ang="f44">
                    <a:pos x="f49" y="f48"/>
                  </a:cxn>
                </a:cxnLst>
                <a:rect l="f45" t="f48" r="f46" b="f47"/>
                <a:pathLst>
                  <a:path w="9" h="12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6" y="f12"/>
                    </a:lnTo>
                    <a:lnTo>
                      <a:pt x="f6" y="f6"/>
                    </a:lnTo>
                    <a:lnTo>
                      <a:pt x="f13" y="f14"/>
                    </a:lnTo>
                    <a:lnTo>
                      <a:pt x="f10" y="f7"/>
                    </a:lnTo>
                    <a:lnTo>
                      <a:pt x="f9" y="f7"/>
                    </a:lnTo>
                    <a:lnTo>
                      <a:pt x="f15" y="f14"/>
                    </a:lnTo>
                    <a:lnTo>
                      <a:pt x="f5" y="f12"/>
                    </a:lnTo>
                    <a:lnTo>
                      <a:pt x="f11" y="f16"/>
                    </a:lnTo>
                    <a:lnTo>
                      <a:pt x="f16" y="f11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BAF3DE68-D737-41FC-82FB-35AC4B839472}"/>
                  </a:ext>
                </a:extLst>
              </p:cNvPr>
              <p:cNvSpPr/>
              <p:nvPr/>
            </p:nvSpPr>
            <p:spPr>
              <a:xfrm rot="21447621">
                <a:off x="4313920" y="1285006"/>
                <a:ext cx="21561" cy="322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8"/>
                  <a:gd name="f7" fmla="val 6"/>
                  <a:gd name="f8" fmla="val 11"/>
                  <a:gd name="f9" fmla="val 28"/>
                  <a:gd name="f10" fmla="val 34"/>
                  <a:gd name="f11" fmla="val 1"/>
                  <a:gd name="f12" fmla="val 2"/>
                  <a:gd name="f13" fmla="val 37"/>
                  <a:gd name="f14" fmla="val 3"/>
                  <a:gd name="f15" fmla="val 32"/>
                  <a:gd name="f16" fmla="val 4"/>
                  <a:gd name="f17" fmla="val 25"/>
                  <a:gd name="f18" fmla="val 5"/>
                  <a:gd name="f19" fmla="val 17"/>
                  <a:gd name="f20" fmla="+- 0 0 -90"/>
                  <a:gd name="f21" fmla="*/ f3 1 38"/>
                  <a:gd name="f22" fmla="*/ f4 1 6"/>
                  <a:gd name="f23" fmla="+- f7 0 f5"/>
                  <a:gd name="f24" fmla="+- f6 0 f5"/>
                  <a:gd name="f25" fmla="*/ f20 f0 1"/>
                  <a:gd name="f26" fmla="*/ f23 1 6"/>
                  <a:gd name="f27" fmla="*/ f24 1 38"/>
                  <a:gd name="f28" fmla="*/ f25 1 f2"/>
                  <a:gd name="f29" fmla="*/ 11 1 f27"/>
                  <a:gd name="f30" fmla="*/ 0 1 f26"/>
                  <a:gd name="f31" fmla="*/ 28 1 f27"/>
                  <a:gd name="f32" fmla="*/ 34 1 f27"/>
                  <a:gd name="f33" fmla="*/ 1 1 f26"/>
                  <a:gd name="f34" fmla="*/ 38 1 f27"/>
                  <a:gd name="f35" fmla="*/ 2 1 f26"/>
                  <a:gd name="f36" fmla="*/ 37 1 f27"/>
                  <a:gd name="f37" fmla="*/ 3 1 f26"/>
                  <a:gd name="f38" fmla="*/ 32 1 f27"/>
                  <a:gd name="f39" fmla="*/ 4 1 f26"/>
                  <a:gd name="f40" fmla="*/ 25 1 f27"/>
                  <a:gd name="f41" fmla="*/ 5 1 f26"/>
                  <a:gd name="f42" fmla="*/ 17 1 f27"/>
                  <a:gd name="f43" fmla="*/ 6 1 f26"/>
                  <a:gd name="f44" fmla="*/ 2 1 f27"/>
                  <a:gd name="f45" fmla="*/ 0 1 f27"/>
                  <a:gd name="f46" fmla="*/ 4 1 f27"/>
                  <a:gd name="f47" fmla="*/ f6 1 f27"/>
                  <a:gd name="f48" fmla="*/ f7 1 f26"/>
                  <a:gd name="f49" fmla="+- f28 0 f1"/>
                  <a:gd name="f50" fmla="*/ f45 f21 1"/>
                  <a:gd name="f51" fmla="*/ f47 f21 1"/>
                  <a:gd name="f52" fmla="*/ f48 f22 1"/>
                  <a:gd name="f53" fmla="*/ f30 f22 1"/>
                  <a:gd name="f54" fmla="*/ f29 f21 1"/>
                  <a:gd name="f55" fmla="*/ f31 f21 1"/>
                  <a:gd name="f56" fmla="*/ f32 f21 1"/>
                  <a:gd name="f57" fmla="*/ f33 f22 1"/>
                  <a:gd name="f58" fmla="*/ f34 f21 1"/>
                  <a:gd name="f59" fmla="*/ f35 f22 1"/>
                  <a:gd name="f60" fmla="*/ f36 f21 1"/>
                  <a:gd name="f61" fmla="*/ f37 f22 1"/>
                  <a:gd name="f62" fmla="*/ f38 f21 1"/>
                  <a:gd name="f63" fmla="*/ f39 f22 1"/>
                  <a:gd name="f64" fmla="*/ f40 f21 1"/>
                  <a:gd name="f65" fmla="*/ f41 f22 1"/>
                  <a:gd name="f66" fmla="*/ f42 f21 1"/>
                  <a:gd name="f67" fmla="*/ f43 f22 1"/>
                  <a:gd name="f68" fmla="*/ f44 f21 1"/>
                  <a:gd name="f69" fmla="*/ f46 f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9">
                    <a:pos x="f54" y="f53"/>
                  </a:cxn>
                  <a:cxn ang="f49">
                    <a:pos x="f55" y="f53"/>
                  </a:cxn>
                  <a:cxn ang="f49">
                    <a:pos x="f56" y="f57"/>
                  </a:cxn>
                  <a:cxn ang="f49">
                    <a:pos x="f58" y="f59"/>
                  </a:cxn>
                  <a:cxn ang="f49">
                    <a:pos x="f60" y="f61"/>
                  </a:cxn>
                  <a:cxn ang="f49">
                    <a:pos x="f62" y="f63"/>
                  </a:cxn>
                  <a:cxn ang="f49">
                    <a:pos x="f64" y="f65"/>
                  </a:cxn>
                  <a:cxn ang="f49">
                    <a:pos x="f66" y="f67"/>
                  </a:cxn>
                  <a:cxn ang="f49">
                    <a:pos x="f68" y="f67"/>
                  </a:cxn>
                  <a:cxn ang="f49">
                    <a:pos x="f50" y="f63"/>
                  </a:cxn>
                  <a:cxn ang="f49">
                    <a:pos x="f50" y="f59"/>
                  </a:cxn>
                  <a:cxn ang="f49">
                    <a:pos x="f69" y="f57"/>
                  </a:cxn>
                  <a:cxn ang="f49">
                    <a:pos x="f54" y="f53"/>
                  </a:cxn>
                </a:cxnLst>
                <a:rect l="f50" t="f53" r="f51" b="f52"/>
                <a:pathLst>
                  <a:path w="38" h="6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6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7"/>
                    </a:lnTo>
                    <a:lnTo>
                      <a:pt x="f12" y="f7"/>
                    </a:lnTo>
                    <a:lnTo>
                      <a:pt x="f5" y="f16"/>
                    </a:lnTo>
                    <a:lnTo>
                      <a:pt x="f5" y="f12"/>
                    </a:lnTo>
                    <a:lnTo>
                      <a:pt x="f16" y="f11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8408C114-8461-4823-8487-A6A9B84773E7}"/>
                  </a:ext>
                </a:extLst>
              </p:cNvPr>
              <p:cNvSpPr/>
              <p:nvPr/>
            </p:nvSpPr>
            <p:spPr>
              <a:xfrm rot="21447621">
                <a:off x="4346472" y="1274893"/>
                <a:ext cx="24396" cy="591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3"/>
                  <a:gd name="f7" fmla="val 11"/>
                  <a:gd name="f8" fmla="val 32"/>
                  <a:gd name="f9" fmla="val 39"/>
                  <a:gd name="f10" fmla="val 1"/>
                  <a:gd name="f11" fmla="val 42"/>
                  <a:gd name="f12" fmla="val 3"/>
                  <a:gd name="f13" fmla="val 37"/>
                  <a:gd name="f14" fmla="val 6"/>
                  <a:gd name="f15" fmla="val 30"/>
                  <a:gd name="f16" fmla="val 9"/>
                  <a:gd name="f17" fmla="val 21"/>
                  <a:gd name="f18" fmla="val 5"/>
                  <a:gd name="f19" fmla="val 8"/>
                  <a:gd name="f20" fmla="val 14"/>
                  <a:gd name="f21" fmla="val 24"/>
                  <a:gd name="f22" fmla="+- 0 0 -90"/>
                  <a:gd name="f23" fmla="*/ f3 1 43"/>
                  <a:gd name="f24" fmla="*/ f4 1 11"/>
                  <a:gd name="f25" fmla="+- f7 0 f5"/>
                  <a:gd name="f26" fmla="+- f6 0 f5"/>
                  <a:gd name="f27" fmla="*/ f22 f0 1"/>
                  <a:gd name="f28" fmla="*/ f26 1 43"/>
                  <a:gd name="f29" fmla="*/ f25 1 11"/>
                  <a:gd name="f30" fmla="*/ f27 1 f2"/>
                  <a:gd name="f31" fmla="*/ 32 1 f28"/>
                  <a:gd name="f32" fmla="*/ 0 1 f29"/>
                  <a:gd name="f33" fmla="*/ 39 1 f28"/>
                  <a:gd name="f34" fmla="*/ 43 1 f28"/>
                  <a:gd name="f35" fmla="*/ 1 1 f29"/>
                  <a:gd name="f36" fmla="*/ 42 1 f28"/>
                  <a:gd name="f37" fmla="*/ 3 1 f29"/>
                  <a:gd name="f38" fmla="*/ 37 1 f28"/>
                  <a:gd name="f39" fmla="*/ 6 1 f29"/>
                  <a:gd name="f40" fmla="*/ 30 1 f28"/>
                  <a:gd name="f41" fmla="*/ 9 1 f29"/>
                  <a:gd name="f42" fmla="*/ 21 1 f28"/>
                  <a:gd name="f43" fmla="*/ 11 1 f29"/>
                  <a:gd name="f44" fmla="*/ 5 1 f28"/>
                  <a:gd name="f45" fmla="*/ 0 1 f28"/>
                  <a:gd name="f46" fmla="*/ 8 1 f29"/>
                  <a:gd name="f47" fmla="*/ 1 1 f28"/>
                  <a:gd name="f48" fmla="*/ 6 1 f28"/>
                  <a:gd name="f49" fmla="*/ 5 1 f29"/>
                  <a:gd name="f50" fmla="*/ 14 1 f28"/>
                  <a:gd name="f51" fmla="*/ 24 1 f28"/>
                  <a:gd name="f52" fmla="*/ f6 1 f28"/>
                  <a:gd name="f53" fmla="*/ f7 1 f29"/>
                  <a:gd name="f54" fmla="+- f30 0 f1"/>
                  <a:gd name="f55" fmla="*/ f45 f23 1"/>
                  <a:gd name="f56" fmla="*/ f52 f23 1"/>
                  <a:gd name="f57" fmla="*/ f53 f24 1"/>
                  <a:gd name="f58" fmla="*/ f32 f24 1"/>
                  <a:gd name="f59" fmla="*/ f31 f23 1"/>
                  <a:gd name="f60" fmla="*/ f33 f23 1"/>
                  <a:gd name="f61" fmla="*/ f34 f23 1"/>
                  <a:gd name="f62" fmla="*/ f35 f24 1"/>
                  <a:gd name="f63" fmla="*/ f36 f23 1"/>
                  <a:gd name="f64" fmla="*/ f37 f24 1"/>
                  <a:gd name="f65" fmla="*/ f38 f23 1"/>
                  <a:gd name="f66" fmla="*/ f39 f24 1"/>
                  <a:gd name="f67" fmla="*/ f40 f23 1"/>
                  <a:gd name="f68" fmla="*/ f41 f24 1"/>
                  <a:gd name="f69" fmla="*/ f42 f23 1"/>
                  <a:gd name="f70" fmla="*/ f43 f24 1"/>
                  <a:gd name="f71" fmla="*/ f44 f23 1"/>
                  <a:gd name="f72" fmla="*/ f46 f24 1"/>
                  <a:gd name="f73" fmla="*/ f47 f23 1"/>
                  <a:gd name="f74" fmla="*/ f48 f23 1"/>
                  <a:gd name="f75" fmla="*/ f49 f24 1"/>
                  <a:gd name="f76" fmla="*/ f50 f23 1"/>
                  <a:gd name="f77" fmla="*/ f51 f23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4">
                    <a:pos x="f59" y="f58"/>
                  </a:cxn>
                  <a:cxn ang="f54">
                    <a:pos x="f60" y="f58"/>
                  </a:cxn>
                  <a:cxn ang="f54">
                    <a:pos x="f61" y="f62"/>
                  </a:cxn>
                  <a:cxn ang="f54">
                    <a:pos x="f63" y="f64"/>
                  </a:cxn>
                  <a:cxn ang="f54">
                    <a:pos x="f65" y="f66"/>
                  </a:cxn>
                  <a:cxn ang="f54">
                    <a:pos x="f67" y="f68"/>
                  </a:cxn>
                  <a:cxn ang="f54">
                    <a:pos x="f69" y="f70"/>
                  </a:cxn>
                  <a:cxn ang="f54">
                    <a:pos x="f71" y="f70"/>
                  </a:cxn>
                  <a:cxn ang="f54">
                    <a:pos x="f55" y="f72"/>
                  </a:cxn>
                  <a:cxn ang="f54">
                    <a:pos x="f73" y="f66"/>
                  </a:cxn>
                  <a:cxn ang="f54">
                    <a:pos x="f74" y="f75"/>
                  </a:cxn>
                  <a:cxn ang="f54">
                    <a:pos x="f76" y="f64"/>
                  </a:cxn>
                  <a:cxn ang="f54">
                    <a:pos x="f77" y="f62"/>
                  </a:cxn>
                  <a:cxn ang="f54">
                    <a:pos x="f59" y="f58"/>
                  </a:cxn>
                </a:cxnLst>
                <a:rect l="f55" t="f58" r="f56" b="f57"/>
                <a:pathLst>
                  <a:path w="43" h="11">
                    <a:moveTo>
                      <a:pt x="f8" y="f5"/>
                    </a:moveTo>
                    <a:lnTo>
                      <a:pt x="f9" y="f5"/>
                    </a:lnTo>
                    <a:lnTo>
                      <a:pt x="f6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7"/>
                    </a:lnTo>
                    <a:lnTo>
                      <a:pt x="f18" y="f7"/>
                    </a:lnTo>
                    <a:lnTo>
                      <a:pt x="f5" y="f19"/>
                    </a:lnTo>
                    <a:lnTo>
                      <a:pt x="f10" y="f14"/>
                    </a:lnTo>
                    <a:lnTo>
                      <a:pt x="f14" y="f18"/>
                    </a:lnTo>
                    <a:lnTo>
                      <a:pt x="f20" y="f12"/>
                    </a:lnTo>
                    <a:lnTo>
                      <a:pt x="f21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3CFDDCC0-317B-4547-93DC-B5BDC324E71A}"/>
                  </a:ext>
                </a:extLst>
              </p:cNvPr>
              <p:cNvSpPr/>
              <p:nvPr/>
            </p:nvSpPr>
            <p:spPr>
              <a:xfrm rot="21447621">
                <a:off x="4391005" y="1266627"/>
                <a:ext cx="16459" cy="7525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9"/>
                  <a:gd name="f7" fmla="val 14"/>
                  <a:gd name="f8" fmla="val 15"/>
                  <a:gd name="f9" fmla="val 23"/>
                  <a:gd name="f10" fmla="val 1"/>
                  <a:gd name="f11" fmla="val 4"/>
                  <a:gd name="f12" fmla="val 5"/>
                  <a:gd name="f13" fmla="val 27"/>
                  <a:gd name="f14" fmla="val 7"/>
                  <a:gd name="f15" fmla="val 24"/>
                  <a:gd name="f16" fmla="val 22"/>
                  <a:gd name="f17" fmla="val 8"/>
                  <a:gd name="f18" fmla="val 13"/>
                  <a:gd name="f19" fmla="val 9"/>
                  <a:gd name="f20" fmla="val 6"/>
                  <a:gd name="f21" fmla="val 3"/>
                  <a:gd name="f22" fmla="val 11"/>
                  <a:gd name="f23" fmla="val 2"/>
                  <a:gd name="f24" fmla="+- 0 0 -90"/>
                  <a:gd name="f25" fmla="*/ f3 1 29"/>
                  <a:gd name="f26" fmla="*/ f4 1 14"/>
                  <a:gd name="f27" fmla="+- f7 0 f5"/>
                  <a:gd name="f28" fmla="+- f6 0 f5"/>
                  <a:gd name="f29" fmla="*/ f24 f0 1"/>
                  <a:gd name="f30" fmla="*/ f28 1 29"/>
                  <a:gd name="f31" fmla="*/ f27 1 14"/>
                  <a:gd name="f32" fmla="*/ f29 1 f2"/>
                  <a:gd name="f33" fmla="*/ 15 1 f30"/>
                  <a:gd name="f34" fmla="*/ 0 1 f31"/>
                  <a:gd name="f35" fmla="*/ 23 1 f30"/>
                  <a:gd name="f36" fmla="*/ 1 1 f31"/>
                  <a:gd name="f37" fmla="*/ 29 1 f30"/>
                  <a:gd name="f38" fmla="*/ 4 1 f31"/>
                  <a:gd name="f39" fmla="*/ 5 1 f31"/>
                  <a:gd name="f40" fmla="*/ 27 1 f30"/>
                  <a:gd name="f41" fmla="*/ 7 1 f31"/>
                  <a:gd name="f42" fmla="*/ 24 1 f30"/>
                  <a:gd name="f43" fmla="*/ 22 1 f30"/>
                  <a:gd name="f44" fmla="*/ 8 1 f31"/>
                  <a:gd name="f45" fmla="*/ 13 1 f30"/>
                  <a:gd name="f46" fmla="*/ 9 1 f31"/>
                  <a:gd name="f47" fmla="*/ 8 1 f30"/>
                  <a:gd name="f48" fmla="*/ 14 1 f31"/>
                  <a:gd name="f49" fmla="*/ 6 1 f30"/>
                  <a:gd name="f50" fmla="*/ 3 1 f30"/>
                  <a:gd name="f51" fmla="*/ 13 1 f31"/>
                  <a:gd name="f52" fmla="*/ 0 1 f30"/>
                  <a:gd name="f53" fmla="*/ 11 1 f31"/>
                  <a:gd name="f54" fmla="*/ 2 1 f30"/>
                  <a:gd name="f55" fmla="*/ 3 1 f31"/>
                  <a:gd name="f56" fmla="*/ f6 1 f30"/>
                  <a:gd name="f57" fmla="*/ f7 1 f31"/>
                  <a:gd name="f58" fmla="+- f32 0 f1"/>
                  <a:gd name="f59" fmla="*/ f52 f25 1"/>
                  <a:gd name="f60" fmla="*/ f56 f25 1"/>
                  <a:gd name="f61" fmla="*/ f57 f26 1"/>
                  <a:gd name="f62" fmla="*/ f34 f26 1"/>
                  <a:gd name="f63" fmla="*/ f33 f25 1"/>
                  <a:gd name="f64" fmla="*/ f35 f25 1"/>
                  <a:gd name="f65" fmla="*/ f36 f26 1"/>
                  <a:gd name="f66" fmla="*/ f37 f25 1"/>
                  <a:gd name="f67" fmla="*/ f38 f26 1"/>
                  <a:gd name="f68" fmla="*/ f39 f26 1"/>
                  <a:gd name="f69" fmla="*/ f40 f25 1"/>
                  <a:gd name="f70" fmla="*/ f41 f26 1"/>
                  <a:gd name="f71" fmla="*/ f42 f25 1"/>
                  <a:gd name="f72" fmla="*/ f43 f25 1"/>
                  <a:gd name="f73" fmla="*/ f44 f26 1"/>
                  <a:gd name="f74" fmla="*/ f45 f25 1"/>
                  <a:gd name="f75" fmla="*/ f46 f26 1"/>
                  <a:gd name="f76" fmla="*/ f47 f25 1"/>
                  <a:gd name="f77" fmla="*/ f48 f26 1"/>
                  <a:gd name="f78" fmla="*/ f49 f25 1"/>
                  <a:gd name="f79" fmla="*/ f50 f25 1"/>
                  <a:gd name="f80" fmla="*/ f51 f26 1"/>
                  <a:gd name="f81" fmla="*/ f53 f26 1"/>
                  <a:gd name="f82" fmla="*/ f54 f25 1"/>
                  <a:gd name="f83" fmla="*/ f55 f2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8">
                    <a:pos x="f63" y="f62"/>
                  </a:cxn>
                  <a:cxn ang="f58">
                    <a:pos x="f64" y="f65"/>
                  </a:cxn>
                  <a:cxn ang="f58">
                    <a:pos x="f66" y="f67"/>
                  </a:cxn>
                  <a:cxn ang="f58">
                    <a:pos x="f66" y="f68"/>
                  </a:cxn>
                  <a:cxn ang="f58">
                    <a:pos x="f69" y="f70"/>
                  </a:cxn>
                  <a:cxn ang="f58">
                    <a:pos x="f71" y="f70"/>
                  </a:cxn>
                  <a:cxn ang="f58">
                    <a:pos x="f72" y="f73"/>
                  </a:cxn>
                  <a:cxn ang="f58">
                    <a:pos x="f63" y="f73"/>
                  </a:cxn>
                  <a:cxn ang="f58">
                    <a:pos x="f74" y="f75"/>
                  </a:cxn>
                  <a:cxn ang="f58">
                    <a:pos x="f76" y="f77"/>
                  </a:cxn>
                  <a:cxn ang="f58">
                    <a:pos x="f78" y="f77"/>
                  </a:cxn>
                  <a:cxn ang="f58">
                    <a:pos x="f79" y="f80"/>
                  </a:cxn>
                  <a:cxn ang="f58">
                    <a:pos x="f59" y="f81"/>
                  </a:cxn>
                  <a:cxn ang="f58">
                    <a:pos x="f59" y="f70"/>
                  </a:cxn>
                  <a:cxn ang="f58">
                    <a:pos x="f82" y="f68"/>
                  </a:cxn>
                  <a:cxn ang="f58">
                    <a:pos x="f78" y="f83"/>
                  </a:cxn>
                  <a:cxn ang="f58">
                    <a:pos x="f63" y="f62"/>
                  </a:cxn>
                </a:cxnLst>
                <a:rect l="f59" t="f62" r="f60" b="f61"/>
                <a:pathLst>
                  <a:path w="29" h="14">
                    <a:moveTo>
                      <a:pt x="f8" y="f5"/>
                    </a:moveTo>
                    <a:lnTo>
                      <a:pt x="f9" y="f10"/>
                    </a:lnTo>
                    <a:lnTo>
                      <a:pt x="f6" y="f11"/>
                    </a:lnTo>
                    <a:lnTo>
                      <a:pt x="f6" y="f12"/>
                    </a:lnTo>
                    <a:lnTo>
                      <a:pt x="f13" y="f14"/>
                    </a:lnTo>
                    <a:lnTo>
                      <a:pt x="f15" y="f14"/>
                    </a:lnTo>
                    <a:lnTo>
                      <a:pt x="f16" y="f17"/>
                    </a:lnTo>
                    <a:lnTo>
                      <a:pt x="f8" y="f17"/>
                    </a:lnTo>
                    <a:lnTo>
                      <a:pt x="f18" y="f19"/>
                    </a:lnTo>
                    <a:lnTo>
                      <a:pt x="f17" y="f7"/>
                    </a:lnTo>
                    <a:lnTo>
                      <a:pt x="f20" y="f7"/>
                    </a:lnTo>
                    <a:lnTo>
                      <a:pt x="f21" y="f18"/>
                    </a:lnTo>
                    <a:lnTo>
                      <a:pt x="f5" y="f22"/>
                    </a:lnTo>
                    <a:lnTo>
                      <a:pt x="f5" y="f14"/>
                    </a:lnTo>
                    <a:lnTo>
                      <a:pt x="f23" y="f12"/>
                    </a:lnTo>
                    <a:lnTo>
                      <a:pt x="f20" y="f21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E8030BB-B621-4E03-B473-F30F71CC022A}"/>
                  </a:ext>
                </a:extLst>
              </p:cNvPr>
              <p:cNvSpPr/>
              <p:nvPr/>
            </p:nvSpPr>
            <p:spPr>
              <a:xfrm rot="21447621">
                <a:off x="4420310" y="1262704"/>
                <a:ext cx="13615" cy="537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4"/>
                  <a:gd name="f7" fmla="val 10"/>
                  <a:gd name="f8" fmla="val 11"/>
                  <a:gd name="f9" fmla="val 17"/>
                  <a:gd name="f10" fmla="val 22"/>
                  <a:gd name="f11" fmla="val 1"/>
                  <a:gd name="f12" fmla="val 3"/>
                  <a:gd name="f13" fmla="val 6"/>
                  <a:gd name="f14" fmla="val 16"/>
                  <a:gd name="f15" fmla="val 9"/>
                  <a:gd name="f16" fmla="val 7"/>
                  <a:gd name="f17" fmla="val 4"/>
                  <a:gd name="f18" fmla="val 5"/>
                  <a:gd name="f19" fmla="val 2"/>
                  <a:gd name="f20" fmla="+- 0 0 -90"/>
                  <a:gd name="f21" fmla="*/ f3 1 24"/>
                  <a:gd name="f22" fmla="*/ f4 1 10"/>
                  <a:gd name="f23" fmla="+- f7 0 f5"/>
                  <a:gd name="f24" fmla="+- f6 0 f5"/>
                  <a:gd name="f25" fmla="*/ f20 f0 1"/>
                  <a:gd name="f26" fmla="*/ f23 1 10"/>
                  <a:gd name="f27" fmla="*/ f24 1 24"/>
                  <a:gd name="f28" fmla="*/ f25 1 f2"/>
                  <a:gd name="f29" fmla="*/ 11 1 f27"/>
                  <a:gd name="f30" fmla="*/ 0 1 f26"/>
                  <a:gd name="f31" fmla="*/ 17 1 f27"/>
                  <a:gd name="f32" fmla="*/ 22 1 f27"/>
                  <a:gd name="f33" fmla="*/ 1 1 f26"/>
                  <a:gd name="f34" fmla="*/ 24 1 f27"/>
                  <a:gd name="f35" fmla="*/ 3 1 f26"/>
                  <a:gd name="f36" fmla="*/ 6 1 f26"/>
                  <a:gd name="f37" fmla="*/ 16 1 f27"/>
                  <a:gd name="f38" fmla="*/ 9 1 f26"/>
                  <a:gd name="f39" fmla="*/ 9 1 f27"/>
                  <a:gd name="f40" fmla="*/ 10 1 f26"/>
                  <a:gd name="f41" fmla="*/ 3 1 f27"/>
                  <a:gd name="f42" fmla="*/ 0 1 f27"/>
                  <a:gd name="f43" fmla="*/ 7 1 f26"/>
                  <a:gd name="f44" fmla="*/ 1 1 f27"/>
                  <a:gd name="f45" fmla="*/ 4 1 f26"/>
                  <a:gd name="f46" fmla="*/ 5 1 f27"/>
                  <a:gd name="f47" fmla="*/ 2 1 f26"/>
                  <a:gd name="f48" fmla="*/ f6 1 f27"/>
                  <a:gd name="f49" fmla="*/ f7 1 f26"/>
                  <a:gd name="f50" fmla="+- f28 0 f1"/>
                  <a:gd name="f51" fmla="*/ f42 f21 1"/>
                  <a:gd name="f52" fmla="*/ f48 f21 1"/>
                  <a:gd name="f53" fmla="*/ f49 f22 1"/>
                  <a:gd name="f54" fmla="*/ f30 f22 1"/>
                  <a:gd name="f55" fmla="*/ f29 f21 1"/>
                  <a:gd name="f56" fmla="*/ f31 f21 1"/>
                  <a:gd name="f57" fmla="*/ f32 f21 1"/>
                  <a:gd name="f58" fmla="*/ f33 f22 1"/>
                  <a:gd name="f59" fmla="*/ f34 f21 1"/>
                  <a:gd name="f60" fmla="*/ f35 f22 1"/>
                  <a:gd name="f61" fmla="*/ f36 f22 1"/>
                  <a:gd name="f62" fmla="*/ f37 f21 1"/>
                  <a:gd name="f63" fmla="*/ f38 f22 1"/>
                  <a:gd name="f64" fmla="*/ f39 f21 1"/>
                  <a:gd name="f65" fmla="*/ f40 f22 1"/>
                  <a:gd name="f66" fmla="*/ f41 f21 1"/>
                  <a:gd name="f67" fmla="*/ f43 f22 1"/>
                  <a:gd name="f68" fmla="*/ f44 f21 1"/>
                  <a:gd name="f69" fmla="*/ f45 f22 1"/>
                  <a:gd name="f70" fmla="*/ f46 f21 1"/>
                  <a:gd name="f71" fmla="*/ f47 f2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0">
                    <a:pos x="f55" y="f54"/>
                  </a:cxn>
                  <a:cxn ang="f50">
                    <a:pos x="f56" y="f54"/>
                  </a:cxn>
                  <a:cxn ang="f50">
                    <a:pos x="f57" y="f58"/>
                  </a:cxn>
                  <a:cxn ang="f50">
                    <a:pos x="f59" y="f60"/>
                  </a:cxn>
                  <a:cxn ang="f50">
                    <a:pos x="f57" y="f61"/>
                  </a:cxn>
                  <a:cxn ang="f50">
                    <a:pos x="f62" y="f63"/>
                  </a:cxn>
                  <a:cxn ang="f50">
                    <a:pos x="f64" y="f65"/>
                  </a:cxn>
                  <a:cxn ang="f50">
                    <a:pos x="f66" y="f63"/>
                  </a:cxn>
                  <a:cxn ang="f50">
                    <a:pos x="f51" y="f67"/>
                  </a:cxn>
                  <a:cxn ang="f50">
                    <a:pos x="f68" y="f69"/>
                  </a:cxn>
                  <a:cxn ang="f50">
                    <a:pos x="f70" y="f71"/>
                  </a:cxn>
                  <a:cxn ang="f50">
                    <a:pos x="f55" y="f54"/>
                  </a:cxn>
                </a:cxnLst>
                <a:rect l="f51" t="f54" r="f52" b="f53"/>
                <a:pathLst>
                  <a:path w="24" h="10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6" y="f12"/>
                    </a:lnTo>
                    <a:lnTo>
                      <a:pt x="f10" y="f13"/>
                    </a:lnTo>
                    <a:lnTo>
                      <a:pt x="f14" y="f15"/>
                    </a:lnTo>
                    <a:lnTo>
                      <a:pt x="f15" y="f7"/>
                    </a:lnTo>
                    <a:lnTo>
                      <a:pt x="f12" y="f15"/>
                    </a:lnTo>
                    <a:lnTo>
                      <a:pt x="f5" y="f16"/>
                    </a:lnTo>
                    <a:lnTo>
                      <a:pt x="f11" y="f17"/>
                    </a:lnTo>
                    <a:lnTo>
                      <a:pt x="f18" y="f19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D4B47E91-4D9D-41F1-9947-69895FC5EB84}"/>
                  </a:ext>
                </a:extLst>
              </p:cNvPr>
              <p:cNvSpPr/>
              <p:nvPr/>
            </p:nvSpPr>
            <p:spPr>
              <a:xfrm rot="21447621">
                <a:off x="4481511" y="1271985"/>
                <a:ext cx="6812" cy="591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2"/>
                  <a:gd name="f7" fmla="val 11"/>
                  <a:gd name="f8" fmla="val 4"/>
                  <a:gd name="f9" fmla="val 9"/>
                  <a:gd name="f10" fmla="val 1"/>
                  <a:gd name="f11" fmla="val 3"/>
                  <a:gd name="f12" fmla="val 7"/>
                  <a:gd name="f13" fmla="val 10"/>
                  <a:gd name="f14" fmla="val 6"/>
                  <a:gd name="f15" fmla="val 2"/>
                  <a:gd name="f16" fmla="+- 0 0 -90"/>
                  <a:gd name="f17" fmla="*/ f3 1 12"/>
                  <a:gd name="f18" fmla="*/ f4 1 11"/>
                  <a:gd name="f19" fmla="+- f7 0 f5"/>
                  <a:gd name="f20" fmla="+- f6 0 f5"/>
                  <a:gd name="f21" fmla="*/ f16 f0 1"/>
                  <a:gd name="f22" fmla="*/ f20 1 12"/>
                  <a:gd name="f23" fmla="*/ f19 1 11"/>
                  <a:gd name="f24" fmla="*/ f21 1 f2"/>
                  <a:gd name="f25" fmla="*/ 4 1 f22"/>
                  <a:gd name="f26" fmla="*/ 0 1 f23"/>
                  <a:gd name="f27" fmla="*/ 9 1 f22"/>
                  <a:gd name="f28" fmla="*/ 11 1 f22"/>
                  <a:gd name="f29" fmla="*/ 1 1 f23"/>
                  <a:gd name="f30" fmla="*/ 12 1 f22"/>
                  <a:gd name="f31" fmla="*/ 3 1 f23"/>
                  <a:gd name="f32" fmla="*/ 7 1 f23"/>
                  <a:gd name="f33" fmla="*/ 10 1 f22"/>
                  <a:gd name="f34" fmla="*/ 9 1 f23"/>
                  <a:gd name="f35" fmla="*/ 11 1 f23"/>
                  <a:gd name="f36" fmla="*/ 6 1 f22"/>
                  <a:gd name="f37" fmla="*/ 1 1 f22"/>
                  <a:gd name="f38" fmla="*/ 0 1 f22"/>
                  <a:gd name="f39" fmla="*/ 4 1 f23"/>
                  <a:gd name="f40" fmla="*/ 2 1 f22"/>
                  <a:gd name="f41" fmla="*/ 2 1 f23"/>
                  <a:gd name="f42" fmla="*/ f6 1 f22"/>
                  <a:gd name="f43" fmla="*/ f7 1 f23"/>
                  <a:gd name="f44" fmla="+- f24 0 f1"/>
                  <a:gd name="f45" fmla="*/ f38 f17 1"/>
                  <a:gd name="f46" fmla="*/ f42 f17 1"/>
                  <a:gd name="f47" fmla="*/ f43 f18 1"/>
                  <a:gd name="f48" fmla="*/ f26 f18 1"/>
                  <a:gd name="f49" fmla="*/ f25 f17 1"/>
                  <a:gd name="f50" fmla="*/ f27 f17 1"/>
                  <a:gd name="f51" fmla="*/ f28 f17 1"/>
                  <a:gd name="f52" fmla="*/ f29 f18 1"/>
                  <a:gd name="f53" fmla="*/ f30 f17 1"/>
                  <a:gd name="f54" fmla="*/ f31 f18 1"/>
                  <a:gd name="f55" fmla="*/ f32 f18 1"/>
                  <a:gd name="f56" fmla="*/ f33 f17 1"/>
                  <a:gd name="f57" fmla="*/ f34 f18 1"/>
                  <a:gd name="f58" fmla="*/ f35 f18 1"/>
                  <a:gd name="f59" fmla="*/ f36 f17 1"/>
                  <a:gd name="f60" fmla="*/ f37 f17 1"/>
                  <a:gd name="f61" fmla="*/ f39 f18 1"/>
                  <a:gd name="f62" fmla="*/ f40 f17 1"/>
                  <a:gd name="f63" fmla="*/ f41 f1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4">
                    <a:pos x="f49" y="f48"/>
                  </a:cxn>
                  <a:cxn ang="f44">
                    <a:pos x="f50" y="f48"/>
                  </a:cxn>
                  <a:cxn ang="f44">
                    <a:pos x="f51" y="f52"/>
                  </a:cxn>
                  <a:cxn ang="f44">
                    <a:pos x="f53" y="f54"/>
                  </a:cxn>
                  <a:cxn ang="f44">
                    <a:pos x="f53" y="f55"/>
                  </a:cxn>
                  <a:cxn ang="f44">
                    <a:pos x="f56" y="f57"/>
                  </a:cxn>
                  <a:cxn ang="f44">
                    <a:pos x="f50" y="f58"/>
                  </a:cxn>
                  <a:cxn ang="f44">
                    <a:pos x="f59" y="f58"/>
                  </a:cxn>
                  <a:cxn ang="f44">
                    <a:pos x="f60" y="f58"/>
                  </a:cxn>
                  <a:cxn ang="f44">
                    <a:pos x="f45" y="f58"/>
                  </a:cxn>
                  <a:cxn ang="f44">
                    <a:pos x="f45" y="f55"/>
                  </a:cxn>
                  <a:cxn ang="f44">
                    <a:pos x="f60" y="f61"/>
                  </a:cxn>
                  <a:cxn ang="f44">
                    <a:pos x="f62" y="f63"/>
                  </a:cxn>
                  <a:cxn ang="f44">
                    <a:pos x="f49" y="f48"/>
                  </a:cxn>
                </a:cxnLst>
                <a:rect l="f45" t="f48" r="f46" b="f47"/>
                <a:pathLst>
                  <a:path w="12" h="11">
                    <a:moveTo>
                      <a:pt x="f8" y="f5"/>
                    </a:moveTo>
                    <a:lnTo>
                      <a:pt x="f9" y="f5"/>
                    </a:lnTo>
                    <a:lnTo>
                      <a:pt x="f7" y="f10"/>
                    </a:lnTo>
                    <a:lnTo>
                      <a:pt x="f6" y="f11"/>
                    </a:lnTo>
                    <a:lnTo>
                      <a:pt x="f6" y="f12"/>
                    </a:lnTo>
                    <a:lnTo>
                      <a:pt x="f13" y="f9"/>
                    </a:lnTo>
                    <a:lnTo>
                      <a:pt x="f9" y="f7"/>
                    </a:lnTo>
                    <a:lnTo>
                      <a:pt x="f14" y="f7"/>
                    </a:lnTo>
                    <a:lnTo>
                      <a:pt x="f10" y="f7"/>
                    </a:lnTo>
                    <a:lnTo>
                      <a:pt x="f5" y="f7"/>
                    </a:lnTo>
                    <a:lnTo>
                      <a:pt x="f5" y="f12"/>
                    </a:lnTo>
                    <a:lnTo>
                      <a:pt x="f10" y="f8"/>
                    </a:lnTo>
                    <a:lnTo>
                      <a:pt x="f15" y="f15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163CCC29-5DAB-4DB4-B8A2-5A05A2068948}"/>
                  </a:ext>
                </a:extLst>
              </p:cNvPr>
              <p:cNvSpPr/>
              <p:nvPr/>
            </p:nvSpPr>
            <p:spPr>
              <a:xfrm rot="21447621">
                <a:off x="4447431" y="1259449"/>
                <a:ext cx="9079" cy="537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6"/>
                  <a:gd name="f7" fmla="val 10"/>
                  <a:gd name="f8" fmla="val 3"/>
                  <a:gd name="f9" fmla="val 8"/>
                  <a:gd name="f10" fmla="val 1"/>
                  <a:gd name="f11" fmla="val 13"/>
                  <a:gd name="f12" fmla="val 4"/>
                  <a:gd name="f13" fmla="val 7"/>
                  <a:gd name="f14" fmla="val 9"/>
                  <a:gd name="f15" fmla="val 12"/>
                  <a:gd name="f16" fmla="val 6"/>
                  <a:gd name="f17" fmla="+- 0 0 -90"/>
                  <a:gd name="f18" fmla="*/ f3 1 16"/>
                  <a:gd name="f19" fmla="*/ f4 1 10"/>
                  <a:gd name="f20" fmla="+- f7 0 f5"/>
                  <a:gd name="f21" fmla="+- f6 0 f5"/>
                  <a:gd name="f22" fmla="*/ f17 f0 1"/>
                  <a:gd name="f23" fmla="*/ f20 1 10"/>
                  <a:gd name="f24" fmla="*/ f21 1 16"/>
                  <a:gd name="f25" fmla="*/ f22 1 f2"/>
                  <a:gd name="f26" fmla="*/ 0 1 f24"/>
                  <a:gd name="f27" fmla="*/ 0 1 f23"/>
                  <a:gd name="f28" fmla="*/ 3 1 f24"/>
                  <a:gd name="f29" fmla="*/ 8 1 f24"/>
                  <a:gd name="f30" fmla="*/ 1 1 f23"/>
                  <a:gd name="f31" fmla="*/ 13 1 f24"/>
                  <a:gd name="f32" fmla="*/ 4 1 f23"/>
                  <a:gd name="f33" fmla="*/ 16 1 f24"/>
                  <a:gd name="f34" fmla="*/ 7 1 f23"/>
                  <a:gd name="f35" fmla="*/ 9 1 f23"/>
                  <a:gd name="f36" fmla="*/ 12 1 f24"/>
                  <a:gd name="f37" fmla="*/ 10 1 f23"/>
                  <a:gd name="f38" fmla="*/ 7 1 f24"/>
                  <a:gd name="f39" fmla="*/ 6 1 f23"/>
                  <a:gd name="f40" fmla="*/ 3 1 f23"/>
                  <a:gd name="f41" fmla="*/ f6 1 f24"/>
                  <a:gd name="f42" fmla="*/ f7 1 f23"/>
                  <a:gd name="f43" fmla="+- f25 0 f1"/>
                  <a:gd name="f44" fmla="*/ f26 f18 1"/>
                  <a:gd name="f45" fmla="*/ f41 f18 1"/>
                  <a:gd name="f46" fmla="*/ f42 f19 1"/>
                  <a:gd name="f47" fmla="*/ f27 f19 1"/>
                  <a:gd name="f48" fmla="*/ f28 f18 1"/>
                  <a:gd name="f49" fmla="*/ f29 f18 1"/>
                  <a:gd name="f50" fmla="*/ f30 f19 1"/>
                  <a:gd name="f51" fmla="*/ f31 f18 1"/>
                  <a:gd name="f52" fmla="*/ f32 f19 1"/>
                  <a:gd name="f53" fmla="*/ f33 f18 1"/>
                  <a:gd name="f54" fmla="*/ f34 f19 1"/>
                  <a:gd name="f55" fmla="*/ f35 f19 1"/>
                  <a:gd name="f56" fmla="*/ f36 f18 1"/>
                  <a:gd name="f57" fmla="*/ f37 f19 1"/>
                  <a:gd name="f58" fmla="*/ f38 f18 1"/>
                  <a:gd name="f59" fmla="*/ f39 f19 1"/>
                  <a:gd name="f60" fmla="*/ f40 f1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3">
                    <a:pos x="f44" y="f47"/>
                  </a:cxn>
                  <a:cxn ang="f43">
                    <a:pos x="f48" y="f47"/>
                  </a:cxn>
                  <a:cxn ang="f43">
                    <a:pos x="f49" y="f50"/>
                  </a:cxn>
                  <a:cxn ang="f43">
                    <a:pos x="f51" y="f52"/>
                  </a:cxn>
                  <a:cxn ang="f43">
                    <a:pos x="f53" y="f54"/>
                  </a:cxn>
                  <a:cxn ang="f43">
                    <a:pos x="f53" y="f55"/>
                  </a:cxn>
                  <a:cxn ang="f43">
                    <a:pos x="f56" y="f57"/>
                  </a:cxn>
                  <a:cxn ang="f43">
                    <a:pos x="f58" y="f55"/>
                  </a:cxn>
                  <a:cxn ang="f43">
                    <a:pos x="f48" y="f59"/>
                  </a:cxn>
                  <a:cxn ang="f43">
                    <a:pos x="f44" y="f60"/>
                  </a:cxn>
                  <a:cxn ang="f43">
                    <a:pos x="f44" y="f47"/>
                  </a:cxn>
                </a:cxnLst>
                <a:rect l="f44" t="f47" r="f45" b="f46"/>
                <a:pathLst>
                  <a:path w="16" h="10">
                    <a:moveTo>
                      <a:pt x="f5" y="f5"/>
                    </a:moveTo>
                    <a:lnTo>
                      <a:pt x="f8" y="f5"/>
                    </a:lnTo>
                    <a:lnTo>
                      <a:pt x="f9" y="f10"/>
                    </a:lnTo>
                    <a:lnTo>
                      <a:pt x="f11" y="f12"/>
                    </a:lnTo>
                    <a:lnTo>
                      <a:pt x="f6" y="f13"/>
                    </a:lnTo>
                    <a:lnTo>
                      <a:pt x="f6" y="f14"/>
                    </a:lnTo>
                    <a:lnTo>
                      <a:pt x="f15" y="f7"/>
                    </a:lnTo>
                    <a:lnTo>
                      <a:pt x="f13" y="f14"/>
                    </a:lnTo>
                    <a:lnTo>
                      <a:pt x="f8" y="f16"/>
                    </a:lnTo>
                    <a:lnTo>
                      <a:pt x="f5" y="f8"/>
                    </a:lnTo>
                    <a:lnTo>
                      <a:pt x="f5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149F3CC8-FB1E-4E53-A765-F1D817209FA9}"/>
                  </a:ext>
                </a:extLst>
              </p:cNvPr>
              <p:cNvSpPr/>
              <p:nvPr/>
            </p:nvSpPr>
            <p:spPr>
              <a:xfrm rot="21447621">
                <a:off x="4519541" y="1218648"/>
                <a:ext cx="5678" cy="8604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0"/>
                  <a:gd name="f7" fmla="val 16"/>
                  <a:gd name="f8" fmla="val 7"/>
                  <a:gd name="f9" fmla="val 9"/>
                  <a:gd name="f10" fmla="val 1"/>
                  <a:gd name="f11" fmla="val 5"/>
                  <a:gd name="f12" fmla="val 8"/>
                  <a:gd name="f13" fmla="val 14"/>
                  <a:gd name="f14" fmla="val 6"/>
                  <a:gd name="f15" fmla="val 15"/>
                  <a:gd name="f16" fmla="val 11"/>
                  <a:gd name="f17" fmla="val 3"/>
                  <a:gd name="f18" fmla="val 2"/>
                  <a:gd name="f19" fmla="+- 0 0 -90"/>
                  <a:gd name="f20" fmla="*/ f3 1 10"/>
                  <a:gd name="f21" fmla="*/ f4 1 16"/>
                  <a:gd name="f22" fmla="+- f7 0 f5"/>
                  <a:gd name="f23" fmla="+- f6 0 f5"/>
                  <a:gd name="f24" fmla="*/ f19 f0 1"/>
                  <a:gd name="f25" fmla="*/ f23 1 10"/>
                  <a:gd name="f26" fmla="*/ f22 1 16"/>
                  <a:gd name="f27" fmla="*/ f24 1 f2"/>
                  <a:gd name="f28" fmla="*/ 7 1 f25"/>
                  <a:gd name="f29" fmla="*/ 0 1 f26"/>
                  <a:gd name="f30" fmla="*/ 9 1 f25"/>
                  <a:gd name="f31" fmla="*/ 1 1 f26"/>
                  <a:gd name="f32" fmla="*/ 10 1 f25"/>
                  <a:gd name="f33" fmla="*/ 5 1 f26"/>
                  <a:gd name="f34" fmla="*/ 10 1 f26"/>
                  <a:gd name="f35" fmla="*/ 8 1 f25"/>
                  <a:gd name="f36" fmla="*/ 14 1 f26"/>
                  <a:gd name="f37" fmla="*/ 6 1 f25"/>
                  <a:gd name="f38" fmla="*/ 16 1 f26"/>
                  <a:gd name="f39" fmla="*/ 1 1 f25"/>
                  <a:gd name="f40" fmla="*/ 15 1 f26"/>
                  <a:gd name="f41" fmla="*/ 0 1 f25"/>
                  <a:gd name="f42" fmla="*/ 11 1 f26"/>
                  <a:gd name="f43" fmla="*/ 6 1 f26"/>
                  <a:gd name="f44" fmla="*/ 3 1 f25"/>
                  <a:gd name="f45" fmla="*/ 2 1 f26"/>
                  <a:gd name="f46" fmla="*/ f6 1 f25"/>
                  <a:gd name="f47" fmla="*/ f7 1 f26"/>
                  <a:gd name="f48" fmla="+- f27 0 f1"/>
                  <a:gd name="f49" fmla="*/ f41 f20 1"/>
                  <a:gd name="f50" fmla="*/ f46 f20 1"/>
                  <a:gd name="f51" fmla="*/ f47 f21 1"/>
                  <a:gd name="f52" fmla="*/ f29 f21 1"/>
                  <a:gd name="f53" fmla="*/ f28 f20 1"/>
                  <a:gd name="f54" fmla="*/ f30 f20 1"/>
                  <a:gd name="f55" fmla="*/ f31 f21 1"/>
                  <a:gd name="f56" fmla="*/ f32 f20 1"/>
                  <a:gd name="f57" fmla="*/ f33 f21 1"/>
                  <a:gd name="f58" fmla="*/ f34 f21 1"/>
                  <a:gd name="f59" fmla="*/ f35 f20 1"/>
                  <a:gd name="f60" fmla="*/ f36 f21 1"/>
                  <a:gd name="f61" fmla="*/ f37 f20 1"/>
                  <a:gd name="f62" fmla="*/ f38 f21 1"/>
                  <a:gd name="f63" fmla="*/ f39 f20 1"/>
                  <a:gd name="f64" fmla="*/ f40 f21 1"/>
                  <a:gd name="f65" fmla="*/ f42 f21 1"/>
                  <a:gd name="f66" fmla="*/ f43 f21 1"/>
                  <a:gd name="f67" fmla="*/ f44 f20 1"/>
                  <a:gd name="f68" fmla="*/ f45 f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8">
                    <a:pos x="f53" y="f52"/>
                  </a:cxn>
                  <a:cxn ang="f48">
                    <a:pos x="f54" y="f55"/>
                  </a:cxn>
                  <a:cxn ang="f48">
                    <a:pos x="f56" y="f57"/>
                  </a:cxn>
                  <a:cxn ang="f48">
                    <a:pos x="f54" y="f58"/>
                  </a:cxn>
                  <a:cxn ang="f48">
                    <a:pos x="f59" y="f60"/>
                  </a:cxn>
                  <a:cxn ang="f48">
                    <a:pos x="f61" y="f62"/>
                  </a:cxn>
                  <a:cxn ang="f48">
                    <a:pos x="f63" y="f64"/>
                  </a:cxn>
                  <a:cxn ang="f48">
                    <a:pos x="f49" y="f65"/>
                  </a:cxn>
                  <a:cxn ang="f48">
                    <a:pos x="f49" y="f66"/>
                  </a:cxn>
                  <a:cxn ang="f48">
                    <a:pos x="f67" y="f68"/>
                  </a:cxn>
                  <a:cxn ang="f48">
                    <a:pos x="f53" y="f52"/>
                  </a:cxn>
                </a:cxnLst>
                <a:rect l="f49" t="f52" r="f50" b="f51"/>
                <a:pathLst>
                  <a:path w="10" h="16">
                    <a:moveTo>
                      <a:pt x="f8" y="f5"/>
                    </a:moveTo>
                    <a:lnTo>
                      <a:pt x="f9" y="f10"/>
                    </a:lnTo>
                    <a:lnTo>
                      <a:pt x="f6" y="f11"/>
                    </a:lnTo>
                    <a:lnTo>
                      <a:pt x="f9" y="f6"/>
                    </a:lnTo>
                    <a:lnTo>
                      <a:pt x="f12" y="f13"/>
                    </a:lnTo>
                    <a:lnTo>
                      <a:pt x="f14" y="f7"/>
                    </a:lnTo>
                    <a:lnTo>
                      <a:pt x="f10" y="f15"/>
                    </a:lnTo>
                    <a:lnTo>
                      <a:pt x="f5" y="f16"/>
                    </a:lnTo>
                    <a:lnTo>
                      <a:pt x="f5" y="f14"/>
                    </a:lnTo>
                    <a:lnTo>
                      <a:pt x="f17" y="f18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F2E61197-04FF-4136-8AFA-D1D229E61D0B}"/>
                  </a:ext>
                </a:extLst>
              </p:cNvPr>
              <p:cNvSpPr/>
              <p:nvPr/>
            </p:nvSpPr>
            <p:spPr>
              <a:xfrm rot="21447621">
                <a:off x="4555349" y="1195569"/>
                <a:ext cx="3968" cy="537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7"/>
                  <a:gd name="f7" fmla="val 10"/>
                  <a:gd name="f8" fmla="val 2"/>
                  <a:gd name="f9" fmla="val 4"/>
                  <a:gd name="f10" fmla="val 6"/>
                  <a:gd name="f11" fmla="val 1"/>
                  <a:gd name="f12" fmla="val 3"/>
                  <a:gd name="f13" fmla="val 9"/>
                  <a:gd name="f14" fmla="val 5"/>
                  <a:gd name="f15" fmla="+- 0 0 -90"/>
                  <a:gd name="f16" fmla="*/ f3 1 7"/>
                  <a:gd name="f17" fmla="*/ f4 1 10"/>
                  <a:gd name="f18" fmla="+- f7 0 f5"/>
                  <a:gd name="f19" fmla="+- f6 0 f5"/>
                  <a:gd name="f20" fmla="*/ f15 f0 1"/>
                  <a:gd name="f21" fmla="*/ f18 1 10"/>
                  <a:gd name="f22" fmla="*/ f19 1 7"/>
                  <a:gd name="f23" fmla="*/ f20 1 f2"/>
                  <a:gd name="f24" fmla="*/ 2 1 f22"/>
                  <a:gd name="f25" fmla="*/ 0 1 f21"/>
                  <a:gd name="f26" fmla="*/ 4 1 f22"/>
                  <a:gd name="f27" fmla="*/ 6 1 f22"/>
                  <a:gd name="f28" fmla="*/ 1 1 f21"/>
                  <a:gd name="f29" fmla="*/ 7 1 f22"/>
                  <a:gd name="f30" fmla="*/ 3 1 f21"/>
                  <a:gd name="f31" fmla="*/ 7 1 f21"/>
                  <a:gd name="f32" fmla="*/ 10 1 f21"/>
                  <a:gd name="f33" fmla="*/ 3 1 f22"/>
                  <a:gd name="f34" fmla="*/ 9 1 f21"/>
                  <a:gd name="f35" fmla="*/ 0 1 f22"/>
                  <a:gd name="f36" fmla="*/ 5 1 f21"/>
                  <a:gd name="f37" fmla="*/ 1 1 f22"/>
                  <a:gd name="f38" fmla="*/ f6 1 f22"/>
                  <a:gd name="f39" fmla="*/ f7 1 f21"/>
                  <a:gd name="f40" fmla="+- f23 0 f1"/>
                  <a:gd name="f41" fmla="*/ f35 f16 1"/>
                  <a:gd name="f42" fmla="*/ f38 f16 1"/>
                  <a:gd name="f43" fmla="*/ f39 f17 1"/>
                  <a:gd name="f44" fmla="*/ f25 f17 1"/>
                  <a:gd name="f45" fmla="*/ f24 f16 1"/>
                  <a:gd name="f46" fmla="*/ f26 f16 1"/>
                  <a:gd name="f47" fmla="*/ f27 f16 1"/>
                  <a:gd name="f48" fmla="*/ f28 f17 1"/>
                  <a:gd name="f49" fmla="*/ f29 f16 1"/>
                  <a:gd name="f50" fmla="*/ f30 f17 1"/>
                  <a:gd name="f51" fmla="*/ f31 f17 1"/>
                  <a:gd name="f52" fmla="*/ f32 f17 1"/>
                  <a:gd name="f53" fmla="*/ f33 f16 1"/>
                  <a:gd name="f54" fmla="*/ f34 f17 1"/>
                  <a:gd name="f55" fmla="*/ f36 f17 1"/>
                  <a:gd name="f56" fmla="*/ f37 f1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0">
                    <a:pos x="f45" y="f44"/>
                  </a:cxn>
                  <a:cxn ang="f40">
                    <a:pos x="f46" y="f44"/>
                  </a:cxn>
                  <a:cxn ang="f40">
                    <a:pos x="f47" y="f48"/>
                  </a:cxn>
                  <a:cxn ang="f40">
                    <a:pos x="f49" y="f50"/>
                  </a:cxn>
                  <a:cxn ang="f40">
                    <a:pos x="f49" y="f51"/>
                  </a:cxn>
                  <a:cxn ang="f40">
                    <a:pos x="f46" y="f52"/>
                  </a:cxn>
                  <a:cxn ang="f40">
                    <a:pos x="f53" y="f52"/>
                  </a:cxn>
                  <a:cxn ang="f40">
                    <a:pos x="f45" y="f54"/>
                  </a:cxn>
                  <a:cxn ang="f40">
                    <a:pos x="f41" y="f55"/>
                  </a:cxn>
                  <a:cxn ang="f40">
                    <a:pos x="f41" y="f50"/>
                  </a:cxn>
                  <a:cxn ang="f40">
                    <a:pos x="f56" y="f48"/>
                  </a:cxn>
                  <a:cxn ang="f40">
                    <a:pos x="f45" y="f44"/>
                  </a:cxn>
                </a:cxnLst>
                <a:rect l="f41" t="f44" r="f42" b="f43"/>
                <a:pathLst>
                  <a:path w="7" h="10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6" y="f12"/>
                    </a:lnTo>
                    <a:lnTo>
                      <a:pt x="f6" y="f6"/>
                    </a:lnTo>
                    <a:lnTo>
                      <a:pt x="f9" y="f7"/>
                    </a:lnTo>
                    <a:lnTo>
                      <a:pt x="f12" y="f7"/>
                    </a:lnTo>
                    <a:lnTo>
                      <a:pt x="f8" y="f13"/>
                    </a:lnTo>
                    <a:lnTo>
                      <a:pt x="f5" y="f14"/>
                    </a:lnTo>
                    <a:lnTo>
                      <a:pt x="f5" y="f12"/>
                    </a:lnTo>
                    <a:lnTo>
                      <a:pt x="f11" y="f11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F9376A10-57A6-4F1B-A9D7-2A7A693D5129}"/>
                  </a:ext>
                </a:extLst>
              </p:cNvPr>
              <p:cNvSpPr/>
              <p:nvPr/>
            </p:nvSpPr>
            <p:spPr>
              <a:xfrm rot="21447621">
                <a:off x="4570912" y="1093366"/>
                <a:ext cx="18726" cy="1506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3"/>
                  <a:gd name="f7" fmla="val 28"/>
                  <a:gd name="f8" fmla="val 25"/>
                  <a:gd name="f9" fmla="val 31"/>
                  <a:gd name="f10" fmla="val 1"/>
                  <a:gd name="f11" fmla="val 3"/>
                  <a:gd name="f12" fmla="val 32"/>
                  <a:gd name="f13" fmla="val 9"/>
                  <a:gd name="f14" fmla="val 26"/>
                  <a:gd name="f15" fmla="val 23"/>
                  <a:gd name="f16" fmla="val 27"/>
                  <a:gd name="f17" fmla="val 17"/>
                  <a:gd name="f18" fmla="val 7"/>
                  <a:gd name="f19" fmla="val 4"/>
                  <a:gd name="f20" fmla="val 24"/>
                  <a:gd name="f21" fmla="val 2"/>
                  <a:gd name="f22" fmla="val 19"/>
                  <a:gd name="f23" fmla="val 15"/>
                  <a:gd name="f24" fmla="val 10"/>
                  <a:gd name="f25" fmla="val 5"/>
                  <a:gd name="f26" fmla="val 6"/>
                  <a:gd name="f27" fmla="val 11"/>
                  <a:gd name="f28" fmla="val 18"/>
                  <a:gd name="f29" fmla="+- 0 0 -90"/>
                  <a:gd name="f30" fmla="*/ f3 1 33"/>
                  <a:gd name="f31" fmla="*/ f4 1 28"/>
                  <a:gd name="f32" fmla="+- f7 0 f5"/>
                  <a:gd name="f33" fmla="+- f6 0 f5"/>
                  <a:gd name="f34" fmla="*/ f29 f0 1"/>
                  <a:gd name="f35" fmla="*/ f33 1 33"/>
                  <a:gd name="f36" fmla="*/ f32 1 28"/>
                  <a:gd name="f37" fmla="*/ f34 1 f2"/>
                  <a:gd name="f38" fmla="*/ 25 1 f35"/>
                  <a:gd name="f39" fmla="*/ 0 1 f36"/>
                  <a:gd name="f40" fmla="*/ 31 1 f35"/>
                  <a:gd name="f41" fmla="*/ 1 1 f36"/>
                  <a:gd name="f42" fmla="*/ 33 1 f35"/>
                  <a:gd name="f43" fmla="*/ 3 1 f36"/>
                  <a:gd name="f44" fmla="*/ 32 1 f35"/>
                  <a:gd name="f45" fmla="*/ 9 1 f36"/>
                  <a:gd name="f46" fmla="*/ 26 1 f35"/>
                  <a:gd name="f47" fmla="*/ 23 1 f36"/>
                  <a:gd name="f48" fmla="*/ 23 1 f35"/>
                  <a:gd name="f49" fmla="*/ 27 1 f36"/>
                  <a:gd name="f50" fmla="*/ 17 1 f35"/>
                  <a:gd name="f51" fmla="*/ 28 1 f36"/>
                  <a:gd name="f52" fmla="*/ 7 1 f35"/>
                  <a:gd name="f53" fmla="*/ 4 1 f35"/>
                  <a:gd name="f54" fmla="*/ 24 1 f36"/>
                  <a:gd name="f55" fmla="*/ 2 1 f35"/>
                  <a:gd name="f56" fmla="*/ 19 1 f36"/>
                  <a:gd name="f57" fmla="*/ 0 1 f35"/>
                  <a:gd name="f58" fmla="*/ 15 1 f36"/>
                  <a:gd name="f59" fmla="*/ 1 1 f35"/>
                  <a:gd name="f60" fmla="*/ 10 1 f36"/>
                  <a:gd name="f61" fmla="*/ 5 1 f35"/>
                  <a:gd name="f62" fmla="*/ 6 1 f36"/>
                  <a:gd name="f63" fmla="*/ 11 1 f35"/>
                  <a:gd name="f64" fmla="*/ 18 1 f35"/>
                  <a:gd name="f65" fmla="*/ f6 1 f35"/>
                  <a:gd name="f66" fmla="*/ f7 1 f36"/>
                  <a:gd name="f67" fmla="+- f37 0 f1"/>
                  <a:gd name="f68" fmla="*/ f57 f30 1"/>
                  <a:gd name="f69" fmla="*/ f65 f30 1"/>
                  <a:gd name="f70" fmla="*/ f66 f31 1"/>
                  <a:gd name="f71" fmla="*/ f39 f31 1"/>
                  <a:gd name="f72" fmla="*/ f38 f30 1"/>
                  <a:gd name="f73" fmla="*/ f40 f30 1"/>
                  <a:gd name="f74" fmla="*/ f41 f31 1"/>
                  <a:gd name="f75" fmla="*/ f42 f30 1"/>
                  <a:gd name="f76" fmla="*/ f43 f31 1"/>
                  <a:gd name="f77" fmla="*/ f44 f30 1"/>
                  <a:gd name="f78" fmla="*/ f45 f31 1"/>
                  <a:gd name="f79" fmla="*/ f46 f30 1"/>
                  <a:gd name="f80" fmla="*/ f47 f31 1"/>
                  <a:gd name="f81" fmla="*/ f48 f30 1"/>
                  <a:gd name="f82" fmla="*/ f49 f31 1"/>
                  <a:gd name="f83" fmla="*/ f50 f30 1"/>
                  <a:gd name="f84" fmla="*/ f51 f31 1"/>
                  <a:gd name="f85" fmla="*/ f52 f30 1"/>
                  <a:gd name="f86" fmla="*/ f53 f30 1"/>
                  <a:gd name="f87" fmla="*/ f54 f31 1"/>
                  <a:gd name="f88" fmla="*/ f55 f30 1"/>
                  <a:gd name="f89" fmla="*/ f56 f31 1"/>
                  <a:gd name="f90" fmla="*/ f58 f31 1"/>
                  <a:gd name="f91" fmla="*/ f59 f30 1"/>
                  <a:gd name="f92" fmla="*/ f60 f31 1"/>
                  <a:gd name="f93" fmla="*/ f61 f30 1"/>
                  <a:gd name="f94" fmla="*/ f62 f31 1"/>
                  <a:gd name="f95" fmla="*/ f63 f30 1"/>
                  <a:gd name="f96" fmla="*/ f64 f3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7">
                    <a:pos x="f72" y="f71"/>
                  </a:cxn>
                  <a:cxn ang="f67">
                    <a:pos x="f73" y="f74"/>
                  </a:cxn>
                  <a:cxn ang="f67">
                    <a:pos x="f75" y="f76"/>
                  </a:cxn>
                  <a:cxn ang="f67">
                    <a:pos x="f77" y="f78"/>
                  </a:cxn>
                  <a:cxn ang="f67">
                    <a:pos x="f79" y="f80"/>
                  </a:cxn>
                  <a:cxn ang="f67">
                    <a:pos x="f81" y="f82"/>
                  </a:cxn>
                  <a:cxn ang="f67">
                    <a:pos x="f83" y="f84"/>
                  </a:cxn>
                  <a:cxn ang="f67">
                    <a:pos x="f85" y="f84"/>
                  </a:cxn>
                  <a:cxn ang="f67">
                    <a:pos x="f86" y="f87"/>
                  </a:cxn>
                  <a:cxn ang="f67">
                    <a:pos x="f88" y="f89"/>
                  </a:cxn>
                  <a:cxn ang="f67">
                    <a:pos x="f68" y="f90"/>
                  </a:cxn>
                  <a:cxn ang="f67">
                    <a:pos x="f91" y="f92"/>
                  </a:cxn>
                  <a:cxn ang="f67">
                    <a:pos x="f93" y="f94"/>
                  </a:cxn>
                  <a:cxn ang="f67">
                    <a:pos x="f95" y="f76"/>
                  </a:cxn>
                  <a:cxn ang="f67">
                    <a:pos x="f96" y="f74"/>
                  </a:cxn>
                  <a:cxn ang="f67">
                    <a:pos x="f72" y="f71"/>
                  </a:cxn>
                </a:cxnLst>
                <a:rect l="f68" t="f71" r="f69" b="f70"/>
                <a:pathLst>
                  <a:path w="33" h="28">
                    <a:moveTo>
                      <a:pt x="f8" y="f5"/>
                    </a:moveTo>
                    <a:lnTo>
                      <a:pt x="f9" y="f10"/>
                    </a:lnTo>
                    <a:lnTo>
                      <a:pt x="f6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5" y="f16"/>
                    </a:lnTo>
                    <a:lnTo>
                      <a:pt x="f17" y="f7"/>
                    </a:lnTo>
                    <a:lnTo>
                      <a:pt x="f18" y="f7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5" y="f23"/>
                    </a:lnTo>
                    <a:lnTo>
                      <a:pt x="f10" y="f24"/>
                    </a:lnTo>
                    <a:lnTo>
                      <a:pt x="f25" y="f26"/>
                    </a:lnTo>
                    <a:lnTo>
                      <a:pt x="f27" y="f11"/>
                    </a:lnTo>
                    <a:lnTo>
                      <a:pt x="f28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65636E32-E07F-418C-B822-5D6BE2544C77}"/>
                  </a:ext>
                </a:extLst>
              </p:cNvPr>
              <p:cNvSpPr/>
              <p:nvPr/>
            </p:nvSpPr>
            <p:spPr>
              <a:xfrm rot="21447621">
                <a:off x="4514228" y="1044638"/>
                <a:ext cx="24963" cy="1506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4"/>
                  <a:gd name="f7" fmla="val 28"/>
                  <a:gd name="f8" fmla="val 29"/>
                  <a:gd name="f9" fmla="val 41"/>
                  <a:gd name="f10" fmla="val 43"/>
                  <a:gd name="f11" fmla="val 2"/>
                  <a:gd name="f12" fmla="val 8"/>
                  <a:gd name="f13" fmla="val 14"/>
                  <a:gd name="f14" fmla="val 20"/>
                  <a:gd name="f15" fmla="val 39"/>
                  <a:gd name="f16" fmla="val 26"/>
                  <a:gd name="f17" fmla="val 36"/>
                  <a:gd name="f18" fmla="val 31"/>
                  <a:gd name="f19" fmla="val 27"/>
                  <a:gd name="f20" fmla="val 23"/>
                  <a:gd name="f21" fmla="val 6"/>
                  <a:gd name="f22" fmla="val 18"/>
                  <a:gd name="f23" fmla="val 3"/>
                  <a:gd name="f24" fmla="val 9"/>
                  <a:gd name="f25" fmla="val 4"/>
                  <a:gd name="f26" fmla="val 11"/>
                  <a:gd name="f27" fmla="val 1"/>
                  <a:gd name="f28" fmla="val 22"/>
                  <a:gd name="f29" fmla="+- 0 0 -90"/>
                  <a:gd name="f30" fmla="*/ f3 1 44"/>
                  <a:gd name="f31" fmla="*/ f4 1 28"/>
                  <a:gd name="f32" fmla="+- f7 0 f5"/>
                  <a:gd name="f33" fmla="+- f6 0 f5"/>
                  <a:gd name="f34" fmla="*/ f29 f0 1"/>
                  <a:gd name="f35" fmla="*/ f33 1 44"/>
                  <a:gd name="f36" fmla="*/ f32 1 28"/>
                  <a:gd name="f37" fmla="*/ f34 1 f2"/>
                  <a:gd name="f38" fmla="*/ 29 1 f35"/>
                  <a:gd name="f39" fmla="*/ 0 1 f36"/>
                  <a:gd name="f40" fmla="*/ 41 1 f35"/>
                  <a:gd name="f41" fmla="*/ 43 1 f35"/>
                  <a:gd name="f42" fmla="*/ 2 1 f36"/>
                  <a:gd name="f43" fmla="*/ 44 1 f35"/>
                  <a:gd name="f44" fmla="*/ 8 1 f36"/>
                  <a:gd name="f45" fmla="*/ 14 1 f36"/>
                  <a:gd name="f46" fmla="*/ 20 1 f36"/>
                  <a:gd name="f47" fmla="*/ 39 1 f35"/>
                  <a:gd name="f48" fmla="*/ 26 1 f36"/>
                  <a:gd name="f49" fmla="*/ 36 1 f35"/>
                  <a:gd name="f50" fmla="*/ 28 1 f36"/>
                  <a:gd name="f51" fmla="*/ 31 1 f35"/>
                  <a:gd name="f52" fmla="*/ 27 1 f36"/>
                  <a:gd name="f53" fmla="*/ 23 1 f35"/>
                  <a:gd name="f54" fmla="*/ 14 1 f35"/>
                  <a:gd name="f55" fmla="*/ 23 1 f36"/>
                  <a:gd name="f56" fmla="*/ 6 1 f35"/>
                  <a:gd name="f57" fmla="*/ 2 1 f35"/>
                  <a:gd name="f58" fmla="*/ 18 1 f36"/>
                  <a:gd name="f59" fmla="*/ 0 1 f35"/>
                  <a:gd name="f60" fmla="*/ 3 1 f35"/>
                  <a:gd name="f61" fmla="*/ 9 1 f36"/>
                  <a:gd name="f62" fmla="*/ 4 1 f36"/>
                  <a:gd name="f63" fmla="*/ 11 1 f35"/>
                  <a:gd name="f64" fmla="*/ 1 1 f36"/>
                  <a:gd name="f65" fmla="*/ 22 1 f35"/>
                  <a:gd name="f66" fmla="*/ f6 1 f35"/>
                  <a:gd name="f67" fmla="*/ f7 1 f36"/>
                  <a:gd name="f68" fmla="+- f37 0 f1"/>
                  <a:gd name="f69" fmla="*/ f59 f30 1"/>
                  <a:gd name="f70" fmla="*/ f66 f30 1"/>
                  <a:gd name="f71" fmla="*/ f67 f31 1"/>
                  <a:gd name="f72" fmla="*/ f39 f31 1"/>
                  <a:gd name="f73" fmla="*/ f38 f30 1"/>
                  <a:gd name="f74" fmla="*/ f40 f30 1"/>
                  <a:gd name="f75" fmla="*/ f41 f30 1"/>
                  <a:gd name="f76" fmla="*/ f42 f31 1"/>
                  <a:gd name="f77" fmla="*/ f43 f30 1"/>
                  <a:gd name="f78" fmla="*/ f44 f31 1"/>
                  <a:gd name="f79" fmla="*/ f45 f31 1"/>
                  <a:gd name="f80" fmla="*/ f46 f31 1"/>
                  <a:gd name="f81" fmla="*/ f47 f30 1"/>
                  <a:gd name="f82" fmla="*/ f48 f31 1"/>
                  <a:gd name="f83" fmla="*/ f49 f30 1"/>
                  <a:gd name="f84" fmla="*/ f50 f31 1"/>
                  <a:gd name="f85" fmla="*/ f51 f30 1"/>
                  <a:gd name="f86" fmla="*/ f52 f31 1"/>
                  <a:gd name="f87" fmla="*/ f53 f30 1"/>
                  <a:gd name="f88" fmla="*/ f54 f30 1"/>
                  <a:gd name="f89" fmla="*/ f55 f31 1"/>
                  <a:gd name="f90" fmla="*/ f56 f30 1"/>
                  <a:gd name="f91" fmla="*/ f57 f30 1"/>
                  <a:gd name="f92" fmla="*/ f58 f31 1"/>
                  <a:gd name="f93" fmla="*/ f60 f30 1"/>
                  <a:gd name="f94" fmla="*/ f61 f31 1"/>
                  <a:gd name="f95" fmla="*/ f62 f31 1"/>
                  <a:gd name="f96" fmla="*/ f63 f30 1"/>
                  <a:gd name="f97" fmla="*/ f64 f31 1"/>
                  <a:gd name="f98" fmla="*/ f65 f3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8">
                    <a:pos x="f73" y="f72"/>
                  </a:cxn>
                  <a:cxn ang="f68">
                    <a:pos x="f74" y="f72"/>
                  </a:cxn>
                  <a:cxn ang="f68">
                    <a:pos x="f75" y="f76"/>
                  </a:cxn>
                  <a:cxn ang="f68">
                    <a:pos x="f77" y="f78"/>
                  </a:cxn>
                  <a:cxn ang="f68">
                    <a:pos x="f75" y="f79"/>
                  </a:cxn>
                  <a:cxn ang="f68">
                    <a:pos x="f74" y="f80"/>
                  </a:cxn>
                  <a:cxn ang="f68">
                    <a:pos x="f81" y="f82"/>
                  </a:cxn>
                  <a:cxn ang="f68">
                    <a:pos x="f83" y="f84"/>
                  </a:cxn>
                  <a:cxn ang="f68">
                    <a:pos x="f85" y="f86"/>
                  </a:cxn>
                  <a:cxn ang="f68">
                    <a:pos x="f87" y="f82"/>
                  </a:cxn>
                  <a:cxn ang="f68">
                    <a:pos x="f88" y="f89"/>
                  </a:cxn>
                  <a:cxn ang="f68">
                    <a:pos x="f90" y="f80"/>
                  </a:cxn>
                  <a:cxn ang="f68">
                    <a:pos x="f91" y="f92"/>
                  </a:cxn>
                  <a:cxn ang="f68">
                    <a:pos x="f69" y="f79"/>
                  </a:cxn>
                  <a:cxn ang="f68">
                    <a:pos x="f93" y="f94"/>
                  </a:cxn>
                  <a:cxn ang="f68">
                    <a:pos x="f90" y="f95"/>
                  </a:cxn>
                  <a:cxn ang="f68">
                    <a:pos x="f96" y="f97"/>
                  </a:cxn>
                  <a:cxn ang="f68">
                    <a:pos x="f98" y="f97"/>
                  </a:cxn>
                  <a:cxn ang="f68">
                    <a:pos x="f73" y="f72"/>
                  </a:cxn>
                </a:cxnLst>
                <a:rect l="f69" t="f72" r="f70" b="f71"/>
                <a:pathLst>
                  <a:path w="44" h="28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6" y="f12"/>
                    </a:lnTo>
                    <a:lnTo>
                      <a:pt x="f10" y="f13"/>
                    </a:lnTo>
                    <a:lnTo>
                      <a:pt x="f9" y="f14"/>
                    </a:lnTo>
                    <a:lnTo>
                      <a:pt x="f15" y="f16"/>
                    </a:lnTo>
                    <a:lnTo>
                      <a:pt x="f17" y="f7"/>
                    </a:lnTo>
                    <a:lnTo>
                      <a:pt x="f18" y="f19"/>
                    </a:lnTo>
                    <a:lnTo>
                      <a:pt x="f20" y="f16"/>
                    </a:lnTo>
                    <a:lnTo>
                      <a:pt x="f13" y="f20"/>
                    </a:lnTo>
                    <a:lnTo>
                      <a:pt x="f21" y="f14"/>
                    </a:lnTo>
                    <a:lnTo>
                      <a:pt x="f11" y="f22"/>
                    </a:lnTo>
                    <a:lnTo>
                      <a:pt x="f5" y="f13"/>
                    </a:lnTo>
                    <a:lnTo>
                      <a:pt x="f23" y="f24"/>
                    </a:lnTo>
                    <a:lnTo>
                      <a:pt x="f21" y="f25"/>
                    </a:lnTo>
                    <a:lnTo>
                      <a:pt x="f26" y="f27"/>
                    </a:lnTo>
                    <a:lnTo>
                      <a:pt x="f28" y="f27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CB98855C-2D7A-4FD5-828C-00BE8147176E}"/>
                  </a:ext>
                </a:extLst>
              </p:cNvPr>
              <p:cNvSpPr/>
              <p:nvPr/>
            </p:nvSpPr>
            <p:spPr>
              <a:xfrm rot="21447621">
                <a:off x="4500613" y="1054660"/>
                <a:ext cx="11914" cy="2043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1"/>
                  <a:gd name="f7" fmla="val 38"/>
                  <a:gd name="f8" fmla="val 11"/>
                  <a:gd name="f9" fmla="val 14"/>
                  <a:gd name="f10" fmla="val 1"/>
                  <a:gd name="f11" fmla="val 15"/>
                  <a:gd name="f12" fmla="val 9"/>
                  <a:gd name="f13" fmla="val 18"/>
                  <a:gd name="f14" fmla="val 20"/>
                  <a:gd name="f15" fmla="val 27"/>
                  <a:gd name="f16" fmla="val 32"/>
                  <a:gd name="f17" fmla="val 36"/>
                  <a:gd name="f18" fmla="val 37"/>
                  <a:gd name="f19" fmla="val 8"/>
                  <a:gd name="f20" fmla="val 33"/>
                  <a:gd name="f21" fmla="val 3"/>
                  <a:gd name="f22" fmla="val 13"/>
                  <a:gd name="f23" fmla="val 10"/>
                  <a:gd name="f24" fmla="val 5"/>
                  <a:gd name="f25" fmla="val 4"/>
                  <a:gd name="f26" fmla="+- 0 0 -90"/>
                  <a:gd name="f27" fmla="*/ f3 1 21"/>
                  <a:gd name="f28" fmla="*/ f4 1 38"/>
                  <a:gd name="f29" fmla="+- f7 0 f5"/>
                  <a:gd name="f30" fmla="+- f6 0 f5"/>
                  <a:gd name="f31" fmla="*/ f26 f0 1"/>
                  <a:gd name="f32" fmla="*/ f30 1 21"/>
                  <a:gd name="f33" fmla="*/ f29 1 38"/>
                  <a:gd name="f34" fmla="*/ f31 1 f2"/>
                  <a:gd name="f35" fmla="*/ 11 1 f32"/>
                  <a:gd name="f36" fmla="*/ 0 1 f33"/>
                  <a:gd name="f37" fmla="*/ 14 1 f32"/>
                  <a:gd name="f38" fmla="*/ 1 1 f33"/>
                  <a:gd name="f39" fmla="*/ 15 1 f32"/>
                  <a:gd name="f40" fmla="*/ 9 1 f33"/>
                  <a:gd name="f41" fmla="*/ 18 1 f32"/>
                  <a:gd name="f42" fmla="*/ 21 1 f33"/>
                  <a:gd name="f43" fmla="*/ 20 1 f32"/>
                  <a:gd name="f44" fmla="*/ 27 1 f33"/>
                  <a:gd name="f45" fmla="*/ 21 1 f32"/>
                  <a:gd name="f46" fmla="*/ 32 1 f33"/>
                  <a:gd name="f47" fmla="*/ 36 1 f33"/>
                  <a:gd name="f48" fmla="*/ 38 1 f33"/>
                  <a:gd name="f49" fmla="*/ 37 1 f33"/>
                  <a:gd name="f50" fmla="*/ 8 1 f32"/>
                  <a:gd name="f51" fmla="*/ 33 1 f33"/>
                  <a:gd name="f52" fmla="*/ 3 1 f32"/>
                  <a:gd name="f53" fmla="*/ 0 1 f32"/>
                  <a:gd name="f54" fmla="*/ 20 1 f33"/>
                  <a:gd name="f55" fmla="*/ 13 1 f33"/>
                  <a:gd name="f56" fmla="*/ 1 1 f32"/>
                  <a:gd name="f57" fmla="*/ 10 1 f33"/>
                  <a:gd name="f58" fmla="*/ 5 1 f32"/>
                  <a:gd name="f59" fmla="*/ 4 1 f33"/>
                  <a:gd name="f60" fmla="*/ 9 1 f32"/>
                  <a:gd name="f61" fmla="*/ f6 1 f32"/>
                  <a:gd name="f62" fmla="*/ f7 1 f33"/>
                  <a:gd name="f63" fmla="+- f34 0 f1"/>
                  <a:gd name="f64" fmla="*/ f53 f27 1"/>
                  <a:gd name="f65" fmla="*/ f61 f27 1"/>
                  <a:gd name="f66" fmla="*/ f62 f28 1"/>
                  <a:gd name="f67" fmla="*/ f36 f28 1"/>
                  <a:gd name="f68" fmla="*/ f35 f27 1"/>
                  <a:gd name="f69" fmla="*/ f37 f27 1"/>
                  <a:gd name="f70" fmla="*/ f38 f28 1"/>
                  <a:gd name="f71" fmla="*/ f39 f27 1"/>
                  <a:gd name="f72" fmla="*/ f40 f28 1"/>
                  <a:gd name="f73" fmla="*/ f41 f27 1"/>
                  <a:gd name="f74" fmla="*/ f42 f28 1"/>
                  <a:gd name="f75" fmla="*/ f43 f27 1"/>
                  <a:gd name="f76" fmla="*/ f44 f28 1"/>
                  <a:gd name="f77" fmla="*/ f45 f27 1"/>
                  <a:gd name="f78" fmla="*/ f46 f28 1"/>
                  <a:gd name="f79" fmla="*/ f47 f28 1"/>
                  <a:gd name="f80" fmla="*/ f48 f28 1"/>
                  <a:gd name="f81" fmla="*/ f49 f28 1"/>
                  <a:gd name="f82" fmla="*/ f50 f27 1"/>
                  <a:gd name="f83" fmla="*/ f51 f28 1"/>
                  <a:gd name="f84" fmla="*/ f52 f27 1"/>
                  <a:gd name="f85" fmla="*/ f54 f28 1"/>
                  <a:gd name="f86" fmla="*/ f55 f28 1"/>
                  <a:gd name="f87" fmla="*/ f56 f27 1"/>
                  <a:gd name="f88" fmla="*/ f57 f28 1"/>
                  <a:gd name="f89" fmla="*/ f58 f27 1"/>
                  <a:gd name="f90" fmla="*/ f59 f28 1"/>
                  <a:gd name="f91" fmla="*/ f60 f2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3">
                    <a:pos x="f68" y="f67"/>
                  </a:cxn>
                  <a:cxn ang="f63">
                    <a:pos x="f69" y="f67"/>
                  </a:cxn>
                  <a:cxn ang="f63">
                    <a:pos x="f69" y="f70"/>
                  </a:cxn>
                  <a:cxn ang="f63">
                    <a:pos x="f71" y="f72"/>
                  </a:cxn>
                  <a:cxn ang="f63">
                    <a:pos x="f73" y="f74"/>
                  </a:cxn>
                  <a:cxn ang="f63">
                    <a:pos x="f75" y="f76"/>
                  </a:cxn>
                  <a:cxn ang="f63">
                    <a:pos x="f77" y="f78"/>
                  </a:cxn>
                  <a:cxn ang="f63">
                    <a:pos x="f77" y="f79"/>
                  </a:cxn>
                  <a:cxn ang="f63">
                    <a:pos x="f73" y="f80"/>
                  </a:cxn>
                  <a:cxn ang="f63">
                    <a:pos x="f69" y="f81"/>
                  </a:cxn>
                  <a:cxn ang="f63">
                    <a:pos x="f82" y="f83"/>
                  </a:cxn>
                  <a:cxn ang="f63">
                    <a:pos x="f84" y="f76"/>
                  </a:cxn>
                  <a:cxn ang="f63">
                    <a:pos x="f64" y="f85"/>
                  </a:cxn>
                  <a:cxn ang="f63">
                    <a:pos x="f64" y="f86"/>
                  </a:cxn>
                  <a:cxn ang="f63">
                    <a:pos x="f87" y="f88"/>
                  </a:cxn>
                  <a:cxn ang="f63">
                    <a:pos x="f89" y="f90"/>
                  </a:cxn>
                  <a:cxn ang="f63">
                    <a:pos x="f91" y="f70"/>
                  </a:cxn>
                  <a:cxn ang="f63">
                    <a:pos x="f68" y="f67"/>
                  </a:cxn>
                </a:cxnLst>
                <a:rect l="f64" t="f67" r="f65" b="f66"/>
                <a:pathLst>
                  <a:path w="21" h="38">
                    <a:moveTo>
                      <a:pt x="f8" y="f5"/>
                    </a:moveTo>
                    <a:lnTo>
                      <a:pt x="f9" y="f5"/>
                    </a:ln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6"/>
                    </a:lnTo>
                    <a:lnTo>
                      <a:pt x="f14" y="f15"/>
                    </a:lnTo>
                    <a:lnTo>
                      <a:pt x="f6" y="f16"/>
                    </a:lnTo>
                    <a:lnTo>
                      <a:pt x="f6" y="f17"/>
                    </a:lnTo>
                    <a:lnTo>
                      <a:pt x="f13" y="f7"/>
                    </a:lnTo>
                    <a:lnTo>
                      <a:pt x="f9" y="f18"/>
                    </a:lnTo>
                    <a:lnTo>
                      <a:pt x="f19" y="f20"/>
                    </a:lnTo>
                    <a:lnTo>
                      <a:pt x="f21" y="f15"/>
                    </a:lnTo>
                    <a:lnTo>
                      <a:pt x="f5" y="f14"/>
                    </a:lnTo>
                    <a:lnTo>
                      <a:pt x="f5" y="f22"/>
                    </a:lnTo>
                    <a:lnTo>
                      <a:pt x="f10" y="f23"/>
                    </a:lnTo>
                    <a:lnTo>
                      <a:pt x="f24" y="f25"/>
                    </a:lnTo>
                    <a:lnTo>
                      <a:pt x="f12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6B956B82-F55D-4992-AF73-C7E61B76F81A}"/>
                  </a:ext>
                </a:extLst>
              </p:cNvPr>
              <p:cNvSpPr/>
              <p:nvPr/>
            </p:nvSpPr>
            <p:spPr>
              <a:xfrm rot="21447621">
                <a:off x="4496553" y="978234"/>
                <a:ext cx="44823" cy="6721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79"/>
                  <a:gd name="f7" fmla="val 125"/>
                  <a:gd name="f8" fmla="val 31"/>
                  <a:gd name="f9" fmla="val 33"/>
                  <a:gd name="f10" fmla="val 1"/>
                  <a:gd name="f11" fmla="val 35"/>
                  <a:gd name="f12" fmla="val 2"/>
                  <a:gd name="f13" fmla="val 37"/>
                  <a:gd name="f14" fmla="val 3"/>
                  <a:gd name="f15" fmla="val 41"/>
                  <a:gd name="f16" fmla="val 6"/>
                  <a:gd name="f17" fmla="val 11"/>
                  <a:gd name="f18" fmla="val 39"/>
                  <a:gd name="f19" fmla="val 13"/>
                  <a:gd name="f20" fmla="val 18"/>
                  <a:gd name="f21" fmla="val 29"/>
                  <a:gd name="f22" fmla="val 24"/>
                  <a:gd name="f23" fmla="val 22"/>
                  <a:gd name="f24" fmla="val 38"/>
                  <a:gd name="f25" fmla="val 48"/>
                  <a:gd name="f26" fmla="val 25"/>
                  <a:gd name="f27" fmla="val 57"/>
                  <a:gd name="f28" fmla="val 64"/>
                  <a:gd name="f29" fmla="val 68"/>
                  <a:gd name="f30" fmla="val 71"/>
                  <a:gd name="f31" fmla="val 45"/>
                  <a:gd name="f32" fmla="val 72"/>
                  <a:gd name="f33" fmla="val 59"/>
                  <a:gd name="f34" fmla="val 67"/>
                  <a:gd name="f35" fmla="val 74"/>
                  <a:gd name="f36" fmla="val 70"/>
                  <a:gd name="f37" fmla="val 65"/>
                  <a:gd name="f38" fmla="val 73"/>
                  <a:gd name="f39" fmla="val 56"/>
                  <a:gd name="f40" fmla="val 75"/>
                  <a:gd name="f41" fmla="val 78"/>
                  <a:gd name="f42" fmla="val 43"/>
                  <a:gd name="f43" fmla="val 80"/>
                  <a:gd name="f44" fmla="val 81"/>
                  <a:gd name="f45" fmla="val 32"/>
                  <a:gd name="f46" fmla="val 26"/>
                  <a:gd name="f47" fmla="val 21"/>
                  <a:gd name="f48" fmla="val 17"/>
                  <a:gd name="f49" fmla="val 12"/>
                  <a:gd name="f50" fmla="val 77"/>
                  <a:gd name="f51" fmla="val 9"/>
                  <a:gd name="f52" fmla="val 87"/>
                  <a:gd name="f53" fmla="val 8"/>
                  <a:gd name="f54" fmla="val 95"/>
                  <a:gd name="f55" fmla="val 7"/>
                  <a:gd name="f56" fmla="val 105"/>
                  <a:gd name="f57" fmla="val 5"/>
                  <a:gd name="f58" fmla="val 115"/>
                  <a:gd name="f59" fmla="val 4"/>
                  <a:gd name="f60" fmla="val 122"/>
                  <a:gd name="f61" fmla="val 114"/>
                  <a:gd name="f62" fmla="val 91"/>
                  <a:gd name="f63" fmla="val 58"/>
                  <a:gd name="f64" fmla="val 53"/>
                  <a:gd name="f65" fmla="val 10"/>
                  <a:gd name="f66" fmla="val 14"/>
                  <a:gd name="f67" fmla="val 28"/>
                  <a:gd name="f68" fmla="+- 0 0 -90"/>
                  <a:gd name="f69" fmla="*/ f3 1 79"/>
                  <a:gd name="f70" fmla="*/ f4 1 125"/>
                  <a:gd name="f71" fmla="+- f7 0 f5"/>
                  <a:gd name="f72" fmla="+- f6 0 f5"/>
                  <a:gd name="f73" fmla="*/ f68 f0 1"/>
                  <a:gd name="f74" fmla="*/ f72 1 79"/>
                  <a:gd name="f75" fmla="*/ f71 1 125"/>
                  <a:gd name="f76" fmla="*/ f73 1 f2"/>
                  <a:gd name="f77" fmla="*/ 31 1 f74"/>
                  <a:gd name="f78" fmla="*/ 0 1 f75"/>
                  <a:gd name="f79" fmla="*/ 33 1 f74"/>
                  <a:gd name="f80" fmla="*/ 1 1 f75"/>
                  <a:gd name="f81" fmla="*/ 35 1 f74"/>
                  <a:gd name="f82" fmla="*/ 2 1 f75"/>
                  <a:gd name="f83" fmla="*/ 37 1 f74"/>
                  <a:gd name="f84" fmla="*/ 3 1 f75"/>
                  <a:gd name="f85" fmla="*/ 41 1 f74"/>
                  <a:gd name="f86" fmla="*/ 6 1 f75"/>
                  <a:gd name="f87" fmla="*/ 11 1 f75"/>
                  <a:gd name="f88" fmla="*/ 39 1 f74"/>
                  <a:gd name="f89" fmla="*/ 13 1 f75"/>
                  <a:gd name="f90" fmla="*/ 18 1 f75"/>
                  <a:gd name="f91" fmla="*/ 29 1 f74"/>
                  <a:gd name="f92" fmla="*/ 24 1 f75"/>
                  <a:gd name="f93" fmla="*/ 24 1 f74"/>
                  <a:gd name="f94" fmla="*/ 31 1 f75"/>
                  <a:gd name="f95" fmla="*/ 22 1 f74"/>
                  <a:gd name="f96" fmla="*/ 38 1 f75"/>
                  <a:gd name="f97" fmla="*/ 48 1 f75"/>
                  <a:gd name="f98" fmla="*/ 25 1 f74"/>
                  <a:gd name="f99" fmla="*/ 57 1 f75"/>
                  <a:gd name="f100" fmla="*/ 64 1 f75"/>
                  <a:gd name="f101" fmla="*/ 68 1 f75"/>
                  <a:gd name="f102" fmla="*/ 38 1 f74"/>
                  <a:gd name="f103" fmla="*/ 71 1 f75"/>
                  <a:gd name="f104" fmla="*/ 45 1 f74"/>
                  <a:gd name="f105" fmla="*/ 72 1 f75"/>
                  <a:gd name="f106" fmla="*/ 59 1 f74"/>
                  <a:gd name="f107" fmla="*/ 68 1 f74"/>
                  <a:gd name="f108" fmla="*/ 67 1 f75"/>
                  <a:gd name="f109" fmla="*/ 79 1 f74"/>
                  <a:gd name="f110" fmla="*/ 74 1 f74"/>
                  <a:gd name="f111" fmla="*/ 70 1 f75"/>
                  <a:gd name="f112" fmla="*/ 65 1 f74"/>
                  <a:gd name="f113" fmla="*/ 73 1 f75"/>
                  <a:gd name="f114" fmla="*/ 56 1 f74"/>
                  <a:gd name="f115" fmla="*/ 75 1 f75"/>
                  <a:gd name="f116" fmla="*/ 48 1 f74"/>
                  <a:gd name="f117" fmla="*/ 78 1 f75"/>
                  <a:gd name="f118" fmla="*/ 43 1 f74"/>
                  <a:gd name="f119" fmla="*/ 80 1 f75"/>
                  <a:gd name="f120" fmla="*/ 81 1 f75"/>
                  <a:gd name="f121" fmla="*/ 32 1 f74"/>
                  <a:gd name="f122" fmla="*/ 26 1 f74"/>
                  <a:gd name="f123" fmla="*/ 21 1 f74"/>
                  <a:gd name="f124" fmla="*/ 17 1 f74"/>
                  <a:gd name="f125" fmla="*/ 13 1 f74"/>
                  <a:gd name="f126" fmla="*/ 12 1 f74"/>
                  <a:gd name="f127" fmla="*/ 77 1 f75"/>
                  <a:gd name="f128" fmla="*/ 9 1 f74"/>
                  <a:gd name="f129" fmla="*/ 87 1 f75"/>
                  <a:gd name="f130" fmla="*/ 8 1 f74"/>
                  <a:gd name="f131" fmla="*/ 95 1 f75"/>
                  <a:gd name="f132" fmla="*/ 7 1 f74"/>
                  <a:gd name="f133" fmla="*/ 105 1 f75"/>
                  <a:gd name="f134" fmla="*/ 5 1 f74"/>
                  <a:gd name="f135" fmla="*/ 115 1 f75"/>
                  <a:gd name="f136" fmla="*/ 4 1 f74"/>
                  <a:gd name="f137" fmla="*/ 122 1 f75"/>
                  <a:gd name="f138" fmla="*/ 2 1 f74"/>
                  <a:gd name="f139" fmla="*/ 125 1 f75"/>
                  <a:gd name="f140" fmla="*/ 1 1 f74"/>
                  <a:gd name="f141" fmla="*/ 0 1 f74"/>
                  <a:gd name="f142" fmla="*/ 114 1 f75"/>
                  <a:gd name="f143" fmla="*/ 91 1 f75"/>
                  <a:gd name="f144" fmla="*/ 3 1 f74"/>
                  <a:gd name="f145" fmla="*/ 58 1 f75"/>
                  <a:gd name="f146" fmla="*/ 53 1 f75"/>
                  <a:gd name="f147" fmla="*/ 6 1 f74"/>
                  <a:gd name="f148" fmla="*/ 10 1 f74"/>
                  <a:gd name="f149" fmla="*/ 39 1 f75"/>
                  <a:gd name="f150" fmla="*/ 14 1 f74"/>
                  <a:gd name="f151" fmla="*/ 28 1 f75"/>
                  <a:gd name="f152" fmla="*/ 8 1 f75"/>
                  <a:gd name="f153" fmla="*/ 28 1 f74"/>
                  <a:gd name="f154" fmla="*/ f6 1 f74"/>
                  <a:gd name="f155" fmla="*/ f7 1 f75"/>
                  <a:gd name="f156" fmla="+- f76 0 f1"/>
                  <a:gd name="f157" fmla="*/ f141 f69 1"/>
                  <a:gd name="f158" fmla="*/ f154 f69 1"/>
                  <a:gd name="f159" fmla="*/ f155 f70 1"/>
                  <a:gd name="f160" fmla="*/ f78 f70 1"/>
                  <a:gd name="f161" fmla="*/ f77 f69 1"/>
                  <a:gd name="f162" fmla="*/ f79 f69 1"/>
                  <a:gd name="f163" fmla="*/ f80 f70 1"/>
                  <a:gd name="f164" fmla="*/ f81 f69 1"/>
                  <a:gd name="f165" fmla="*/ f82 f70 1"/>
                  <a:gd name="f166" fmla="*/ f83 f69 1"/>
                  <a:gd name="f167" fmla="*/ f84 f70 1"/>
                  <a:gd name="f168" fmla="*/ f85 f69 1"/>
                  <a:gd name="f169" fmla="*/ f86 f70 1"/>
                  <a:gd name="f170" fmla="*/ f87 f70 1"/>
                  <a:gd name="f171" fmla="*/ f88 f69 1"/>
                  <a:gd name="f172" fmla="*/ f89 f70 1"/>
                  <a:gd name="f173" fmla="*/ f90 f70 1"/>
                  <a:gd name="f174" fmla="*/ f91 f69 1"/>
                  <a:gd name="f175" fmla="*/ f92 f70 1"/>
                  <a:gd name="f176" fmla="*/ f93 f69 1"/>
                  <a:gd name="f177" fmla="*/ f94 f70 1"/>
                  <a:gd name="f178" fmla="*/ f95 f69 1"/>
                  <a:gd name="f179" fmla="*/ f96 f70 1"/>
                  <a:gd name="f180" fmla="*/ f97 f70 1"/>
                  <a:gd name="f181" fmla="*/ f98 f69 1"/>
                  <a:gd name="f182" fmla="*/ f99 f70 1"/>
                  <a:gd name="f183" fmla="*/ f100 f70 1"/>
                  <a:gd name="f184" fmla="*/ f101 f70 1"/>
                  <a:gd name="f185" fmla="*/ f102 f69 1"/>
                  <a:gd name="f186" fmla="*/ f103 f70 1"/>
                  <a:gd name="f187" fmla="*/ f104 f69 1"/>
                  <a:gd name="f188" fmla="*/ f105 f70 1"/>
                  <a:gd name="f189" fmla="*/ f106 f69 1"/>
                  <a:gd name="f190" fmla="*/ f107 f69 1"/>
                  <a:gd name="f191" fmla="*/ f108 f70 1"/>
                  <a:gd name="f192" fmla="*/ f109 f69 1"/>
                  <a:gd name="f193" fmla="*/ f110 f69 1"/>
                  <a:gd name="f194" fmla="*/ f111 f70 1"/>
                  <a:gd name="f195" fmla="*/ f112 f69 1"/>
                  <a:gd name="f196" fmla="*/ f113 f70 1"/>
                  <a:gd name="f197" fmla="*/ f114 f69 1"/>
                  <a:gd name="f198" fmla="*/ f115 f70 1"/>
                  <a:gd name="f199" fmla="*/ f116 f69 1"/>
                  <a:gd name="f200" fmla="*/ f117 f70 1"/>
                  <a:gd name="f201" fmla="*/ f118 f69 1"/>
                  <a:gd name="f202" fmla="*/ f119 f70 1"/>
                  <a:gd name="f203" fmla="*/ f120 f70 1"/>
                  <a:gd name="f204" fmla="*/ f121 f69 1"/>
                  <a:gd name="f205" fmla="*/ f122 f69 1"/>
                  <a:gd name="f206" fmla="*/ f123 f69 1"/>
                  <a:gd name="f207" fmla="*/ f124 f69 1"/>
                  <a:gd name="f208" fmla="*/ f125 f69 1"/>
                  <a:gd name="f209" fmla="*/ f126 f69 1"/>
                  <a:gd name="f210" fmla="*/ f127 f70 1"/>
                  <a:gd name="f211" fmla="*/ f128 f69 1"/>
                  <a:gd name="f212" fmla="*/ f129 f70 1"/>
                  <a:gd name="f213" fmla="*/ f130 f69 1"/>
                  <a:gd name="f214" fmla="*/ f131 f70 1"/>
                  <a:gd name="f215" fmla="*/ f132 f69 1"/>
                  <a:gd name="f216" fmla="*/ f133 f70 1"/>
                  <a:gd name="f217" fmla="*/ f134 f69 1"/>
                  <a:gd name="f218" fmla="*/ f135 f70 1"/>
                  <a:gd name="f219" fmla="*/ f136 f69 1"/>
                  <a:gd name="f220" fmla="*/ f137 f70 1"/>
                  <a:gd name="f221" fmla="*/ f138 f69 1"/>
                  <a:gd name="f222" fmla="*/ f139 f70 1"/>
                  <a:gd name="f223" fmla="*/ f140 f69 1"/>
                  <a:gd name="f224" fmla="*/ f142 f70 1"/>
                  <a:gd name="f225" fmla="*/ f143 f70 1"/>
                  <a:gd name="f226" fmla="*/ f144 f69 1"/>
                  <a:gd name="f227" fmla="*/ f145 f70 1"/>
                  <a:gd name="f228" fmla="*/ f146 f70 1"/>
                  <a:gd name="f229" fmla="*/ f147 f69 1"/>
                  <a:gd name="f230" fmla="*/ f148 f69 1"/>
                  <a:gd name="f231" fmla="*/ f149 f70 1"/>
                  <a:gd name="f232" fmla="*/ f150 f69 1"/>
                  <a:gd name="f233" fmla="*/ f151 f70 1"/>
                  <a:gd name="f234" fmla="*/ f152 f70 1"/>
                  <a:gd name="f235" fmla="*/ f153 f6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56">
                    <a:pos x="f161" y="f160"/>
                  </a:cxn>
                  <a:cxn ang="f156">
                    <a:pos x="f162" y="f163"/>
                  </a:cxn>
                  <a:cxn ang="f156">
                    <a:pos x="f164" y="f165"/>
                  </a:cxn>
                  <a:cxn ang="f156">
                    <a:pos x="f166" y="f167"/>
                  </a:cxn>
                  <a:cxn ang="f156">
                    <a:pos x="f168" y="f169"/>
                  </a:cxn>
                  <a:cxn ang="f156">
                    <a:pos x="f168" y="f170"/>
                  </a:cxn>
                  <a:cxn ang="f156">
                    <a:pos x="f171" y="f172"/>
                  </a:cxn>
                  <a:cxn ang="f156">
                    <a:pos x="f162" y="f173"/>
                  </a:cxn>
                  <a:cxn ang="f156">
                    <a:pos x="f174" y="f175"/>
                  </a:cxn>
                  <a:cxn ang="f156">
                    <a:pos x="f176" y="f177"/>
                  </a:cxn>
                  <a:cxn ang="f156">
                    <a:pos x="f178" y="f179"/>
                  </a:cxn>
                  <a:cxn ang="f156">
                    <a:pos x="f178" y="f180"/>
                  </a:cxn>
                  <a:cxn ang="f156">
                    <a:pos x="f181" y="f182"/>
                  </a:cxn>
                  <a:cxn ang="f156">
                    <a:pos x="f174" y="f183"/>
                  </a:cxn>
                  <a:cxn ang="f156">
                    <a:pos x="f162" y="f184"/>
                  </a:cxn>
                  <a:cxn ang="f156">
                    <a:pos x="f185" y="f186"/>
                  </a:cxn>
                  <a:cxn ang="f156">
                    <a:pos x="f187" y="f188"/>
                  </a:cxn>
                  <a:cxn ang="f156">
                    <a:pos x="f189" y="f184"/>
                  </a:cxn>
                  <a:cxn ang="f156">
                    <a:pos x="f190" y="f191"/>
                  </a:cxn>
                  <a:cxn ang="f156">
                    <a:pos x="f192" y="f191"/>
                  </a:cxn>
                  <a:cxn ang="f156">
                    <a:pos x="f192" y="f184"/>
                  </a:cxn>
                  <a:cxn ang="f156">
                    <a:pos x="f193" y="f194"/>
                  </a:cxn>
                  <a:cxn ang="f156">
                    <a:pos x="f195" y="f196"/>
                  </a:cxn>
                  <a:cxn ang="f156">
                    <a:pos x="f197" y="f198"/>
                  </a:cxn>
                  <a:cxn ang="f156">
                    <a:pos x="f199" y="f200"/>
                  </a:cxn>
                  <a:cxn ang="f156">
                    <a:pos x="f201" y="f202"/>
                  </a:cxn>
                  <a:cxn ang="f156">
                    <a:pos x="f185" y="f203"/>
                  </a:cxn>
                  <a:cxn ang="f156">
                    <a:pos x="f204" y="f202"/>
                  </a:cxn>
                  <a:cxn ang="f156">
                    <a:pos x="f205" y="f200"/>
                  </a:cxn>
                  <a:cxn ang="f156">
                    <a:pos x="f206" y="f198"/>
                  </a:cxn>
                  <a:cxn ang="f156">
                    <a:pos x="f207" y="f196"/>
                  </a:cxn>
                  <a:cxn ang="f156">
                    <a:pos x="f208" y="f198"/>
                  </a:cxn>
                  <a:cxn ang="f156">
                    <a:pos x="f209" y="f210"/>
                  </a:cxn>
                  <a:cxn ang="f156">
                    <a:pos x="f211" y="f202"/>
                  </a:cxn>
                  <a:cxn ang="f156">
                    <a:pos x="f211" y="f212"/>
                  </a:cxn>
                  <a:cxn ang="f156">
                    <a:pos x="f213" y="f214"/>
                  </a:cxn>
                  <a:cxn ang="f156">
                    <a:pos x="f215" y="f216"/>
                  </a:cxn>
                  <a:cxn ang="f156">
                    <a:pos x="f217" y="f218"/>
                  </a:cxn>
                  <a:cxn ang="f156">
                    <a:pos x="f219" y="f220"/>
                  </a:cxn>
                  <a:cxn ang="f156">
                    <a:pos x="f221" y="f222"/>
                  </a:cxn>
                  <a:cxn ang="f156">
                    <a:pos x="f223" y="f220"/>
                  </a:cxn>
                  <a:cxn ang="f156">
                    <a:pos x="f157" y="f224"/>
                  </a:cxn>
                  <a:cxn ang="f156">
                    <a:pos x="f157" y="f225"/>
                  </a:cxn>
                  <a:cxn ang="f156">
                    <a:pos x="f221" y="f191"/>
                  </a:cxn>
                  <a:cxn ang="f156">
                    <a:pos x="f226" y="f227"/>
                  </a:cxn>
                  <a:cxn ang="f156">
                    <a:pos x="f219" y="f228"/>
                  </a:cxn>
                  <a:cxn ang="f156">
                    <a:pos x="f229" y="f180"/>
                  </a:cxn>
                  <a:cxn ang="f156">
                    <a:pos x="f230" y="f231"/>
                  </a:cxn>
                  <a:cxn ang="f156">
                    <a:pos x="f232" y="f233"/>
                  </a:cxn>
                  <a:cxn ang="f156">
                    <a:pos x="f176" y="f234"/>
                  </a:cxn>
                  <a:cxn ang="f156">
                    <a:pos x="f235" y="f165"/>
                  </a:cxn>
                  <a:cxn ang="f156">
                    <a:pos x="f161" y="f160"/>
                  </a:cxn>
                </a:cxnLst>
                <a:rect l="f157" t="f160" r="f158" b="f159"/>
                <a:pathLst>
                  <a:path w="79" h="125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5" y="f17"/>
                    </a:lnTo>
                    <a:lnTo>
                      <a:pt x="f18" y="f19"/>
                    </a:lnTo>
                    <a:lnTo>
                      <a:pt x="f9" y="f20"/>
                    </a:lnTo>
                    <a:lnTo>
                      <a:pt x="f21" y="f22"/>
                    </a:lnTo>
                    <a:lnTo>
                      <a:pt x="f22" y="f8"/>
                    </a:lnTo>
                    <a:lnTo>
                      <a:pt x="f23" y="f24"/>
                    </a:lnTo>
                    <a:lnTo>
                      <a:pt x="f23" y="f25"/>
                    </a:lnTo>
                    <a:lnTo>
                      <a:pt x="f26" y="f27"/>
                    </a:lnTo>
                    <a:lnTo>
                      <a:pt x="f21" y="f28"/>
                    </a:lnTo>
                    <a:lnTo>
                      <a:pt x="f9" y="f29"/>
                    </a:lnTo>
                    <a:lnTo>
                      <a:pt x="f24" y="f30"/>
                    </a:lnTo>
                    <a:lnTo>
                      <a:pt x="f31" y="f32"/>
                    </a:lnTo>
                    <a:lnTo>
                      <a:pt x="f33" y="f29"/>
                    </a:lnTo>
                    <a:lnTo>
                      <a:pt x="f29" y="f34"/>
                    </a:lnTo>
                    <a:lnTo>
                      <a:pt x="f6" y="f34"/>
                    </a:lnTo>
                    <a:lnTo>
                      <a:pt x="f6" y="f29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25" y="f41"/>
                    </a:lnTo>
                    <a:lnTo>
                      <a:pt x="f42" y="f43"/>
                    </a:lnTo>
                    <a:lnTo>
                      <a:pt x="f24" y="f44"/>
                    </a:lnTo>
                    <a:lnTo>
                      <a:pt x="f45" y="f43"/>
                    </a:lnTo>
                    <a:lnTo>
                      <a:pt x="f46" y="f41"/>
                    </a:lnTo>
                    <a:lnTo>
                      <a:pt x="f47" y="f40"/>
                    </a:lnTo>
                    <a:lnTo>
                      <a:pt x="f48" y="f38"/>
                    </a:lnTo>
                    <a:lnTo>
                      <a:pt x="f19" y="f40"/>
                    </a:lnTo>
                    <a:lnTo>
                      <a:pt x="f49" y="f50"/>
                    </a:lnTo>
                    <a:lnTo>
                      <a:pt x="f51" y="f43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12" y="f7"/>
                    </a:lnTo>
                    <a:lnTo>
                      <a:pt x="f10" y="f60"/>
                    </a:lnTo>
                    <a:lnTo>
                      <a:pt x="f5" y="f61"/>
                    </a:lnTo>
                    <a:lnTo>
                      <a:pt x="f5" y="f62"/>
                    </a:lnTo>
                    <a:lnTo>
                      <a:pt x="f12" y="f34"/>
                    </a:lnTo>
                    <a:lnTo>
                      <a:pt x="f14" y="f63"/>
                    </a:lnTo>
                    <a:lnTo>
                      <a:pt x="f59" y="f64"/>
                    </a:lnTo>
                    <a:lnTo>
                      <a:pt x="f16" y="f25"/>
                    </a:lnTo>
                    <a:lnTo>
                      <a:pt x="f65" y="f18"/>
                    </a:lnTo>
                    <a:lnTo>
                      <a:pt x="f66" y="f67"/>
                    </a:lnTo>
                    <a:lnTo>
                      <a:pt x="f22" y="f53"/>
                    </a:lnTo>
                    <a:lnTo>
                      <a:pt x="f67" y="f12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BA0956F2-13EB-4880-A97D-BD213712D647}"/>
                  </a:ext>
                </a:extLst>
              </p:cNvPr>
              <p:cNvSpPr/>
              <p:nvPr/>
            </p:nvSpPr>
            <p:spPr>
              <a:xfrm rot="21447621">
                <a:off x="4519834" y="946596"/>
                <a:ext cx="16459" cy="28501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9"/>
                  <a:gd name="f7" fmla="val 53"/>
                  <a:gd name="f8" fmla="val 8"/>
                  <a:gd name="f9" fmla="val 25"/>
                  <a:gd name="f10" fmla="val 2"/>
                  <a:gd name="f11" fmla="val 4"/>
                  <a:gd name="f12" fmla="val 10"/>
                  <a:gd name="f13" fmla="val 24"/>
                  <a:gd name="f14" fmla="val 13"/>
                  <a:gd name="f15" fmla="val 20"/>
                  <a:gd name="f16" fmla="val 27"/>
                  <a:gd name="f17" fmla="val 41"/>
                  <a:gd name="f18" fmla="val 45"/>
                  <a:gd name="f19" fmla="val 48"/>
                  <a:gd name="f20" fmla="val 14"/>
                  <a:gd name="f21" fmla="val 51"/>
                  <a:gd name="f22" fmla="val 9"/>
                  <a:gd name="f23" fmla="val 5"/>
                  <a:gd name="f24" fmla="val 3"/>
                  <a:gd name="f25" fmla="val 49"/>
                  <a:gd name="f26" fmla="val 42"/>
                  <a:gd name="f27" fmla="val 1"/>
                  <a:gd name="f28" fmla="val 34"/>
                  <a:gd name="f29" fmla="val 15"/>
                  <a:gd name="f30" fmla="val 7"/>
                  <a:gd name="f31" fmla="+- 0 0 -90"/>
                  <a:gd name="f32" fmla="*/ f3 1 29"/>
                  <a:gd name="f33" fmla="*/ f4 1 53"/>
                  <a:gd name="f34" fmla="+- f7 0 f5"/>
                  <a:gd name="f35" fmla="+- f6 0 f5"/>
                  <a:gd name="f36" fmla="*/ f31 f0 1"/>
                  <a:gd name="f37" fmla="*/ f35 1 29"/>
                  <a:gd name="f38" fmla="*/ f34 1 53"/>
                  <a:gd name="f39" fmla="*/ f36 1 f2"/>
                  <a:gd name="f40" fmla="*/ 8 1 f37"/>
                  <a:gd name="f41" fmla="*/ 0 1 f38"/>
                  <a:gd name="f42" fmla="*/ 25 1 f37"/>
                  <a:gd name="f43" fmla="*/ 29 1 f37"/>
                  <a:gd name="f44" fmla="*/ 2 1 f38"/>
                  <a:gd name="f45" fmla="*/ 4 1 f38"/>
                  <a:gd name="f46" fmla="*/ 10 1 f38"/>
                  <a:gd name="f47" fmla="*/ 24 1 f37"/>
                  <a:gd name="f48" fmla="*/ 13 1 f38"/>
                  <a:gd name="f49" fmla="*/ 20 1 f38"/>
                  <a:gd name="f50" fmla="*/ 27 1 f38"/>
                  <a:gd name="f51" fmla="*/ 41 1 f38"/>
                  <a:gd name="f52" fmla="*/ 45 1 f38"/>
                  <a:gd name="f53" fmla="*/ 20 1 f37"/>
                  <a:gd name="f54" fmla="*/ 48 1 f38"/>
                  <a:gd name="f55" fmla="*/ 14 1 f37"/>
                  <a:gd name="f56" fmla="*/ 51 1 f38"/>
                  <a:gd name="f57" fmla="*/ 9 1 f37"/>
                  <a:gd name="f58" fmla="*/ 53 1 f38"/>
                  <a:gd name="f59" fmla="*/ 5 1 f37"/>
                  <a:gd name="f60" fmla="*/ 3 1 f37"/>
                  <a:gd name="f61" fmla="*/ 49 1 f38"/>
                  <a:gd name="f62" fmla="*/ 2 1 f37"/>
                  <a:gd name="f63" fmla="*/ 42 1 f38"/>
                  <a:gd name="f64" fmla="*/ 1 1 f37"/>
                  <a:gd name="f65" fmla="*/ 34 1 f38"/>
                  <a:gd name="f66" fmla="*/ 0 1 f37"/>
                  <a:gd name="f67" fmla="*/ 15 1 f38"/>
                  <a:gd name="f68" fmla="*/ 7 1 f38"/>
                  <a:gd name="f69" fmla="*/ 4 1 f37"/>
                  <a:gd name="f70" fmla="*/ f6 1 f37"/>
                  <a:gd name="f71" fmla="*/ f7 1 f38"/>
                  <a:gd name="f72" fmla="+- f39 0 f1"/>
                  <a:gd name="f73" fmla="*/ f66 f32 1"/>
                  <a:gd name="f74" fmla="*/ f70 f32 1"/>
                  <a:gd name="f75" fmla="*/ f71 f33 1"/>
                  <a:gd name="f76" fmla="*/ f41 f33 1"/>
                  <a:gd name="f77" fmla="*/ f40 f32 1"/>
                  <a:gd name="f78" fmla="*/ f42 f32 1"/>
                  <a:gd name="f79" fmla="*/ f43 f32 1"/>
                  <a:gd name="f80" fmla="*/ f44 f33 1"/>
                  <a:gd name="f81" fmla="*/ f45 f33 1"/>
                  <a:gd name="f82" fmla="*/ f46 f33 1"/>
                  <a:gd name="f83" fmla="*/ f47 f32 1"/>
                  <a:gd name="f84" fmla="*/ f48 f33 1"/>
                  <a:gd name="f85" fmla="*/ f49 f33 1"/>
                  <a:gd name="f86" fmla="*/ f50 f33 1"/>
                  <a:gd name="f87" fmla="*/ f51 f33 1"/>
                  <a:gd name="f88" fmla="*/ f52 f33 1"/>
                  <a:gd name="f89" fmla="*/ f53 f32 1"/>
                  <a:gd name="f90" fmla="*/ f54 f33 1"/>
                  <a:gd name="f91" fmla="*/ f55 f32 1"/>
                  <a:gd name="f92" fmla="*/ f56 f33 1"/>
                  <a:gd name="f93" fmla="*/ f57 f32 1"/>
                  <a:gd name="f94" fmla="*/ f58 f33 1"/>
                  <a:gd name="f95" fmla="*/ f59 f32 1"/>
                  <a:gd name="f96" fmla="*/ f60 f32 1"/>
                  <a:gd name="f97" fmla="*/ f61 f33 1"/>
                  <a:gd name="f98" fmla="*/ f62 f32 1"/>
                  <a:gd name="f99" fmla="*/ f63 f33 1"/>
                  <a:gd name="f100" fmla="*/ f64 f32 1"/>
                  <a:gd name="f101" fmla="*/ f65 f33 1"/>
                  <a:gd name="f102" fmla="*/ f67 f33 1"/>
                  <a:gd name="f103" fmla="*/ f68 f33 1"/>
                  <a:gd name="f104" fmla="*/ f69 f3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72">
                    <a:pos x="f77" y="f76"/>
                  </a:cxn>
                  <a:cxn ang="f72">
                    <a:pos x="f78" y="f76"/>
                  </a:cxn>
                  <a:cxn ang="f72">
                    <a:pos x="f79" y="f80"/>
                  </a:cxn>
                  <a:cxn ang="f72">
                    <a:pos x="f79" y="f81"/>
                  </a:cxn>
                  <a:cxn ang="f72">
                    <a:pos x="f78" y="f82"/>
                  </a:cxn>
                  <a:cxn ang="f72">
                    <a:pos x="f83" y="f84"/>
                  </a:cxn>
                  <a:cxn ang="f72">
                    <a:pos x="f83" y="f85"/>
                  </a:cxn>
                  <a:cxn ang="f72">
                    <a:pos x="f78" y="f86"/>
                  </a:cxn>
                  <a:cxn ang="f72">
                    <a:pos x="f78" y="f87"/>
                  </a:cxn>
                  <a:cxn ang="f72">
                    <a:pos x="f83" y="f88"/>
                  </a:cxn>
                  <a:cxn ang="f72">
                    <a:pos x="f89" y="f90"/>
                  </a:cxn>
                  <a:cxn ang="f72">
                    <a:pos x="f91" y="f92"/>
                  </a:cxn>
                  <a:cxn ang="f72">
                    <a:pos x="f93" y="f94"/>
                  </a:cxn>
                  <a:cxn ang="f72">
                    <a:pos x="f95" y="f94"/>
                  </a:cxn>
                  <a:cxn ang="f72">
                    <a:pos x="f96" y="f97"/>
                  </a:cxn>
                  <a:cxn ang="f72">
                    <a:pos x="f98" y="f99"/>
                  </a:cxn>
                  <a:cxn ang="f72">
                    <a:pos x="f100" y="f101"/>
                  </a:cxn>
                  <a:cxn ang="f72">
                    <a:pos x="f73" y="f86"/>
                  </a:cxn>
                  <a:cxn ang="f72">
                    <a:pos x="f73" y="f102"/>
                  </a:cxn>
                  <a:cxn ang="f72">
                    <a:pos x="f100" y="f103"/>
                  </a:cxn>
                  <a:cxn ang="f72">
                    <a:pos x="f104" y="f80"/>
                  </a:cxn>
                  <a:cxn ang="f72">
                    <a:pos x="f77" y="f76"/>
                  </a:cxn>
                </a:cxnLst>
                <a:rect l="f73" t="f76" r="f74" b="f75"/>
                <a:pathLst>
                  <a:path w="29" h="53">
                    <a:moveTo>
                      <a:pt x="f8" y="f5"/>
                    </a:moveTo>
                    <a:lnTo>
                      <a:pt x="f9" y="f5"/>
                    </a:lnTo>
                    <a:lnTo>
                      <a:pt x="f6" y="f10"/>
                    </a:lnTo>
                    <a:lnTo>
                      <a:pt x="f6" y="f11"/>
                    </a:lnTo>
                    <a:lnTo>
                      <a:pt x="f9" y="f12"/>
                    </a:lnTo>
                    <a:lnTo>
                      <a:pt x="f13" y="f14"/>
                    </a:lnTo>
                    <a:lnTo>
                      <a:pt x="f13" y="f15"/>
                    </a:lnTo>
                    <a:lnTo>
                      <a:pt x="f9" y="f16"/>
                    </a:lnTo>
                    <a:lnTo>
                      <a:pt x="f9" y="f17"/>
                    </a:lnTo>
                    <a:lnTo>
                      <a:pt x="f13" y="f18"/>
                    </a:lnTo>
                    <a:lnTo>
                      <a:pt x="f15" y="f19"/>
                    </a:lnTo>
                    <a:lnTo>
                      <a:pt x="f20" y="f21"/>
                    </a:lnTo>
                    <a:lnTo>
                      <a:pt x="f22" y="f7"/>
                    </a:lnTo>
                    <a:lnTo>
                      <a:pt x="f23" y="f7"/>
                    </a:lnTo>
                    <a:lnTo>
                      <a:pt x="f24" y="f25"/>
                    </a:lnTo>
                    <a:lnTo>
                      <a:pt x="f10" y="f26"/>
                    </a:lnTo>
                    <a:lnTo>
                      <a:pt x="f27" y="f28"/>
                    </a:lnTo>
                    <a:lnTo>
                      <a:pt x="f5" y="f16"/>
                    </a:lnTo>
                    <a:lnTo>
                      <a:pt x="f5" y="f29"/>
                    </a:lnTo>
                    <a:lnTo>
                      <a:pt x="f27" y="f30"/>
                    </a:lnTo>
                    <a:lnTo>
                      <a:pt x="f11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82659223-6131-4926-BE59-AD63ED9FB8B9}"/>
                  </a:ext>
                </a:extLst>
              </p:cNvPr>
              <p:cNvSpPr/>
              <p:nvPr/>
            </p:nvSpPr>
            <p:spPr>
              <a:xfrm rot="21447621">
                <a:off x="5149490" y="1044189"/>
                <a:ext cx="11347" cy="2903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0"/>
                  <a:gd name="f7" fmla="val 54"/>
                  <a:gd name="f8" fmla="val 16"/>
                  <a:gd name="f9" fmla="val 18"/>
                  <a:gd name="f10" fmla="val 19"/>
                  <a:gd name="f11" fmla="val 1"/>
                  <a:gd name="f12" fmla="val 3"/>
                  <a:gd name="f13" fmla="val 7"/>
                  <a:gd name="f14" fmla="val 8"/>
                  <a:gd name="f15" fmla="val 14"/>
                  <a:gd name="f16" fmla="val 12"/>
                  <a:gd name="f17" fmla="val 13"/>
                  <a:gd name="f18" fmla="val 23"/>
                  <a:gd name="f19" fmla="val 30"/>
                  <a:gd name="f20" fmla="val 34"/>
                  <a:gd name="f21" fmla="val 37"/>
                  <a:gd name="f22" fmla="val 9"/>
                  <a:gd name="f23" fmla="val 42"/>
                  <a:gd name="f24" fmla="val 6"/>
                  <a:gd name="f25" fmla="val 48"/>
                  <a:gd name="f26" fmla="val 52"/>
                  <a:gd name="f27" fmla="val 51"/>
                  <a:gd name="f28" fmla="val 45"/>
                  <a:gd name="f29" fmla="val 4"/>
                  <a:gd name="f30" fmla="val 39"/>
                  <a:gd name="f31" fmla="val 5"/>
                  <a:gd name="f32" fmla="val 32"/>
                  <a:gd name="f33" fmla="val 27"/>
                  <a:gd name="f34" fmla="+- 0 0 -90"/>
                  <a:gd name="f35" fmla="*/ f3 1 20"/>
                  <a:gd name="f36" fmla="*/ f4 1 54"/>
                  <a:gd name="f37" fmla="+- f7 0 f5"/>
                  <a:gd name="f38" fmla="+- f6 0 f5"/>
                  <a:gd name="f39" fmla="*/ f34 f0 1"/>
                  <a:gd name="f40" fmla="*/ f38 1 20"/>
                  <a:gd name="f41" fmla="*/ f37 1 54"/>
                  <a:gd name="f42" fmla="*/ f39 1 f2"/>
                  <a:gd name="f43" fmla="*/ 16 1 f40"/>
                  <a:gd name="f44" fmla="*/ 0 1 f41"/>
                  <a:gd name="f45" fmla="*/ 18 1 f40"/>
                  <a:gd name="f46" fmla="*/ 19 1 f40"/>
                  <a:gd name="f47" fmla="*/ 1 1 f41"/>
                  <a:gd name="f48" fmla="*/ 20 1 f40"/>
                  <a:gd name="f49" fmla="*/ 3 1 f41"/>
                  <a:gd name="f50" fmla="*/ 7 1 f41"/>
                  <a:gd name="f51" fmla="*/ 8 1 f41"/>
                  <a:gd name="f52" fmla="*/ 14 1 f40"/>
                  <a:gd name="f53" fmla="*/ 12 1 f41"/>
                  <a:gd name="f54" fmla="*/ 16 1 f41"/>
                  <a:gd name="f55" fmla="*/ 13 1 f40"/>
                  <a:gd name="f56" fmla="*/ 23 1 f41"/>
                  <a:gd name="f57" fmla="*/ 30 1 f41"/>
                  <a:gd name="f58" fmla="*/ 34 1 f41"/>
                  <a:gd name="f59" fmla="*/ 12 1 f40"/>
                  <a:gd name="f60" fmla="*/ 37 1 f41"/>
                  <a:gd name="f61" fmla="*/ 9 1 f40"/>
                  <a:gd name="f62" fmla="*/ 42 1 f41"/>
                  <a:gd name="f63" fmla="*/ 6 1 f40"/>
                  <a:gd name="f64" fmla="*/ 48 1 f41"/>
                  <a:gd name="f65" fmla="*/ 3 1 f40"/>
                  <a:gd name="f66" fmla="*/ 52 1 f41"/>
                  <a:gd name="f67" fmla="*/ 1 1 f40"/>
                  <a:gd name="f68" fmla="*/ 54 1 f41"/>
                  <a:gd name="f69" fmla="*/ 0 1 f40"/>
                  <a:gd name="f70" fmla="*/ 51 1 f41"/>
                  <a:gd name="f71" fmla="*/ 45 1 f41"/>
                  <a:gd name="f72" fmla="*/ 4 1 f40"/>
                  <a:gd name="f73" fmla="*/ 39 1 f41"/>
                  <a:gd name="f74" fmla="*/ 5 1 f40"/>
                  <a:gd name="f75" fmla="*/ 32 1 f41"/>
                  <a:gd name="f76" fmla="*/ 27 1 f41"/>
                  <a:gd name="f77" fmla="*/ 14 1 f41"/>
                  <a:gd name="f78" fmla="*/ 7 1 f40"/>
                  <a:gd name="f79" fmla="*/ f6 1 f40"/>
                  <a:gd name="f80" fmla="*/ f7 1 f41"/>
                  <a:gd name="f81" fmla="+- f42 0 f1"/>
                  <a:gd name="f82" fmla="*/ f69 f35 1"/>
                  <a:gd name="f83" fmla="*/ f79 f35 1"/>
                  <a:gd name="f84" fmla="*/ f80 f36 1"/>
                  <a:gd name="f85" fmla="*/ f44 f36 1"/>
                  <a:gd name="f86" fmla="*/ f43 f35 1"/>
                  <a:gd name="f87" fmla="*/ f45 f35 1"/>
                  <a:gd name="f88" fmla="*/ f46 f35 1"/>
                  <a:gd name="f89" fmla="*/ f47 f36 1"/>
                  <a:gd name="f90" fmla="*/ f48 f35 1"/>
                  <a:gd name="f91" fmla="*/ f49 f36 1"/>
                  <a:gd name="f92" fmla="*/ f50 f36 1"/>
                  <a:gd name="f93" fmla="*/ f51 f36 1"/>
                  <a:gd name="f94" fmla="*/ f52 f35 1"/>
                  <a:gd name="f95" fmla="*/ f53 f36 1"/>
                  <a:gd name="f96" fmla="*/ f54 f36 1"/>
                  <a:gd name="f97" fmla="*/ f55 f35 1"/>
                  <a:gd name="f98" fmla="*/ f56 f36 1"/>
                  <a:gd name="f99" fmla="*/ f57 f36 1"/>
                  <a:gd name="f100" fmla="*/ f58 f36 1"/>
                  <a:gd name="f101" fmla="*/ f59 f35 1"/>
                  <a:gd name="f102" fmla="*/ f60 f36 1"/>
                  <a:gd name="f103" fmla="*/ f61 f35 1"/>
                  <a:gd name="f104" fmla="*/ f62 f36 1"/>
                  <a:gd name="f105" fmla="*/ f63 f35 1"/>
                  <a:gd name="f106" fmla="*/ f64 f36 1"/>
                  <a:gd name="f107" fmla="*/ f65 f35 1"/>
                  <a:gd name="f108" fmla="*/ f66 f36 1"/>
                  <a:gd name="f109" fmla="*/ f67 f35 1"/>
                  <a:gd name="f110" fmla="*/ f68 f36 1"/>
                  <a:gd name="f111" fmla="*/ f70 f36 1"/>
                  <a:gd name="f112" fmla="*/ f71 f36 1"/>
                  <a:gd name="f113" fmla="*/ f72 f35 1"/>
                  <a:gd name="f114" fmla="*/ f73 f36 1"/>
                  <a:gd name="f115" fmla="*/ f74 f35 1"/>
                  <a:gd name="f116" fmla="*/ f75 f36 1"/>
                  <a:gd name="f117" fmla="*/ f76 f36 1"/>
                  <a:gd name="f118" fmla="*/ f77 f36 1"/>
                  <a:gd name="f119" fmla="*/ f78 f3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81">
                    <a:pos x="f86" y="f85"/>
                  </a:cxn>
                  <a:cxn ang="f81">
                    <a:pos x="f87" y="f85"/>
                  </a:cxn>
                  <a:cxn ang="f81">
                    <a:pos x="f88" y="f89"/>
                  </a:cxn>
                  <a:cxn ang="f81">
                    <a:pos x="f90" y="f89"/>
                  </a:cxn>
                  <a:cxn ang="f81">
                    <a:pos x="f90" y="f91"/>
                  </a:cxn>
                  <a:cxn ang="f81">
                    <a:pos x="f87" y="f92"/>
                  </a:cxn>
                  <a:cxn ang="f81">
                    <a:pos x="f86" y="f93"/>
                  </a:cxn>
                  <a:cxn ang="f81">
                    <a:pos x="f94" y="f95"/>
                  </a:cxn>
                  <a:cxn ang="f81">
                    <a:pos x="f94" y="f96"/>
                  </a:cxn>
                  <a:cxn ang="f81">
                    <a:pos x="f97" y="f98"/>
                  </a:cxn>
                  <a:cxn ang="f81">
                    <a:pos x="f97" y="f99"/>
                  </a:cxn>
                  <a:cxn ang="f81">
                    <a:pos x="f97" y="f100"/>
                  </a:cxn>
                  <a:cxn ang="f81">
                    <a:pos x="f101" y="f102"/>
                  </a:cxn>
                  <a:cxn ang="f81">
                    <a:pos x="f103" y="f104"/>
                  </a:cxn>
                  <a:cxn ang="f81">
                    <a:pos x="f105" y="f106"/>
                  </a:cxn>
                  <a:cxn ang="f81">
                    <a:pos x="f107" y="f108"/>
                  </a:cxn>
                  <a:cxn ang="f81">
                    <a:pos x="f109" y="f110"/>
                  </a:cxn>
                  <a:cxn ang="f81">
                    <a:pos x="f82" y="f111"/>
                  </a:cxn>
                  <a:cxn ang="f81">
                    <a:pos x="f109" y="f112"/>
                  </a:cxn>
                  <a:cxn ang="f81">
                    <a:pos x="f113" y="f114"/>
                  </a:cxn>
                  <a:cxn ang="f81">
                    <a:pos x="f115" y="f116"/>
                  </a:cxn>
                  <a:cxn ang="f81">
                    <a:pos x="f105" y="f117"/>
                  </a:cxn>
                  <a:cxn ang="f81">
                    <a:pos x="f105" y="f118"/>
                  </a:cxn>
                  <a:cxn ang="f81">
                    <a:pos x="f119" y="f92"/>
                  </a:cxn>
                  <a:cxn ang="f81">
                    <a:pos x="f103" y="f91"/>
                  </a:cxn>
                  <a:cxn ang="f81">
                    <a:pos x="f97" y="f89"/>
                  </a:cxn>
                  <a:cxn ang="f81">
                    <a:pos x="f94" y="f89"/>
                  </a:cxn>
                  <a:cxn ang="f81">
                    <a:pos x="f86" y="f85"/>
                  </a:cxn>
                </a:cxnLst>
                <a:rect l="f82" t="f85" r="f83" b="f84"/>
                <a:pathLst>
                  <a:path w="20" h="54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6" y="f11"/>
                    </a:lnTo>
                    <a:lnTo>
                      <a:pt x="f6" y="f12"/>
                    </a:lnTo>
                    <a:lnTo>
                      <a:pt x="f9" y="f13"/>
                    </a:lnTo>
                    <a:lnTo>
                      <a:pt x="f8" y="f14"/>
                    </a:lnTo>
                    <a:lnTo>
                      <a:pt x="f15" y="f16"/>
                    </a:lnTo>
                    <a:lnTo>
                      <a:pt x="f15" y="f8"/>
                    </a:lnTo>
                    <a:lnTo>
                      <a:pt x="f17" y="f18"/>
                    </a:lnTo>
                    <a:lnTo>
                      <a:pt x="f17" y="f19"/>
                    </a:lnTo>
                    <a:lnTo>
                      <a:pt x="f17" y="f20"/>
                    </a:lnTo>
                    <a:lnTo>
                      <a:pt x="f16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12" y="f26"/>
                    </a:lnTo>
                    <a:lnTo>
                      <a:pt x="f11" y="f7"/>
                    </a:lnTo>
                    <a:lnTo>
                      <a:pt x="f5" y="f27"/>
                    </a:lnTo>
                    <a:lnTo>
                      <a:pt x="f11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24" y="f33"/>
                    </a:lnTo>
                    <a:lnTo>
                      <a:pt x="f24" y="f15"/>
                    </a:lnTo>
                    <a:lnTo>
                      <a:pt x="f13" y="f13"/>
                    </a:lnTo>
                    <a:lnTo>
                      <a:pt x="f22" y="f12"/>
                    </a:lnTo>
                    <a:lnTo>
                      <a:pt x="f17" y="f11"/>
                    </a:lnTo>
                    <a:lnTo>
                      <a:pt x="f15" y="f11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00175E"/>
                  </a:gs>
                  <a:gs pos="100000">
                    <a:srgbClr val="002689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</p:grpSp>
        <p:grpSp>
          <p:nvGrpSpPr>
            <p:cNvPr id="43" name="Gruppieren 8">
              <a:extLst>
                <a:ext uri="{FF2B5EF4-FFF2-40B4-BE49-F238E27FC236}">
                  <a16:creationId xmlns:a16="http://schemas.microsoft.com/office/drawing/2014/main" id="{D5D562C6-9884-4D25-B63E-42312B9E0C12}"/>
                </a:ext>
              </a:extLst>
            </p:cNvPr>
            <p:cNvGrpSpPr/>
            <p:nvPr/>
          </p:nvGrpSpPr>
          <p:grpSpPr>
            <a:xfrm>
              <a:off x="4150964" y="2526642"/>
              <a:ext cx="756117" cy="472049"/>
              <a:chOff x="4150964" y="2526642"/>
              <a:chExt cx="756117" cy="472049"/>
            </a:xfrm>
          </p:grpSpPr>
          <p:sp>
            <p:nvSpPr>
              <p:cNvPr id="44" name="Freeform 6">
                <a:extLst>
                  <a:ext uri="{FF2B5EF4-FFF2-40B4-BE49-F238E27FC236}">
                    <a16:creationId xmlns:a16="http://schemas.microsoft.com/office/drawing/2014/main" id="{A4572362-A457-4D6F-8FBE-6F7A8CA54FC8}"/>
                  </a:ext>
                </a:extLst>
              </p:cNvPr>
              <p:cNvSpPr/>
              <p:nvPr/>
            </p:nvSpPr>
            <p:spPr>
              <a:xfrm>
                <a:off x="4529855" y="2714487"/>
                <a:ext cx="56738" cy="58923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42"/>
                  <a:gd name="f7" fmla="val 362"/>
                  <a:gd name="f8" fmla="val 146"/>
                  <a:gd name="f9" fmla="val 149"/>
                  <a:gd name="f10" fmla="val 150"/>
                  <a:gd name="f11" fmla="val 4"/>
                  <a:gd name="f12" fmla="val 18"/>
                  <a:gd name="f13" fmla="val 152"/>
                  <a:gd name="f14" fmla="val 26"/>
                  <a:gd name="f15" fmla="val 154"/>
                  <a:gd name="f16" fmla="val 32"/>
                  <a:gd name="f17" fmla="val 164"/>
                  <a:gd name="f18" fmla="val 35"/>
                  <a:gd name="f19" fmla="val 174"/>
                  <a:gd name="f20" fmla="val 33"/>
                  <a:gd name="f21" fmla="val 188"/>
                  <a:gd name="f22" fmla="val 30"/>
                  <a:gd name="f23" fmla="val 193"/>
                  <a:gd name="f24" fmla="val 28"/>
                  <a:gd name="f25" fmla="val 196"/>
                  <a:gd name="f26" fmla="val 22"/>
                  <a:gd name="f27" fmla="val 8"/>
                  <a:gd name="f28" fmla="val 197"/>
                  <a:gd name="f29" fmla="val 3"/>
                  <a:gd name="f30" fmla="val 200"/>
                  <a:gd name="f31" fmla="val 1"/>
                  <a:gd name="f32" fmla="val 215"/>
                  <a:gd name="f33" fmla="val 228"/>
                  <a:gd name="f34" fmla="val 12"/>
                  <a:gd name="f35" fmla="val 235"/>
                  <a:gd name="f36" fmla="val 21"/>
                  <a:gd name="f37" fmla="val 243"/>
                  <a:gd name="f38" fmla="val 253"/>
                  <a:gd name="f39" fmla="val 46"/>
                  <a:gd name="f40" fmla="val 266"/>
                  <a:gd name="f41" fmla="val 54"/>
                  <a:gd name="f42" fmla="val 277"/>
                  <a:gd name="f43" fmla="val 55"/>
                  <a:gd name="f44" fmla="val 293"/>
                  <a:gd name="f45" fmla="val 53"/>
                  <a:gd name="f46" fmla="val 308"/>
                  <a:gd name="f47" fmla="val 326"/>
                  <a:gd name="f48" fmla="val 39"/>
                  <a:gd name="f49" fmla="val 329"/>
                  <a:gd name="f50" fmla="val 72"/>
                  <a:gd name="f51" fmla="val 322"/>
                  <a:gd name="f52" fmla="val 90"/>
                  <a:gd name="f53" fmla="val 315"/>
                  <a:gd name="f54" fmla="val 107"/>
                  <a:gd name="f55" fmla="val 309"/>
                  <a:gd name="f56" fmla="val 119"/>
                  <a:gd name="f57" fmla="val 304"/>
                  <a:gd name="f58" fmla="val 128"/>
                  <a:gd name="f59" fmla="val 300"/>
                  <a:gd name="f60" fmla="val 130"/>
                  <a:gd name="f61" fmla="val 290"/>
                  <a:gd name="f62" fmla="val 132"/>
                  <a:gd name="f63" fmla="val 137"/>
                  <a:gd name="f64" fmla="val 262"/>
                  <a:gd name="f65" fmla="val 144"/>
                  <a:gd name="f66" fmla="val 248"/>
                  <a:gd name="f67" fmla="val 153"/>
                  <a:gd name="f68" fmla="val 236"/>
                  <a:gd name="f69" fmla="val 161"/>
                  <a:gd name="f70" fmla="val 230"/>
                  <a:gd name="f71" fmla="val 166"/>
                  <a:gd name="f72" fmla="val 232"/>
                  <a:gd name="f73" fmla="val 171"/>
                  <a:gd name="f74" fmla="val 176"/>
                  <a:gd name="f75" fmla="val 241"/>
                  <a:gd name="f76" fmla="val 182"/>
                  <a:gd name="f77" fmla="val 247"/>
                  <a:gd name="f78" fmla="val 191"/>
                  <a:gd name="f79" fmla="val 204"/>
                  <a:gd name="f80" fmla="val 218"/>
                  <a:gd name="f81" fmla="val 246"/>
                  <a:gd name="f82" fmla="val 233"/>
                  <a:gd name="f83" fmla="val 234"/>
                  <a:gd name="f84" fmla="val 219"/>
                  <a:gd name="f85" fmla="val 237"/>
                  <a:gd name="f86" fmla="val 208"/>
                  <a:gd name="f87" fmla="val 239"/>
                  <a:gd name="f88" fmla="val 240"/>
                  <a:gd name="f89" fmla="val 192"/>
                  <a:gd name="f90" fmla="val 190"/>
                  <a:gd name="f91" fmla="val 227"/>
                  <a:gd name="f92" fmla="val 183"/>
                  <a:gd name="f93" fmla="val 179"/>
                  <a:gd name="f94" fmla="val 177"/>
                  <a:gd name="f95" fmla="val 216"/>
                  <a:gd name="f96" fmla="val 175"/>
                  <a:gd name="f97" fmla="val 167"/>
                  <a:gd name="f98" fmla="val 223"/>
                  <a:gd name="f99" fmla="val 160"/>
                  <a:gd name="f100" fmla="val 222"/>
                  <a:gd name="f101" fmla="val 145"/>
                  <a:gd name="f102" fmla="val 142"/>
                  <a:gd name="f103" fmla="val 207"/>
                  <a:gd name="f104" fmla="val 141"/>
                  <a:gd name="f105" fmla="val 138"/>
                  <a:gd name="f106" fmla="val 209"/>
                  <a:gd name="f107" fmla="val 134"/>
                  <a:gd name="f108" fmla="val 131"/>
                  <a:gd name="f109" fmla="val 251"/>
                  <a:gd name="f110" fmla="val 265"/>
                  <a:gd name="f111" fmla="val 282"/>
                  <a:gd name="f112" fmla="val 165"/>
                  <a:gd name="f113" fmla="val 301"/>
                  <a:gd name="f114" fmla="val 312"/>
                  <a:gd name="f115" fmla="val 185"/>
                  <a:gd name="f116" fmla="val 195"/>
                  <a:gd name="f117" fmla="val 330"/>
                  <a:gd name="f118" fmla="val 206"/>
                  <a:gd name="f119" fmla="val 341"/>
                  <a:gd name="f120" fmla="val 189"/>
                  <a:gd name="f121" fmla="val 358"/>
                  <a:gd name="f122" fmla="val 361"/>
                  <a:gd name="f123" fmla="val 356"/>
                  <a:gd name="f124" fmla="val 170"/>
                  <a:gd name="f125" fmla="val 348"/>
                  <a:gd name="f126" fmla="val 163"/>
                  <a:gd name="f127" fmla="val 340"/>
                  <a:gd name="f128" fmla="val 156"/>
                  <a:gd name="f129" fmla="val 334"/>
                  <a:gd name="f130" fmla="val 333"/>
                  <a:gd name="f131" fmla="val 143"/>
                  <a:gd name="f132" fmla="val 139"/>
                  <a:gd name="f133" fmla="val 337"/>
                  <a:gd name="f134" fmla="val 114"/>
                  <a:gd name="f135" fmla="val 306"/>
                  <a:gd name="f136" fmla="val 106"/>
                  <a:gd name="f137" fmla="val 295"/>
                  <a:gd name="f138" fmla="val 101"/>
                  <a:gd name="f139" fmla="val 288"/>
                  <a:gd name="f140" fmla="val 99"/>
                  <a:gd name="f141" fmla="val 286"/>
                  <a:gd name="f142" fmla="val 283"/>
                  <a:gd name="f143" fmla="val 105"/>
                  <a:gd name="f144" fmla="val 117"/>
                  <a:gd name="f145" fmla="val 279"/>
                  <a:gd name="f146" fmla="val 112"/>
                  <a:gd name="f147" fmla="val 268"/>
                  <a:gd name="f148" fmla="val 259"/>
                  <a:gd name="f149" fmla="val 103"/>
                  <a:gd name="f150" fmla="val 250"/>
                  <a:gd name="f151" fmla="val 102"/>
                  <a:gd name="f152" fmla="val 220"/>
                  <a:gd name="f153" fmla="val 110"/>
                  <a:gd name="f154" fmla="val 184"/>
                  <a:gd name="f155" fmla="val 113"/>
                  <a:gd name="f156" fmla="val 168"/>
                  <a:gd name="f157" fmla="val 116"/>
                  <a:gd name="f158" fmla="val 148"/>
                  <a:gd name="f159" fmla="val 77"/>
                  <a:gd name="f160" fmla="val 133"/>
                  <a:gd name="f161" fmla="val 69"/>
                  <a:gd name="f162" fmla="val 126"/>
                  <a:gd name="f163" fmla="val 67"/>
                  <a:gd name="f164" fmla="val 83"/>
                  <a:gd name="f165" fmla="val 87"/>
                  <a:gd name="f166" fmla="val 80"/>
                  <a:gd name="f167" fmla="val 73"/>
                  <a:gd name="f168" fmla="val 88"/>
                  <a:gd name="f169" fmla="val 68"/>
                  <a:gd name="f170" fmla="val 64"/>
                  <a:gd name="f171" fmla="val 60"/>
                  <a:gd name="f172" fmla="val 52"/>
                  <a:gd name="f173" fmla="val 57"/>
                  <a:gd name="f174" fmla="val 40"/>
                  <a:gd name="f175" fmla="val 31"/>
                  <a:gd name="f176" fmla="val 23"/>
                  <a:gd name="f177" fmla="val 62"/>
                  <a:gd name="f178" fmla="val 7"/>
                  <a:gd name="f179" fmla="val 49"/>
                  <a:gd name="f180" fmla="val 42"/>
                  <a:gd name="f181" fmla="val 15"/>
                  <a:gd name="f182" fmla="val 36"/>
                  <a:gd name="f183" fmla="val 41"/>
                  <a:gd name="f184" fmla="val 59"/>
                  <a:gd name="f185" fmla="val 92"/>
                  <a:gd name="f186" fmla="val 29"/>
                  <a:gd name="f187" fmla="val 121"/>
                  <a:gd name="f188" fmla="val 14"/>
                  <a:gd name="f189" fmla="val 6"/>
                  <a:gd name="f190" fmla="+- 0 0 -90"/>
                  <a:gd name="f191" fmla="*/ f3 1 342"/>
                  <a:gd name="f192" fmla="*/ f4 1 362"/>
                  <a:gd name="f193" fmla="+- f7 0 f5"/>
                  <a:gd name="f194" fmla="+- f6 0 f5"/>
                  <a:gd name="f195" fmla="*/ f190 f0 1"/>
                  <a:gd name="f196" fmla="*/ f194 1 342"/>
                  <a:gd name="f197" fmla="*/ f193 1 362"/>
                  <a:gd name="f198" fmla="*/ f195 1 f2"/>
                  <a:gd name="f199" fmla="*/ 150 1 f196"/>
                  <a:gd name="f200" fmla="*/ 4 1 f197"/>
                  <a:gd name="f201" fmla="*/ 154 1 f196"/>
                  <a:gd name="f202" fmla="*/ 32 1 f197"/>
                  <a:gd name="f203" fmla="*/ 188 1 f196"/>
                  <a:gd name="f204" fmla="*/ 30 1 f197"/>
                  <a:gd name="f205" fmla="*/ 196 1 f196"/>
                  <a:gd name="f206" fmla="*/ 8 1 f197"/>
                  <a:gd name="f207" fmla="*/ 215 1 f196"/>
                  <a:gd name="f208" fmla="*/ 243 1 f196"/>
                  <a:gd name="f209" fmla="*/ 33 1 f197"/>
                  <a:gd name="f210" fmla="*/ 277 1 f196"/>
                  <a:gd name="f211" fmla="*/ 55 1 f197"/>
                  <a:gd name="f212" fmla="*/ 326 1 f196"/>
                  <a:gd name="f213" fmla="*/ 39 1 f197"/>
                  <a:gd name="f214" fmla="*/ 322 1 f196"/>
                  <a:gd name="f215" fmla="*/ 90 1 f197"/>
                  <a:gd name="f216" fmla="*/ 304 1 f196"/>
                  <a:gd name="f217" fmla="*/ 128 1 f197"/>
                  <a:gd name="f218" fmla="*/ 137 1 f197"/>
                  <a:gd name="f219" fmla="*/ 236 1 f196"/>
                  <a:gd name="f220" fmla="*/ 161 1 f197"/>
                  <a:gd name="f221" fmla="*/ 176 1 f197"/>
                  <a:gd name="f222" fmla="*/ 248 1 f196"/>
                  <a:gd name="f223" fmla="*/ 204 1 f197"/>
                  <a:gd name="f224" fmla="*/ 233 1 f196"/>
                  <a:gd name="f225" fmla="*/ 234 1 f197"/>
                  <a:gd name="f226" fmla="*/ 200 1 f196"/>
                  <a:gd name="f227" fmla="*/ 240 1 f197"/>
                  <a:gd name="f228" fmla="*/ 192 1 f196"/>
                  <a:gd name="f229" fmla="*/ 237 1 f197"/>
                  <a:gd name="f230" fmla="*/ 190 1 f196"/>
                  <a:gd name="f231" fmla="*/ 227 1 f197"/>
                  <a:gd name="f232" fmla="*/ 179 1 f196"/>
                  <a:gd name="f233" fmla="*/ 215 1 f197"/>
                  <a:gd name="f234" fmla="*/ 167 1 f196"/>
                  <a:gd name="f235" fmla="*/ 223 1 f197"/>
                  <a:gd name="f236" fmla="*/ 145 1 f196"/>
                  <a:gd name="f237" fmla="*/ 208 1 f197"/>
                  <a:gd name="f238" fmla="*/ 138 1 f196"/>
                  <a:gd name="f239" fmla="*/ 209 1 f197"/>
                  <a:gd name="f240" fmla="*/ 130 1 f196"/>
                  <a:gd name="f241" fmla="*/ 141 1 f196"/>
                  <a:gd name="f242" fmla="*/ 251 1 f197"/>
                  <a:gd name="f243" fmla="*/ 165 1 f196"/>
                  <a:gd name="f244" fmla="*/ 301 1 f197"/>
                  <a:gd name="f245" fmla="*/ 195 1 f196"/>
                  <a:gd name="f246" fmla="*/ 330 1 f197"/>
                  <a:gd name="f247" fmla="*/ 183 1 f196"/>
                  <a:gd name="f248" fmla="*/ 362 1 f197"/>
                  <a:gd name="f249" fmla="*/ 170 1 f196"/>
                  <a:gd name="f250" fmla="*/ 348 1 f197"/>
                  <a:gd name="f251" fmla="*/ 146 1 f196"/>
                  <a:gd name="f252" fmla="*/ 333 1 f197"/>
                  <a:gd name="f253" fmla="*/ 134 1 f196"/>
                  <a:gd name="f254" fmla="*/ 337 1 f197"/>
                  <a:gd name="f255" fmla="*/ 101 1 f196"/>
                  <a:gd name="f256" fmla="*/ 288 1 f197"/>
                  <a:gd name="f257" fmla="*/ 105 1 f196"/>
                  <a:gd name="f258" fmla="*/ 283 1 f197"/>
                  <a:gd name="f259" fmla="*/ 117 1 f196"/>
                  <a:gd name="f260" fmla="*/ 279 1 f197"/>
                  <a:gd name="f261" fmla="*/ 103 1 f196"/>
                  <a:gd name="f262" fmla="*/ 250 1 f197"/>
                  <a:gd name="f263" fmla="*/ 220 1 f197"/>
                  <a:gd name="f264" fmla="*/ 114 1 f196"/>
                  <a:gd name="f265" fmla="*/ 154 1 f197"/>
                  <a:gd name="f266" fmla="*/ 102 1 f196"/>
                  <a:gd name="f267" fmla="*/ 143 1 f197"/>
                  <a:gd name="f268" fmla="*/ 69 1 f196"/>
                  <a:gd name="f269" fmla="*/ 126 1 f197"/>
                  <a:gd name="f270" fmla="*/ 83 1 f196"/>
                  <a:gd name="f271" fmla="*/ 88 1 f196"/>
                  <a:gd name="f272" fmla="*/ 68 1 f197"/>
                  <a:gd name="f273" fmla="*/ 52 1 f196"/>
                  <a:gd name="f274" fmla="*/ 57 1 f197"/>
                  <a:gd name="f275" fmla="*/ 23 1 f196"/>
                  <a:gd name="f276" fmla="*/ 60 1 f197"/>
                  <a:gd name="f277" fmla="*/ 4 1 f196"/>
                  <a:gd name="f278" fmla="*/ 15 1 f196"/>
                  <a:gd name="f279" fmla="*/ 36 1 f197"/>
                  <a:gd name="f280" fmla="*/ 59 1 f196"/>
                  <a:gd name="f281" fmla="*/ 131 1 f196"/>
                  <a:gd name="f282" fmla="*/ 14 1 f197"/>
                  <a:gd name="f283" fmla="*/ 0 1 f196"/>
                  <a:gd name="f284" fmla="*/ f6 1 f196"/>
                  <a:gd name="f285" fmla="*/ 0 1 f197"/>
                  <a:gd name="f286" fmla="*/ f7 1 f197"/>
                  <a:gd name="f287" fmla="+- f198 0 f1"/>
                  <a:gd name="f288" fmla="*/ f283 f191 1"/>
                  <a:gd name="f289" fmla="*/ f284 f191 1"/>
                  <a:gd name="f290" fmla="*/ f286 f192 1"/>
                  <a:gd name="f291" fmla="*/ f285 f192 1"/>
                  <a:gd name="f292" fmla="*/ f199 f191 1"/>
                  <a:gd name="f293" fmla="*/ f200 f192 1"/>
                  <a:gd name="f294" fmla="*/ f201 f191 1"/>
                  <a:gd name="f295" fmla="*/ f202 f192 1"/>
                  <a:gd name="f296" fmla="*/ f203 f191 1"/>
                  <a:gd name="f297" fmla="*/ f204 f192 1"/>
                  <a:gd name="f298" fmla="*/ f205 f191 1"/>
                  <a:gd name="f299" fmla="*/ f206 f192 1"/>
                  <a:gd name="f300" fmla="*/ f207 f191 1"/>
                  <a:gd name="f301" fmla="*/ f208 f191 1"/>
                  <a:gd name="f302" fmla="*/ f209 f192 1"/>
                  <a:gd name="f303" fmla="*/ f210 f191 1"/>
                  <a:gd name="f304" fmla="*/ f211 f192 1"/>
                  <a:gd name="f305" fmla="*/ f212 f191 1"/>
                  <a:gd name="f306" fmla="*/ f213 f192 1"/>
                  <a:gd name="f307" fmla="*/ f214 f191 1"/>
                  <a:gd name="f308" fmla="*/ f215 f192 1"/>
                  <a:gd name="f309" fmla="*/ f216 f191 1"/>
                  <a:gd name="f310" fmla="*/ f217 f192 1"/>
                  <a:gd name="f311" fmla="*/ f218 f192 1"/>
                  <a:gd name="f312" fmla="*/ f219 f191 1"/>
                  <a:gd name="f313" fmla="*/ f220 f192 1"/>
                  <a:gd name="f314" fmla="*/ f221 f192 1"/>
                  <a:gd name="f315" fmla="*/ f222 f191 1"/>
                  <a:gd name="f316" fmla="*/ f223 f192 1"/>
                  <a:gd name="f317" fmla="*/ f224 f191 1"/>
                  <a:gd name="f318" fmla="*/ f225 f192 1"/>
                  <a:gd name="f319" fmla="*/ f226 f191 1"/>
                  <a:gd name="f320" fmla="*/ f227 f192 1"/>
                  <a:gd name="f321" fmla="*/ f228 f191 1"/>
                  <a:gd name="f322" fmla="*/ f229 f192 1"/>
                  <a:gd name="f323" fmla="*/ f230 f191 1"/>
                  <a:gd name="f324" fmla="*/ f231 f192 1"/>
                  <a:gd name="f325" fmla="*/ f232 f191 1"/>
                  <a:gd name="f326" fmla="*/ f233 f192 1"/>
                  <a:gd name="f327" fmla="*/ f234 f191 1"/>
                  <a:gd name="f328" fmla="*/ f235 f192 1"/>
                  <a:gd name="f329" fmla="*/ f236 f191 1"/>
                  <a:gd name="f330" fmla="*/ f237 f192 1"/>
                  <a:gd name="f331" fmla="*/ f238 f191 1"/>
                  <a:gd name="f332" fmla="*/ f239 f192 1"/>
                  <a:gd name="f333" fmla="*/ f240 f191 1"/>
                  <a:gd name="f334" fmla="*/ f241 f191 1"/>
                  <a:gd name="f335" fmla="*/ f242 f192 1"/>
                  <a:gd name="f336" fmla="*/ f243 f191 1"/>
                  <a:gd name="f337" fmla="*/ f244 f192 1"/>
                  <a:gd name="f338" fmla="*/ f245 f191 1"/>
                  <a:gd name="f339" fmla="*/ f246 f192 1"/>
                  <a:gd name="f340" fmla="*/ f247 f191 1"/>
                  <a:gd name="f341" fmla="*/ f248 f192 1"/>
                  <a:gd name="f342" fmla="*/ f249 f191 1"/>
                  <a:gd name="f343" fmla="*/ f250 f192 1"/>
                  <a:gd name="f344" fmla="*/ f251 f191 1"/>
                  <a:gd name="f345" fmla="*/ f252 f192 1"/>
                  <a:gd name="f346" fmla="*/ f253 f191 1"/>
                  <a:gd name="f347" fmla="*/ f254 f192 1"/>
                  <a:gd name="f348" fmla="*/ f255 f191 1"/>
                  <a:gd name="f349" fmla="*/ f256 f192 1"/>
                  <a:gd name="f350" fmla="*/ f257 f191 1"/>
                  <a:gd name="f351" fmla="*/ f258 f192 1"/>
                  <a:gd name="f352" fmla="*/ f259 f191 1"/>
                  <a:gd name="f353" fmla="*/ f260 f192 1"/>
                  <a:gd name="f354" fmla="*/ f261 f191 1"/>
                  <a:gd name="f355" fmla="*/ f262 f192 1"/>
                  <a:gd name="f356" fmla="*/ f263 f192 1"/>
                  <a:gd name="f357" fmla="*/ f264 f191 1"/>
                  <a:gd name="f358" fmla="*/ f265 f192 1"/>
                  <a:gd name="f359" fmla="*/ f266 f191 1"/>
                  <a:gd name="f360" fmla="*/ f267 f192 1"/>
                  <a:gd name="f361" fmla="*/ f268 f191 1"/>
                  <a:gd name="f362" fmla="*/ f269 f192 1"/>
                  <a:gd name="f363" fmla="*/ f270 f191 1"/>
                  <a:gd name="f364" fmla="*/ f271 f191 1"/>
                  <a:gd name="f365" fmla="*/ f272 f192 1"/>
                  <a:gd name="f366" fmla="*/ f273 f191 1"/>
                  <a:gd name="f367" fmla="*/ f274 f192 1"/>
                  <a:gd name="f368" fmla="*/ f275 f191 1"/>
                  <a:gd name="f369" fmla="*/ f276 f192 1"/>
                  <a:gd name="f370" fmla="*/ f277 f191 1"/>
                  <a:gd name="f371" fmla="*/ f278 f191 1"/>
                  <a:gd name="f372" fmla="*/ f279 f192 1"/>
                  <a:gd name="f373" fmla="*/ f280 f191 1"/>
                  <a:gd name="f374" fmla="*/ f281 f191 1"/>
                  <a:gd name="f375" fmla="*/ f282 f19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87">
                    <a:pos x="f292" y="f293"/>
                  </a:cxn>
                  <a:cxn ang="f287">
                    <a:pos x="f294" y="f295"/>
                  </a:cxn>
                  <a:cxn ang="f287">
                    <a:pos x="f296" y="f297"/>
                  </a:cxn>
                  <a:cxn ang="f287">
                    <a:pos x="f298" y="f299"/>
                  </a:cxn>
                  <a:cxn ang="f287">
                    <a:pos x="f300" y="f293"/>
                  </a:cxn>
                  <a:cxn ang="f287">
                    <a:pos x="f301" y="f302"/>
                  </a:cxn>
                  <a:cxn ang="f287">
                    <a:pos x="f303" y="f304"/>
                  </a:cxn>
                  <a:cxn ang="f287">
                    <a:pos x="f305" y="f306"/>
                  </a:cxn>
                  <a:cxn ang="f287">
                    <a:pos x="f307" y="f308"/>
                  </a:cxn>
                  <a:cxn ang="f287">
                    <a:pos x="f309" y="f310"/>
                  </a:cxn>
                  <a:cxn ang="f287">
                    <a:pos x="f303" y="f311"/>
                  </a:cxn>
                  <a:cxn ang="f287">
                    <a:pos x="f312" y="f313"/>
                  </a:cxn>
                  <a:cxn ang="f287">
                    <a:pos x="f312" y="f314"/>
                  </a:cxn>
                  <a:cxn ang="f287">
                    <a:pos x="f315" y="f316"/>
                  </a:cxn>
                  <a:cxn ang="f287">
                    <a:pos x="f317" y="f318"/>
                  </a:cxn>
                  <a:cxn ang="f287">
                    <a:pos x="f319" y="f320"/>
                  </a:cxn>
                  <a:cxn ang="f287">
                    <a:pos x="f321" y="f322"/>
                  </a:cxn>
                  <a:cxn ang="f287">
                    <a:pos x="f323" y="f324"/>
                  </a:cxn>
                  <a:cxn ang="f287">
                    <a:pos x="f325" y="f326"/>
                  </a:cxn>
                  <a:cxn ang="f287">
                    <a:pos x="f327" y="f328"/>
                  </a:cxn>
                  <a:cxn ang="f287">
                    <a:pos x="f329" y="f330"/>
                  </a:cxn>
                  <a:cxn ang="f287">
                    <a:pos x="f331" y="f332"/>
                  </a:cxn>
                  <a:cxn ang="f287">
                    <a:pos x="f333" y="f324"/>
                  </a:cxn>
                  <a:cxn ang="f287">
                    <a:pos x="f334" y="f335"/>
                  </a:cxn>
                  <a:cxn ang="f287">
                    <a:pos x="f336" y="f337"/>
                  </a:cxn>
                  <a:cxn ang="f287">
                    <a:pos x="f338" y="f339"/>
                  </a:cxn>
                  <a:cxn ang="f287">
                    <a:pos x="f340" y="f341"/>
                  </a:cxn>
                  <a:cxn ang="f287">
                    <a:pos x="f342" y="f343"/>
                  </a:cxn>
                  <a:cxn ang="f287">
                    <a:pos x="f344" y="f345"/>
                  </a:cxn>
                  <a:cxn ang="f287">
                    <a:pos x="f346" y="f347"/>
                  </a:cxn>
                  <a:cxn ang="f287">
                    <a:pos x="f348" y="f349"/>
                  </a:cxn>
                  <a:cxn ang="f287">
                    <a:pos x="f350" y="f351"/>
                  </a:cxn>
                  <a:cxn ang="f287">
                    <a:pos x="f352" y="f353"/>
                  </a:cxn>
                  <a:cxn ang="f287">
                    <a:pos x="f354" y="f355"/>
                  </a:cxn>
                  <a:cxn ang="f287">
                    <a:pos x="f350" y="f356"/>
                  </a:cxn>
                  <a:cxn ang="f287">
                    <a:pos x="f357" y="f358"/>
                  </a:cxn>
                  <a:cxn ang="f287">
                    <a:pos x="f359" y="f360"/>
                  </a:cxn>
                  <a:cxn ang="f287">
                    <a:pos x="f361" y="f362"/>
                  </a:cxn>
                  <a:cxn ang="f287">
                    <a:pos x="f363" y="f308"/>
                  </a:cxn>
                  <a:cxn ang="f287">
                    <a:pos x="f364" y="f365"/>
                  </a:cxn>
                  <a:cxn ang="f287">
                    <a:pos x="f366" y="f367"/>
                  </a:cxn>
                  <a:cxn ang="f287">
                    <a:pos x="f368" y="f369"/>
                  </a:cxn>
                  <a:cxn ang="f287">
                    <a:pos x="f370" y="f367"/>
                  </a:cxn>
                  <a:cxn ang="f287">
                    <a:pos x="f371" y="f372"/>
                  </a:cxn>
                  <a:cxn ang="f287">
                    <a:pos x="f373" y="f297"/>
                  </a:cxn>
                  <a:cxn ang="f287">
                    <a:pos x="f359" y="f295"/>
                  </a:cxn>
                  <a:cxn ang="f287">
                    <a:pos x="f374" y="f375"/>
                  </a:cxn>
                </a:cxnLst>
                <a:rect l="f288" t="f291" r="f289" b="f290"/>
                <a:pathLst>
                  <a:path w="342" h="362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0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5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11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20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39"/>
                    </a:lnTo>
                    <a:lnTo>
                      <a:pt x="f47" y="f48"/>
                    </a:lnTo>
                    <a:lnTo>
                      <a:pt x="f6" y="f20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42" y="f63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68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66" y="f79"/>
                    </a:lnTo>
                    <a:lnTo>
                      <a:pt x="f66" y="f80"/>
                    </a:lnTo>
                    <a:lnTo>
                      <a:pt x="f81" y="f82"/>
                    </a:lnTo>
                    <a:lnTo>
                      <a:pt x="f82" y="f83"/>
                    </a:lnTo>
                    <a:lnTo>
                      <a:pt x="f84" y="f85"/>
                    </a:lnTo>
                    <a:lnTo>
                      <a:pt x="f86" y="f87"/>
                    </a:lnTo>
                    <a:lnTo>
                      <a:pt x="f30" y="f88"/>
                    </a:lnTo>
                    <a:lnTo>
                      <a:pt x="f25" y="f88"/>
                    </a:lnTo>
                    <a:lnTo>
                      <a:pt x="f23" y="f87"/>
                    </a:lnTo>
                    <a:lnTo>
                      <a:pt x="f89" y="f85"/>
                    </a:lnTo>
                    <a:lnTo>
                      <a:pt x="f89" y="f82"/>
                    </a:lnTo>
                    <a:lnTo>
                      <a:pt x="f90" y="f70"/>
                    </a:lnTo>
                    <a:lnTo>
                      <a:pt x="f90" y="f91"/>
                    </a:lnTo>
                    <a:lnTo>
                      <a:pt x="f21" y="f84"/>
                    </a:lnTo>
                    <a:lnTo>
                      <a:pt x="f92" y="f32"/>
                    </a:lnTo>
                    <a:lnTo>
                      <a:pt x="f93" y="f32"/>
                    </a:lnTo>
                    <a:lnTo>
                      <a:pt x="f94" y="f95"/>
                    </a:lnTo>
                    <a:lnTo>
                      <a:pt x="f96" y="f84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5" y="f80"/>
                    </a:lnTo>
                    <a:lnTo>
                      <a:pt x="f101" y="f86"/>
                    </a:lnTo>
                    <a:lnTo>
                      <a:pt x="f102" y="f103"/>
                    </a:lnTo>
                    <a:lnTo>
                      <a:pt x="f104" y="f86"/>
                    </a:lnTo>
                    <a:lnTo>
                      <a:pt x="f105" y="f106"/>
                    </a:lnTo>
                    <a:lnTo>
                      <a:pt x="f107" y="f80"/>
                    </a:lnTo>
                    <a:lnTo>
                      <a:pt x="f108" y="f100"/>
                    </a:lnTo>
                    <a:lnTo>
                      <a:pt x="f60" y="f91"/>
                    </a:lnTo>
                    <a:lnTo>
                      <a:pt x="f62" y="f83"/>
                    </a:lnTo>
                    <a:lnTo>
                      <a:pt x="f105" y="f75"/>
                    </a:lnTo>
                    <a:lnTo>
                      <a:pt x="f104" y="f109"/>
                    </a:lnTo>
                    <a:lnTo>
                      <a:pt x="f101" y="f110"/>
                    </a:lnTo>
                    <a:lnTo>
                      <a:pt x="f13" y="f111"/>
                    </a:lnTo>
                    <a:lnTo>
                      <a:pt x="f112" y="f113"/>
                    </a:lnTo>
                    <a:lnTo>
                      <a:pt x="f96" y="f114"/>
                    </a:lnTo>
                    <a:lnTo>
                      <a:pt x="f115" y="f51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20" y="f121"/>
                    </a:lnTo>
                    <a:lnTo>
                      <a:pt x="f92" y="f7"/>
                    </a:lnTo>
                    <a:lnTo>
                      <a:pt x="f93" y="f122"/>
                    </a:lnTo>
                    <a:lnTo>
                      <a:pt x="f96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128" y="f129"/>
                    </a:lnTo>
                    <a:lnTo>
                      <a:pt x="f8" y="f130"/>
                    </a:lnTo>
                    <a:lnTo>
                      <a:pt x="f131" y="f130"/>
                    </a:lnTo>
                    <a:lnTo>
                      <a:pt x="f132" y="f129"/>
                    </a:lnTo>
                    <a:lnTo>
                      <a:pt x="f107" y="f133"/>
                    </a:ln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0" y="f142"/>
                    </a:lnTo>
                    <a:lnTo>
                      <a:pt x="f143" y="f142"/>
                    </a:lnTo>
                    <a:lnTo>
                      <a:pt x="f54" y="f111"/>
                    </a:lnTo>
                    <a:lnTo>
                      <a:pt x="f134" y="f111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36" y="f148"/>
                    </a:lnTo>
                    <a:lnTo>
                      <a:pt x="f149" y="f150"/>
                    </a:lnTo>
                    <a:lnTo>
                      <a:pt x="f151" y="f37"/>
                    </a:lnTo>
                    <a:lnTo>
                      <a:pt x="f149" y="f83"/>
                    </a:lnTo>
                    <a:lnTo>
                      <a:pt x="f143" y="f152"/>
                    </a:lnTo>
                    <a:lnTo>
                      <a:pt x="f153" y="f154"/>
                    </a:lnTo>
                    <a:lnTo>
                      <a:pt x="f155" y="f156"/>
                    </a:lnTo>
                    <a:lnTo>
                      <a:pt x="f134" y="f15"/>
                    </a:lnTo>
                    <a:lnTo>
                      <a:pt x="f157" y="f158"/>
                    </a:lnTo>
                    <a:lnTo>
                      <a:pt x="f146" y="f8"/>
                    </a:lnTo>
                    <a:lnTo>
                      <a:pt x="f151" y="f131"/>
                    </a:lnTo>
                    <a:lnTo>
                      <a:pt x="f52" y="f63"/>
                    </a:lnTo>
                    <a:lnTo>
                      <a:pt x="f159" y="f160"/>
                    </a:lnTo>
                    <a:lnTo>
                      <a:pt x="f161" y="f162"/>
                    </a:lnTo>
                    <a:lnTo>
                      <a:pt x="f163" y="f56"/>
                    </a:lnTo>
                    <a:lnTo>
                      <a:pt x="f50" y="f153"/>
                    </a:lnTo>
                    <a:lnTo>
                      <a:pt x="f164" y="f52"/>
                    </a:lnTo>
                    <a:lnTo>
                      <a:pt x="f165" y="f166"/>
                    </a:lnTo>
                    <a:lnTo>
                      <a:pt x="f52" y="f167"/>
                    </a:lnTo>
                    <a:lnTo>
                      <a:pt x="f168" y="f169"/>
                    </a:lnTo>
                    <a:lnTo>
                      <a:pt x="f166" y="f170"/>
                    </a:lnTo>
                    <a:lnTo>
                      <a:pt x="f163" y="f171"/>
                    </a:lnTo>
                    <a:lnTo>
                      <a:pt x="f172" y="f173"/>
                    </a:lnTo>
                    <a:lnTo>
                      <a:pt x="f174" y="f43"/>
                    </a:lnTo>
                    <a:lnTo>
                      <a:pt x="f175" y="f173"/>
                    </a:lnTo>
                    <a:lnTo>
                      <a:pt x="f176" y="f171"/>
                    </a:lnTo>
                    <a:lnTo>
                      <a:pt x="f34" y="f177"/>
                    </a:lnTo>
                    <a:lnTo>
                      <a:pt x="f5" y="f177"/>
                    </a:lnTo>
                    <a:lnTo>
                      <a:pt x="f11" y="f173"/>
                    </a:lnTo>
                    <a:lnTo>
                      <a:pt x="f178" y="f179"/>
                    </a:lnTo>
                    <a:lnTo>
                      <a:pt x="f27" y="f180"/>
                    </a:lnTo>
                    <a:lnTo>
                      <a:pt x="f181" y="f182"/>
                    </a:lnTo>
                    <a:lnTo>
                      <a:pt x="f14" y="f20"/>
                    </a:lnTo>
                    <a:lnTo>
                      <a:pt x="f183" y="f16"/>
                    </a:lnTo>
                    <a:lnTo>
                      <a:pt x="f184" y="f22"/>
                    </a:lnTo>
                    <a:lnTo>
                      <a:pt x="f159" y="f22"/>
                    </a:lnTo>
                    <a:lnTo>
                      <a:pt x="f185" y="f16"/>
                    </a:lnTo>
                    <a:lnTo>
                      <a:pt x="f151" y="f16"/>
                    </a:lnTo>
                    <a:lnTo>
                      <a:pt x="f153" y="f186"/>
                    </a:lnTo>
                    <a:lnTo>
                      <a:pt x="f187" y="f26"/>
                    </a:lnTo>
                    <a:lnTo>
                      <a:pt x="f108" y="f188"/>
                    </a:lnTo>
                    <a:lnTo>
                      <a:pt x="f132" y="f189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45" name="Freeform 7">
                <a:extLst>
                  <a:ext uri="{FF2B5EF4-FFF2-40B4-BE49-F238E27FC236}">
                    <a16:creationId xmlns:a16="http://schemas.microsoft.com/office/drawing/2014/main" id="{EA6747CD-DD55-41BB-909F-5BA365F2FC41}"/>
                  </a:ext>
                </a:extLst>
              </p:cNvPr>
              <p:cNvSpPr/>
              <p:nvPr/>
            </p:nvSpPr>
            <p:spPr>
              <a:xfrm>
                <a:off x="4498829" y="2723439"/>
                <a:ext cx="53245" cy="5290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21"/>
                  <a:gd name="f7" fmla="val 325"/>
                  <a:gd name="f8" fmla="val 227"/>
                  <a:gd name="f9" fmla="val 239"/>
                  <a:gd name="f10" fmla="val 2"/>
                  <a:gd name="f11" fmla="val 254"/>
                  <a:gd name="f12" fmla="val 5"/>
                  <a:gd name="f13" fmla="val 267"/>
                  <a:gd name="f14" fmla="val 9"/>
                  <a:gd name="f15" fmla="val 275"/>
                  <a:gd name="f16" fmla="val 13"/>
                  <a:gd name="f17" fmla="val 277"/>
                  <a:gd name="f18" fmla="val 18"/>
                  <a:gd name="f19" fmla="val 274"/>
                  <a:gd name="f20" fmla="val 25"/>
                  <a:gd name="f21" fmla="val 270"/>
                  <a:gd name="f22" fmla="val 35"/>
                  <a:gd name="f23" fmla="val 259"/>
                  <a:gd name="f24" fmla="val 55"/>
                  <a:gd name="f25" fmla="val 64"/>
                  <a:gd name="f26" fmla="val 256"/>
                  <a:gd name="f27" fmla="val 71"/>
                  <a:gd name="f28" fmla="val 264"/>
                  <a:gd name="f29" fmla="val 78"/>
                  <a:gd name="f30" fmla="val 82"/>
                  <a:gd name="f31" fmla="val 289"/>
                  <a:gd name="f32" fmla="val 88"/>
                  <a:gd name="f33" fmla="val 299"/>
                  <a:gd name="f34" fmla="val 91"/>
                  <a:gd name="f35" fmla="val 303"/>
                  <a:gd name="f36" fmla="val 93"/>
                  <a:gd name="f37" fmla="val 301"/>
                  <a:gd name="f38" fmla="val 99"/>
                  <a:gd name="f39" fmla="val 300"/>
                  <a:gd name="f40" fmla="val 113"/>
                  <a:gd name="f41" fmla="val 297"/>
                  <a:gd name="f42" fmla="val 129"/>
                  <a:gd name="f43" fmla="val 292"/>
                  <a:gd name="f44" fmla="val 165"/>
                  <a:gd name="f45" fmla="val 290"/>
                  <a:gd name="f46" fmla="val 179"/>
                  <a:gd name="f47" fmla="val 188"/>
                  <a:gd name="f48" fmla="val 195"/>
                  <a:gd name="f49" fmla="val 293"/>
                  <a:gd name="f50" fmla="val 204"/>
                  <a:gd name="f51" fmla="val 213"/>
                  <a:gd name="f52" fmla="val 304"/>
                  <a:gd name="f53" fmla="val 224"/>
                  <a:gd name="f54" fmla="val 294"/>
                  <a:gd name="f55" fmla="val 228"/>
                  <a:gd name="f56" fmla="val 286"/>
                  <a:gd name="f57" fmla="val 231"/>
                  <a:gd name="f58" fmla="val 288"/>
                  <a:gd name="f59" fmla="val 233"/>
                  <a:gd name="f60" fmla="val 240"/>
                  <a:gd name="f61" fmla="val 251"/>
                  <a:gd name="f62" fmla="val 282"/>
                  <a:gd name="f63" fmla="val 307"/>
                  <a:gd name="f64" fmla="val 296"/>
                  <a:gd name="f65" fmla="val 260"/>
                  <a:gd name="f66" fmla="val 313"/>
                  <a:gd name="f67" fmla="val 249"/>
                  <a:gd name="f68" fmla="val 319"/>
                  <a:gd name="f69" fmla="val 242"/>
                  <a:gd name="f70" fmla="val 324"/>
                  <a:gd name="f71" fmla="val 236"/>
                  <a:gd name="f72" fmla="val 220"/>
                  <a:gd name="f73" fmla="val 315"/>
                  <a:gd name="f74" fmla="val 212"/>
                  <a:gd name="f75" fmla="val 311"/>
                  <a:gd name="f76" fmla="val 198"/>
                  <a:gd name="f77" fmla="val 189"/>
                  <a:gd name="f78" fmla="val 308"/>
                  <a:gd name="f79" fmla="val 170"/>
                  <a:gd name="f80" fmla="val 162"/>
                  <a:gd name="f81" fmla="val 156"/>
                  <a:gd name="f82" fmla="val 148"/>
                  <a:gd name="f83" fmla="val 142"/>
                  <a:gd name="f84" fmla="val 136"/>
                  <a:gd name="f85" fmla="val 322"/>
                  <a:gd name="f86" fmla="val 126"/>
                  <a:gd name="f87" fmla="val 112"/>
                  <a:gd name="f88" fmla="val 318"/>
                  <a:gd name="f89" fmla="val 97"/>
                  <a:gd name="f90" fmla="val 87"/>
                  <a:gd name="f91" fmla="val 306"/>
                  <a:gd name="f92" fmla="val 75"/>
                  <a:gd name="f93" fmla="val 65"/>
                  <a:gd name="f94" fmla="val 57"/>
                  <a:gd name="f95" fmla="val 50"/>
                  <a:gd name="f96" fmla="val 49"/>
                  <a:gd name="f97" fmla="val 285"/>
                  <a:gd name="f98" fmla="val 46"/>
                  <a:gd name="f99" fmla="val 40"/>
                  <a:gd name="f100" fmla="val 281"/>
                  <a:gd name="f101" fmla="val 29"/>
                  <a:gd name="f102" fmla="val 14"/>
                  <a:gd name="f103" fmla="val 279"/>
                  <a:gd name="f104" fmla="val 278"/>
                  <a:gd name="f105" fmla="val 10"/>
                  <a:gd name="f106" fmla="val 20"/>
                  <a:gd name="f107" fmla="val 247"/>
                  <a:gd name="f108" fmla="val 22"/>
                  <a:gd name="f109" fmla="val 21"/>
                  <a:gd name="f110" fmla="val 15"/>
                  <a:gd name="f111" fmla="val 225"/>
                  <a:gd name="f112" fmla="val 215"/>
                  <a:gd name="f113" fmla="val 6"/>
                  <a:gd name="f114" fmla="val 207"/>
                  <a:gd name="f115" fmla="val 4"/>
                  <a:gd name="f116" fmla="val 199"/>
                  <a:gd name="f117" fmla="val 7"/>
                  <a:gd name="f118" fmla="val 192"/>
                  <a:gd name="f119" fmla="val 152"/>
                  <a:gd name="f120" fmla="val 31"/>
                  <a:gd name="f121" fmla="val 139"/>
                  <a:gd name="f122" fmla="val 33"/>
                  <a:gd name="f123" fmla="val 37"/>
                  <a:gd name="f124" fmla="val 121"/>
                  <a:gd name="f125" fmla="val 53"/>
                  <a:gd name="f126" fmla="val 103"/>
                  <a:gd name="f127" fmla="val 62"/>
                  <a:gd name="f128" fmla="val 68"/>
                  <a:gd name="f129" fmla="val 100"/>
                  <a:gd name="f130" fmla="val 73"/>
                  <a:gd name="f131" fmla="val 76"/>
                  <a:gd name="f132" fmla="val 84"/>
                  <a:gd name="f133" fmla="val 86"/>
                  <a:gd name="f134" fmla="val 96"/>
                  <a:gd name="f135" fmla="val 108"/>
                  <a:gd name="f136" fmla="val 118"/>
                  <a:gd name="f137" fmla="val 63"/>
                  <a:gd name="f138" fmla="val 122"/>
                  <a:gd name="f139" fmla="val 59"/>
                  <a:gd name="f140" fmla="val 120"/>
                  <a:gd name="f141" fmla="val 52"/>
                  <a:gd name="f142" fmla="val 119"/>
                  <a:gd name="f143" fmla="val 28"/>
                  <a:gd name="f144" fmla="val 127"/>
                  <a:gd name="f145" fmla="val 23"/>
                  <a:gd name="f146" fmla="val 17"/>
                  <a:gd name="f147" fmla="val 160"/>
                  <a:gd name="f148" fmla="val 178"/>
                  <a:gd name="f149" fmla="val 181"/>
                  <a:gd name="f150" fmla="val 187"/>
                  <a:gd name="f151" fmla="val 210"/>
                  <a:gd name="f152" fmla="val 218"/>
                  <a:gd name="f153" fmla="+- 0 0 -90"/>
                  <a:gd name="f154" fmla="*/ f3 1 321"/>
                  <a:gd name="f155" fmla="*/ f4 1 325"/>
                  <a:gd name="f156" fmla="+- f7 0 f5"/>
                  <a:gd name="f157" fmla="+- f6 0 f5"/>
                  <a:gd name="f158" fmla="*/ f153 f0 1"/>
                  <a:gd name="f159" fmla="*/ f157 1 321"/>
                  <a:gd name="f160" fmla="*/ f156 1 325"/>
                  <a:gd name="f161" fmla="*/ f158 1 f2"/>
                  <a:gd name="f162" fmla="*/ 239 1 f159"/>
                  <a:gd name="f163" fmla="*/ 2 1 f160"/>
                  <a:gd name="f164" fmla="*/ 267 1 f159"/>
                  <a:gd name="f165" fmla="*/ 9 1 f160"/>
                  <a:gd name="f166" fmla="*/ 277 1 f159"/>
                  <a:gd name="f167" fmla="*/ 18 1 f160"/>
                  <a:gd name="f168" fmla="*/ 270 1 f159"/>
                  <a:gd name="f169" fmla="*/ 35 1 f160"/>
                  <a:gd name="f170" fmla="*/ 254 1 f159"/>
                  <a:gd name="f171" fmla="*/ 64 1 f160"/>
                  <a:gd name="f172" fmla="*/ 264 1 f159"/>
                  <a:gd name="f173" fmla="*/ 78 1 f160"/>
                  <a:gd name="f174" fmla="*/ 289 1 f159"/>
                  <a:gd name="f175" fmla="*/ 88 1 f160"/>
                  <a:gd name="f176" fmla="*/ 303 1 f159"/>
                  <a:gd name="f177" fmla="*/ 93 1 f160"/>
                  <a:gd name="f178" fmla="*/ 300 1 f159"/>
                  <a:gd name="f179" fmla="*/ 113 1 f160"/>
                  <a:gd name="f180" fmla="*/ 292 1 f159"/>
                  <a:gd name="f181" fmla="*/ 165 1 f160"/>
                  <a:gd name="f182" fmla="*/ 188 1 f160"/>
                  <a:gd name="f183" fmla="*/ 293 1 f159"/>
                  <a:gd name="f184" fmla="*/ 204 1 f160"/>
                  <a:gd name="f185" fmla="*/ 304 1 f159"/>
                  <a:gd name="f186" fmla="*/ 224 1 f160"/>
                  <a:gd name="f187" fmla="*/ 294 1 f159"/>
                  <a:gd name="f188" fmla="*/ 227 1 f160"/>
                  <a:gd name="f189" fmla="*/ 286 1 f159"/>
                  <a:gd name="f190" fmla="*/ 228 1 f160"/>
                  <a:gd name="f191" fmla="*/ 288 1 f159"/>
                  <a:gd name="f192" fmla="*/ 233 1 f160"/>
                  <a:gd name="f193" fmla="*/ 301 1 f159"/>
                  <a:gd name="f194" fmla="*/ 251 1 f160"/>
                  <a:gd name="f195" fmla="*/ 307 1 f159"/>
                  <a:gd name="f196" fmla="*/ 288 1 f160"/>
                  <a:gd name="f197" fmla="*/ 260 1 f159"/>
                  <a:gd name="f198" fmla="*/ 313 1 f160"/>
                  <a:gd name="f199" fmla="*/ 242 1 f159"/>
                  <a:gd name="f200" fmla="*/ 324 1 f160"/>
                  <a:gd name="f201" fmla="*/ 228 1 f159"/>
                  <a:gd name="f202" fmla="*/ 321 1 f160"/>
                  <a:gd name="f203" fmla="*/ 212 1 f159"/>
                  <a:gd name="f204" fmla="*/ 311 1 f160"/>
                  <a:gd name="f205" fmla="*/ 189 1 f159"/>
                  <a:gd name="f206" fmla="*/ 308 1 f160"/>
                  <a:gd name="f207" fmla="*/ 162 1 f159"/>
                  <a:gd name="f208" fmla="*/ 301 1 f160"/>
                  <a:gd name="f209" fmla="*/ 148 1 f159"/>
                  <a:gd name="f210" fmla="*/ 315 1 f160"/>
                  <a:gd name="f211" fmla="*/ 136 1 f159"/>
                  <a:gd name="f212" fmla="*/ 322 1 f160"/>
                  <a:gd name="f213" fmla="*/ 112 1 f159"/>
                  <a:gd name="f214" fmla="*/ 318 1 f160"/>
                  <a:gd name="f215" fmla="*/ 87 1 f159"/>
                  <a:gd name="f216" fmla="*/ 306 1 f160"/>
                  <a:gd name="f217" fmla="*/ 75 1 f159"/>
                  <a:gd name="f218" fmla="*/ 299 1 f160"/>
                  <a:gd name="f219" fmla="*/ 57 1 f159"/>
                  <a:gd name="f220" fmla="*/ 296 1 f160"/>
                  <a:gd name="f221" fmla="*/ 49 1 f159"/>
                  <a:gd name="f222" fmla="*/ 285 1 f160"/>
                  <a:gd name="f223" fmla="*/ 40 1 f159"/>
                  <a:gd name="f224" fmla="*/ 281 1 f160"/>
                  <a:gd name="f225" fmla="*/ 14 1 f159"/>
                  <a:gd name="f226" fmla="*/ 279 1 f160"/>
                  <a:gd name="f227" fmla="*/ 10 1 f159"/>
                  <a:gd name="f228" fmla="*/ 260 1 f160"/>
                  <a:gd name="f229" fmla="*/ 22 1 f159"/>
                  <a:gd name="f230" fmla="*/ 240 1 f160"/>
                  <a:gd name="f231" fmla="*/ 15 1 f159"/>
                  <a:gd name="f232" fmla="*/ 225 1 f160"/>
                  <a:gd name="f233" fmla="*/ 6 1 f159"/>
                  <a:gd name="f234" fmla="*/ 207 1 f160"/>
                  <a:gd name="f235" fmla="*/ 7 1 f159"/>
                  <a:gd name="f236" fmla="*/ 192 1 f160"/>
                  <a:gd name="f237" fmla="*/ 25 1 f159"/>
                  <a:gd name="f238" fmla="*/ 31 1 f159"/>
                  <a:gd name="f239" fmla="*/ 139 1 f160"/>
                  <a:gd name="f240" fmla="*/ 37 1 f159"/>
                  <a:gd name="f241" fmla="*/ 121 1 f160"/>
                  <a:gd name="f242" fmla="*/ 53 1 f159"/>
                  <a:gd name="f243" fmla="*/ 103 1 f160"/>
                  <a:gd name="f244" fmla="*/ 62 1 f159"/>
                  <a:gd name="f245" fmla="*/ 99 1 f160"/>
                  <a:gd name="f246" fmla="*/ 73 1 f159"/>
                  <a:gd name="f247" fmla="*/ 84 1 f159"/>
                  <a:gd name="f248" fmla="*/ 86 1 f160"/>
                  <a:gd name="f249" fmla="*/ 108 1 f159"/>
                  <a:gd name="f250" fmla="*/ 68 1 f160"/>
                  <a:gd name="f251" fmla="*/ 122 1 f159"/>
                  <a:gd name="f252" fmla="*/ 59 1 f160"/>
                  <a:gd name="f253" fmla="*/ 118 1 f159"/>
                  <a:gd name="f254" fmla="*/ 127 1 f159"/>
                  <a:gd name="f255" fmla="*/ 23 1 f160"/>
                  <a:gd name="f256" fmla="*/ 160 1 f159"/>
                  <a:gd name="f257" fmla="*/ 13 1 f160"/>
                  <a:gd name="f258" fmla="*/ 181 1 f159"/>
                  <a:gd name="f259" fmla="*/ 10 1 f160"/>
                  <a:gd name="f260" fmla="*/ 199 1 f159"/>
                  <a:gd name="f261" fmla="*/ 7 1 f160"/>
                  <a:gd name="f262" fmla="*/ 218 1 f159"/>
                  <a:gd name="f263" fmla="*/ 0 1 f159"/>
                  <a:gd name="f264" fmla="*/ f6 1 f159"/>
                  <a:gd name="f265" fmla="*/ 0 1 f160"/>
                  <a:gd name="f266" fmla="*/ f7 1 f160"/>
                  <a:gd name="f267" fmla="+- f161 0 f1"/>
                  <a:gd name="f268" fmla="*/ f263 f154 1"/>
                  <a:gd name="f269" fmla="*/ f264 f154 1"/>
                  <a:gd name="f270" fmla="*/ f266 f155 1"/>
                  <a:gd name="f271" fmla="*/ f265 f155 1"/>
                  <a:gd name="f272" fmla="*/ f162 f154 1"/>
                  <a:gd name="f273" fmla="*/ f163 f155 1"/>
                  <a:gd name="f274" fmla="*/ f164 f154 1"/>
                  <a:gd name="f275" fmla="*/ f165 f155 1"/>
                  <a:gd name="f276" fmla="*/ f166 f154 1"/>
                  <a:gd name="f277" fmla="*/ f167 f155 1"/>
                  <a:gd name="f278" fmla="*/ f168 f154 1"/>
                  <a:gd name="f279" fmla="*/ f169 f155 1"/>
                  <a:gd name="f280" fmla="*/ f170 f154 1"/>
                  <a:gd name="f281" fmla="*/ f171 f155 1"/>
                  <a:gd name="f282" fmla="*/ f172 f154 1"/>
                  <a:gd name="f283" fmla="*/ f173 f155 1"/>
                  <a:gd name="f284" fmla="*/ f174 f154 1"/>
                  <a:gd name="f285" fmla="*/ f175 f155 1"/>
                  <a:gd name="f286" fmla="*/ f176 f154 1"/>
                  <a:gd name="f287" fmla="*/ f177 f155 1"/>
                  <a:gd name="f288" fmla="*/ f178 f154 1"/>
                  <a:gd name="f289" fmla="*/ f179 f155 1"/>
                  <a:gd name="f290" fmla="*/ f180 f154 1"/>
                  <a:gd name="f291" fmla="*/ f181 f155 1"/>
                  <a:gd name="f292" fmla="*/ f182 f155 1"/>
                  <a:gd name="f293" fmla="*/ f183 f154 1"/>
                  <a:gd name="f294" fmla="*/ f184 f155 1"/>
                  <a:gd name="f295" fmla="*/ f185 f154 1"/>
                  <a:gd name="f296" fmla="*/ f186 f155 1"/>
                  <a:gd name="f297" fmla="*/ f187 f154 1"/>
                  <a:gd name="f298" fmla="*/ f188 f155 1"/>
                  <a:gd name="f299" fmla="*/ f189 f154 1"/>
                  <a:gd name="f300" fmla="*/ f190 f155 1"/>
                  <a:gd name="f301" fmla="*/ f191 f154 1"/>
                  <a:gd name="f302" fmla="*/ f192 f155 1"/>
                  <a:gd name="f303" fmla="*/ f193 f154 1"/>
                  <a:gd name="f304" fmla="*/ f194 f155 1"/>
                  <a:gd name="f305" fmla="*/ f195 f154 1"/>
                  <a:gd name="f306" fmla="*/ f196 f155 1"/>
                  <a:gd name="f307" fmla="*/ f197 f154 1"/>
                  <a:gd name="f308" fmla="*/ f198 f155 1"/>
                  <a:gd name="f309" fmla="*/ f199 f154 1"/>
                  <a:gd name="f310" fmla="*/ f200 f155 1"/>
                  <a:gd name="f311" fmla="*/ f201 f154 1"/>
                  <a:gd name="f312" fmla="*/ f202 f155 1"/>
                  <a:gd name="f313" fmla="*/ f203 f154 1"/>
                  <a:gd name="f314" fmla="*/ f204 f155 1"/>
                  <a:gd name="f315" fmla="*/ f205 f154 1"/>
                  <a:gd name="f316" fmla="*/ f206 f155 1"/>
                  <a:gd name="f317" fmla="*/ f207 f154 1"/>
                  <a:gd name="f318" fmla="*/ f208 f155 1"/>
                  <a:gd name="f319" fmla="*/ f209 f154 1"/>
                  <a:gd name="f320" fmla="*/ f210 f155 1"/>
                  <a:gd name="f321" fmla="*/ f211 f154 1"/>
                  <a:gd name="f322" fmla="*/ f212 f155 1"/>
                  <a:gd name="f323" fmla="*/ f213 f154 1"/>
                  <a:gd name="f324" fmla="*/ f214 f155 1"/>
                  <a:gd name="f325" fmla="*/ f215 f154 1"/>
                  <a:gd name="f326" fmla="*/ f216 f155 1"/>
                  <a:gd name="f327" fmla="*/ f217 f154 1"/>
                  <a:gd name="f328" fmla="*/ f218 f155 1"/>
                  <a:gd name="f329" fmla="*/ f219 f154 1"/>
                  <a:gd name="f330" fmla="*/ f220 f155 1"/>
                  <a:gd name="f331" fmla="*/ f221 f154 1"/>
                  <a:gd name="f332" fmla="*/ f222 f155 1"/>
                  <a:gd name="f333" fmla="*/ f223 f154 1"/>
                  <a:gd name="f334" fmla="*/ f224 f155 1"/>
                  <a:gd name="f335" fmla="*/ f225 f154 1"/>
                  <a:gd name="f336" fmla="*/ f226 f155 1"/>
                  <a:gd name="f337" fmla="*/ f227 f154 1"/>
                  <a:gd name="f338" fmla="*/ f228 f155 1"/>
                  <a:gd name="f339" fmla="*/ f229 f154 1"/>
                  <a:gd name="f340" fmla="*/ f230 f155 1"/>
                  <a:gd name="f341" fmla="*/ f231 f154 1"/>
                  <a:gd name="f342" fmla="*/ f232 f155 1"/>
                  <a:gd name="f343" fmla="*/ f233 f154 1"/>
                  <a:gd name="f344" fmla="*/ f234 f155 1"/>
                  <a:gd name="f345" fmla="*/ f235 f154 1"/>
                  <a:gd name="f346" fmla="*/ f236 f155 1"/>
                  <a:gd name="f347" fmla="*/ f237 f154 1"/>
                  <a:gd name="f348" fmla="*/ f238 f154 1"/>
                  <a:gd name="f349" fmla="*/ f239 f155 1"/>
                  <a:gd name="f350" fmla="*/ f240 f154 1"/>
                  <a:gd name="f351" fmla="*/ f241 f155 1"/>
                  <a:gd name="f352" fmla="*/ f242 f154 1"/>
                  <a:gd name="f353" fmla="*/ f243 f155 1"/>
                  <a:gd name="f354" fmla="*/ f244 f154 1"/>
                  <a:gd name="f355" fmla="*/ f245 f155 1"/>
                  <a:gd name="f356" fmla="*/ f246 f154 1"/>
                  <a:gd name="f357" fmla="*/ f247 f154 1"/>
                  <a:gd name="f358" fmla="*/ f248 f155 1"/>
                  <a:gd name="f359" fmla="*/ f249 f154 1"/>
                  <a:gd name="f360" fmla="*/ f250 f155 1"/>
                  <a:gd name="f361" fmla="*/ f251 f154 1"/>
                  <a:gd name="f362" fmla="*/ f252 f155 1"/>
                  <a:gd name="f363" fmla="*/ f253 f154 1"/>
                  <a:gd name="f364" fmla="*/ f254 f154 1"/>
                  <a:gd name="f365" fmla="*/ f255 f155 1"/>
                  <a:gd name="f366" fmla="*/ f256 f154 1"/>
                  <a:gd name="f367" fmla="*/ f257 f155 1"/>
                  <a:gd name="f368" fmla="*/ f258 f154 1"/>
                  <a:gd name="f369" fmla="*/ f259 f155 1"/>
                  <a:gd name="f370" fmla="*/ f260 f154 1"/>
                  <a:gd name="f371" fmla="*/ f261 f155 1"/>
                  <a:gd name="f372" fmla="*/ f262 f15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67">
                    <a:pos x="f272" y="f273"/>
                  </a:cxn>
                  <a:cxn ang="f267">
                    <a:pos x="f274" y="f275"/>
                  </a:cxn>
                  <a:cxn ang="f267">
                    <a:pos x="f276" y="f277"/>
                  </a:cxn>
                  <a:cxn ang="f267">
                    <a:pos x="f278" y="f279"/>
                  </a:cxn>
                  <a:cxn ang="f267">
                    <a:pos x="f280" y="f281"/>
                  </a:cxn>
                  <a:cxn ang="f267">
                    <a:pos x="f282" y="f283"/>
                  </a:cxn>
                  <a:cxn ang="f267">
                    <a:pos x="f284" y="f285"/>
                  </a:cxn>
                  <a:cxn ang="f267">
                    <a:pos x="f286" y="f287"/>
                  </a:cxn>
                  <a:cxn ang="f267">
                    <a:pos x="f288" y="f289"/>
                  </a:cxn>
                  <a:cxn ang="f267">
                    <a:pos x="f290" y="f291"/>
                  </a:cxn>
                  <a:cxn ang="f267">
                    <a:pos x="f284" y="f292"/>
                  </a:cxn>
                  <a:cxn ang="f267">
                    <a:pos x="f293" y="f294"/>
                  </a:cxn>
                  <a:cxn ang="f267">
                    <a:pos x="f295" y="f296"/>
                  </a:cxn>
                  <a:cxn ang="f267">
                    <a:pos x="f297" y="f298"/>
                  </a:cxn>
                  <a:cxn ang="f267">
                    <a:pos x="f299" y="f300"/>
                  </a:cxn>
                  <a:cxn ang="f267">
                    <a:pos x="f301" y="f302"/>
                  </a:cxn>
                  <a:cxn ang="f267">
                    <a:pos x="f303" y="f304"/>
                  </a:cxn>
                  <a:cxn ang="f267">
                    <a:pos x="f305" y="f306"/>
                  </a:cxn>
                  <a:cxn ang="f267">
                    <a:pos x="f307" y="f308"/>
                  </a:cxn>
                  <a:cxn ang="f267">
                    <a:pos x="f309" y="f310"/>
                  </a:cxn>
                  <a:cxn ang="f267">
                    <a:pos x="f311" y="f312"/>
                  </a:cxn>
                  <a:cxn ang="f267">
                    <a:pos x="f313" y="f314"/>
                  </a:cxn>
                  <a:cxn ang="f267">
                    <a:pos x="f315" y="f316"/>
                  </a:cxn>
                  <a:cxn ang="f267">
                    <a:pos x="f317" y="f318"/>
                  </a:cxn>
                  <a:cxn ang="f267">
                    <a:pos x="f319" y="f320"/>
                  </a:cxn>
                  <a:cxn ang="f267">
                    <a:pos x="f321" y="f322"/>
                  </a:cxn>
                  <a:cxn ang="f267">
                    <a:pos x="f323" y="f324"/>
                  </a:cxn>
                  <a:cxn ang="f267">
                    <a:pos x="f325" y="f326"/>
                  </a:cxn>
                  <a:cxn ang="f267">
                    <a:pos x="f327" y="f328"/>
                  </a:cxn>
                  <a:cxn ang="f267">
                    <a:pos x="f329" y="f330"/>
                  </a:cxn>
                  <a:cxn ang="f267">
                    <a:pos x="f331" y="f332"/>
                  </a:cxn>
                  <a:cxn ang="f267">
                    <a:pos x="f333" y="f334"/>
                  </a:cxn>
                  <a:cxn ang="f267">
                    <a:pos x="f335" y="f336"/>
                  </a:cxn>
                  <a:cxn ang="f267">
                    <a:pos x="f337" y="f338"/>
                  </a:cxn>
                  <a:cxn ang="f267">
                    <a:pos x="f339" y="f340"/>
                  </a:cxn>
                  <a:cxn ang="f267">
                    <a:pos x="f341" y="f342"/>
                  </a:cxn>
                  <a:cxn ang="f267">
                    <a:pos x="f343" y="f344"/>
                  </a:cxn>
                  <a:cxn ang="f267">
                    <a:pos x="f345" y="f346"/>
                  </a:cxn>
                  <a:cxn ang="f267">
                    <a:pos x="f347" y="f291"/>
                  </a:cxn>
                  <a:cxn ang="f267">
                    <a:pos x="f348" y="f349"/>
                  </a:cxn>
                  <a:cxn ang="f267">
                    <a:pos x="f350" y="f351"/>
                  </a:cxn>
                  <a:cxn ang="f267">
                    <a:pos x="f352" y="f353"/>
                  </a:cxn>
                  <a:cxn ang="f267">
                    <a:pos x="f354" y="f355"/>
                  </a:cxn>
                  <a:cxn ang="f267">
                    <a:pos x="f356" y="f353"/>
                  </a:cxn>
                  <a:cxn ang="f267">
                    <a:pos x="f357" y="f358"/>
                  </a:cxn>
                  <a:cxn ang="f267">
                    <a:pos x="f359" y="f360"/>
                  </a:cxn>
                  <a:cxn ang="f267">
                    <a:pos x="f361" y="f362"/>
                  </a:cxn>
                  <a:cxn ang="f267">
                    <a:pos x="f363" y="f279"/>
                  </a:cxn>
                  <a:cxn ang="f267">
                    <a:pos x="f364" y="f365"/>
                  </a:cxn>
                  <a:cxn ang="f267">
                    <a:pos x="f366" y="f367"/>
                  </a:cxn>
                  <a:cxn ang="f267">
                    <a:pos x="f368" y="f369"/>
                  </a:cxn>
                  <a:cxn ang="f267">
                    <a:pos x="f370" y="f371"/>
                  </a:cxn>
                  <a:cxn ang="f267">
                    <a:pos x="f372" y="f273"/>
                  </a:cxn>
                </a:cxnLst>
                <a:rect l="f268" t="f271" r="f269" b="f270"/>
                <a:pathLst>
                  <a:path w="321" h="325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11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17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31" y="f47"/>
                    </a:lnTo>
                    <a:lnTo>
                      <a:pt x="f45" y="f48"/>
                    </a:lnTo>
                    <a:lnTo>
                      <a:pt x="f49" y="f50"/>
                    </a:lnTo>
                    <a:lnTo>
                      <a:pt x="f33" y="f51"/>
                    </a:lnTo>
                    <a:lnTo>
                      <a:pt x="f52" y="f53"/>
                    </a:lnTo>
                    <a:lnTo>
                      <a:pt x="f37" y="f8"/>
                    </a:lnTo>
                    <a:lnTo>
                      <a:pt x="f54" y="f8"/>
                    </a:lnTo>
                    <a:lnTo>
                      <a:pt x="f43" y="f55"/>
                    </a:lnTo>
                    <a:lnTo>
                      <a:pt x="f56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49" y="f60"/>
                    </a:lnTo>
                    <a:lnTo>
                      <a:pt x="f37" y="f61"/>
                    </a:lnTo>
                    <a:lnTo>
                      <a:pt x="f6" y="f62"/>
                    </a:lnTo>
                    <a:lnTo>
                      <a:pt x="f63" y="f58"/>
                    </a:lnTo>
                    <a:lnTo>
                      <a:pt x="f45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"/>
                    </a:lnTo>
                    <a:lnTo>
                      <a:pt x="f55" y="f6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5"/>
                    </a:lnTo>
                    <a:lnTo>
                      <a:pt x="f77" y="f78"/>
                    </a:lnTo>
                    <a:lnTo>
                      <a:pt x="f79" y="f35"/>
                    </a:lnTo>
                    <a:lnTo>
                      <a:pt x="f80" y="f37"/>
                    </a:lnTo>
                    <a:lnTo>
                      <a:pt x="f81" y="f52"/>
                    </a:lnTo>
                    <a:lnTo>
                      <a:pt x="f82" y="f73"/>
                    </a:lnTo>
                    <a:lnTo>
                      <a:pt x="f83" y="f68"/>
                    </a:lnTo>
                    <a:lnTo>
                      <a:pt x="f84" y="f85"/>
                    </a:lnTo>
                    <a:lnTo>
                      <a:pt x="f86" y="f85"/>
                    </a:lnTo>
                    <a:lnTo>
                      <a:pt x="f87" y="f88"/>
                    </a:lnTo>
                    <a:lnTo>
                      <a:pt x="f89" y="f75"/>
                    </a:lnTo>
                    <a:lnTo>
                      <a:pt x="f90" y="f91"/>
                    </a:lnTo>
                    <a:lnTo>
                      <a:pt x="f30" y="f37"/>
                    </a:lnTo>
                    <a:lnTo>
                      <a:pt x="f92" y="f33"/>
                    </a:lnTo>
                    <a:lnTo>
                      <a:pt x="f93" y="f41"/>
                    </a:lnTo>
                    <a:lnTo>
                      <a:pt x="f94" y="f64"/>
                    </a:lnTo>
                    <a:lnTo>
                      <a:pt x="f95" y="f31"/>
                    </a:lnTo>
                    <a:lnTo>
                      <a:pt x="f96" y="f97"/>
                    </a:lnTo>
                    <a:lnTo>
                      <a:pt x="f98" y="f62"/>
                    </a:lnTo>
                    <a:lnTo>
                      <a:pt x="f99" y="f100"/>
                    </a:lnTo>
                    <a:lnTo>
                      <a:pt x="f101" y="f100"/>
                    </a:lnTo>
                    <a:lnTo>
                      <a:pt x="f102" y="f103"/>
                    </a:lnTo>
                    <a:lnTo>
                      <a:pt x="f5" y="f104"/>
                    </a:lnTo>
                    <a:lnTo>
                      <a:pt x="f105" y="f65"/>
                    </a:lnTo>
                    <a:lnTo>
                      <a:pt x="f106" y="f107"/>
                    </a:lnTo>
                    <a:lnTo>
                      <a:pt x="f108" y="f60"/>
                    </a:lnTo>
                    <a:lnTo>
                      <a:pt x="f109" y="f59"/>
                    </a:lnTo>
                    <a:lnTo>
                      <a:pt x="f110" y="f111"/>
                    </a:lnTo>
                    <a:lnTo>
                      <a:pt x="f105" y="f112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18" y="f46"/>
                    </a:lnTo>
                    <a:lnTo>
                      <a:pt x="f20" y="f44"/>
                    </a:lnTo>
                    <a:lnTo>
                      <a:pt x="f101" y="f119"/>
                    </a:lnTo>
                    <a:lnTo>
                      <a:pt x="f120" y="f121"/>
                    </a:lnTo>
                    <a:lnTo>
                      <a:pt x="f122" y="f42"/>
                    </a:lnTo>
                    <a:lnTo>
                      <a:pt x="f123" y="f124"/>
                    </a:lnTo>
                    <a:lnTo>
                      <a:pt x="f98" y="f40"/>
                    </a:lnTo>
                    <a:lnTo>
                      <a:pt x="f125" y="f126"/>
                    </a:lnTo>
                    <a:lnTo>
                      <a:pt x="f94" y="f38"/>
                    </a:lnTo>
                    <a:lnTo>
                      <a:pt x="f127" y="f38"/>
                    </a:lnTo>
                    <a:lnTo>
                      <a:pt x="f128" y="f129"/>
                    </a:lnTo>
                    <a:lnTo>
                      <a:pt x="f130" y="f126"/>
                    </a:lnTo>
                    <a:lnTo>
                      <a:pt x="f131" y="f126"/>
                    </a:lnTo>
                    <a:lnTo>
                      <a:pt x="f132" y="f133"/>
                    </a:lnTo>
                    <a:lnTo>
                      <a:pt x="f134" y="f92"/>
                    </a:lnTo>
                    <a:lnTo>
                      <a:pt x="f135" y="f128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36" y="f22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83" y="f146"/>
                    </a:lnTo>
                    <a:lnTo>
                      <a:pt x="f147" y="f16"/>
                    </a:lnTo>
                    <a:lnTo>
                      <a:pt x="f148" y="f105"/>
                    </a:lnTo>
                    <a:lnTo>
                      <a:pt x="f149" y="f105"/>
                    </a:lnTo>
                    <a:lnTo>
                      <a:pt x="f150" y="f117"/>
                    </a:lnTo>
                    <a:lnTo>
                      <a:pt x="f116" y="f117"/>
                    </a:lnTo>
                    <a:lnTo>
                      <a:pt x="f151" y="f12"/>
                    </a:lnTo>
                    <a:lnTo>
                      <a:pt x="f152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46" name="Freeform 8">
                <a:extLst>
                  <a:ext uri="{FF2B5EF4-FFF2-40B4-BE49-F238E27FC236}">
                    <a16:creationId xmlns:a16="http://schemas.microsoft.com/office/drawing/2014/main" id="{F134416E-59D3-459A-8028-AD9A4AA8A2BD}"/>
                  </a:ext>
                </a:extLst>
              </p:cNvPr>
              <p:cNvSpPr/>
              <p:nvPr/>
            </p:nvSpPr>
            <p:spPr>
              <a:xfrm>
                <a:off x="4558713" y="2719699"/>
                <a:ext cx="91568" cy="110852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552"/>
                  <a:gd name="f8" fmla="val 681"/>
                  <a:gd name="f9" fmla="val 174"/>
                  <a:gd name="f10" fmla="val 189"/>
                  <a:gd name="f11" fmla="val 199"/>
                  <a:gd name="f12" fmla="val 4"/>
                  <a:gd name="f13" fmla="val 204"/>
                  <a:gd name="f14" fmla="val 10"/>
                  <a:gd name="f15" fmla="val 207"/>
                  <a:gd name="f16" fmla="val 18"/>
                  <a:gd name="f17" fmla="val 44"/>
                  <a:gd name="f18" fmla="val 210"/>
                  <a:gd name="f19" fmla="val 50"/>
                  <a:gd name="f20" fmla="val 214"/>
                  <a:gd name="f21" fmla="val 55"/>
                  <a:gd name="f22" fmla="val 218"/>
                  <a:gd name="f23" fmla="val 58"/>
                  <a:gd name="f24" fmla="val 224"/>
                  <a:gd name="f25" fmla="val 60"/>
                  <a:gd name="f26" fmla="val 233"/>
                  <a:gd name="f27" fmla="val 61"/>
                  <a:gd name="f28" fmla="val 246"/>
                  <a:gd name="f29" fmla="val 65"/>
                  <a:gd name="f30" fmla="val 255"/>
                  <a:gd name="f31" fmla="val 68"/>
                  <a:gd name="f32" fmla="val 262"/>
                  <a:gd name="f33" fmla="val 69"/>
                  <a:gd name="f34" fmla="val 266"/>
                  <a:gd name="f35" fmla="val 271"/>
                  <a:gd name="f36" fmla="val 277"/>
                  <a:gd name="f37" fmla="val 66"/>
                  <a:gd name="f38" fmla="val 286"/>
                  <a:gd name="f39" fmla="val 293"/>
                  <a:gd name="f40" fmla="val 297"/>
                  <a:gd name="f41" fmla="val 75"/>
                  <a:gd name="f42" fmla="val 98"/>
                  <a:gd name="f43" fmla="val 300"/>
                  <a:gd name="f44" fmla="val 104"/>
                  <a:gd name="f45" fmla="val 306"/>
                  <a:gd name="f46" fmla="val 105"/>
                  <a:gd name="f47" fmla="val 313"/>
                  <a:gd name="f48" fmla="val 101"/>
                  <a:gd name="f49" fmla="val 322"/>
                  <a:gd name="f50" fmla="val 94"/>
                  <a:gd name="f51" fmla="val 331"/>
                  <a:gd name="f52" fmla="val 87"/>
                  <a:gd name="f53" fmla="val 342"/>
                  <a:gd name="f54" fmla="val 80"/>
                  <a:gd name="f55" fmla="val 352"/>
                  <a:gd name="f56" fmla="val 78"/>
                  <a:gd name="f57" fmla="val 79"/>
                  <a:gd name="f58" fmla="val 367"/>
                  <a:gd name="f59" fmla="val 84"/>
                  <a:gd name="f60" fmla="val 378"/>
                  <a:gd name="f61" fmla="val 96"/>
                  <a:gd name="f62" fmla="val 384"/>
                  <a:gd name="f63" fmla="val 97"/>
                  <a:gd name="f64" fmla="val 394"/>
                  <a:gd name="f65" fmla="val 399"/>
                  <a:gd name="f66" fmla="val 406"/>
                  <a:gd name="f67" fmla="val 76"/>
                  <a:gd name="f68" fmla="val 414"/>
                  <a:gd name="f69" fmla="val 420"/>
                  <a:gd name="f70" fmla="val 82"/>
                  <a:gd name="f71" fmla="val 424"/>
                  <a:gd name="f72" fmla="val 90"/>
                  <a:gd name="f73" fmla="val 427"/>
                  <a:gd name="f74" fmla="val 429"/>
                  <a:gd name="f75" fmla="val 112"/>
                  <a:gd name="f76" fmla="val 432"/>
                  <a:gd name="f77" fmla="val 122"/>
                  <a:gd name="f78" fmla="val 436"/>
                  <a:gd name="f79" fmla="val 133"/>
                  <a:gd name="f80" fmla="val 442"/>
                  <a:gd name="f81" fmla="val 141"/>
                  <a:gd name="f82" fmla="val 446"/>
                  <a:gd name="f83" fmla="val 144"/>
                  <a:gd name="f84" fmla="val 452"/>
                  <a:gd name="f85" fmla="val 143"/>
                  <a:gd name="f86" fmla="val 461"/>
                  <a:gd name="f87" fmla="val 137"/>
                  <a:gd name="f88" fmla="val 475"/>
                  <a:gd name="f89" fmla="val 129"/>
                  <a:gd name="f90" fmla="val 521"/>
                  <a:gd name="f91" fmla="val 532"/>
                  <a:gd name="f92" fmla="val 118"/>
                  <a:gd name="f93" fmla="val 541"/>
                  <a:gd name="f94" fmla="val 130"/>
                  <a:gd name="f95" fmla="val 548"/>
                  <a:gd name="f96" fmla="val 140"/>
                  <a:gd name="f97" fmla="val 147"/>
                  <a:gd name="f98" fmla="val 157"/>
                  <a:gd name="f99" fmla="val 166"/>
                  <a:gd name="f100" fmla="val 175"/>
                  <a:gd name="f101" fmla="val 183"/>
                  <a:gd name="f102" fmla="val 523"/>
                  <a:gd name="f103" fmla="val 187"/>
                  <a:gd name="f104" fmla="val 514"/>
                  <a:gd name="f105" fmla="val 191"/>
                  <a:gd name="f106" fmla="val 501"/>
                  <a:gd name="f107" fmla="val 197"/>
                  <a:gd name="f108" fmla="val 487"/>
                  <a:gd name="f109" fmla="val 211"/>
                  <a:gd name="f110" fmla="val 467"/>
                  <a:gd name="f111" fmla="val 464"/>
                  <a:gd name="f112" fmla="val 223"/>
                  <a:gd name="f113" fmla="val 227"/>
                  <a:gd name="f114" fmla="val 471"/>
                  <a:gd name="f115" fmla="val 231"/>
                  <a:gd name="f116" fmla="val 478"/>
                  <a:gd name="f117" fmla="val 236"/>
                  <a:gd name="f118" fmla="val 482"/>
                  <a:gd name="f119" fmla="val 241"/>
                  <a:gd name="f120" fmla="val 483"/>
                  <a:gd name="f121" fmla="val 245"/>
                  <a:gd name="f122" fmla="val 251"/>
                  <a:gd name="f123" fmla="val 258"/>
                  <a:gd name="f124" fmla="val 481"/>
                  <a:gd name="f125" fmla="val 259"/>
                  <a:gd name="f126" fmla="val 476"/>
                  <a:gd name="f127" fmla="val 463"/>
                  <a:gd name="f128" fmla="val 449"/>
                  <a:gd name="f129" fmla="val 274"/>
                  <a:gd name="f130" fmla="val 428"/>
                  <a:gd name="f131" fmla="val 288"/>
                  <a:gd name="f132" fmla="val 425"/>
                  <a:gd name="f133" fmla="val 298"/>
                  <a:gd name="f134" fmla="val 315"/>
                  <a:gd name="f135" fmla="val 323"/>
                  <a:gd name="f136" fmla="val 329"/>
                  <a:gd name="f137" fmla="val 418"/>
                  <a:gd name="f138" fmla="val 340"/>
                  <a:gd name="f139" fmla="val 354"/>
                  <a:gd name="f140" fmla="val 413"/>
                  <a:gd name="f141" fmla="val 372"/>
                  <a:gd name="f142" fmla="val 411"/>
                  <a:gd name="f143" fmla="val 376"/>
                  <a:gd name="f144" fmla="val 410"/>
                  <a:gd name="f145" fmla="val 379"/>
                  <a:gd name="f146" fmla="val 405"/>
                  <a:gd name="f147" fmla="val 381"/>
                  <a:gd name="f148" fmla="val 400"/>
                  <a:gd name="f149" fmla="val 383"/>
                  <a:gd name="f150" fmla="val 398"/>
                  <a:gd name="f151" fmla="val 385"/>
                  <a:gd name="f152" fmla="val 392"/>
                  <a:gd name="f153" fmla="val 369"/>
                  <a:gd name="f154" fmla="val 371"/>
                  <a:gd name="f155" fmla="val 362"/>
                  <a:gd name="f156" fmla="val 363"/>
                  <a:gd name="f157" fmla="val 359"/>
                  <a:gd name="f158" fmla="val 355"/>
                  <a:gd name="f159" fmla="val 351"/>
                  <a:gd name="f160" fmla="val 370"/>
                  <a:gd name="f161" fmla="val 349"/>
                  <a:gd name="f162" fmla="val 388"/>
                  <a:gd name="f163" fmla="val 344"/>
                  <a:gd name="f164" fmla="val 334"/>
                  <a:gd name="f165" fmla="val 415"/>
                  <a:gd name="f166" fmla="val 302"/>
                  <a:gd name="f167" fmla="val 430"/>
                  <a:gd name="f168" fmla="val 283"/>
                  <a:gd name="f169" fmla="val 433"/>
                  <a:gd name="f170" fmla="val 276"/>
                  <a:gd name="f171" fmla="val 438"/>
                  <a:gd name="f172" fmla="val 272"/>
                  <a:gd name="f173" fmla="val 448"/>
                  <a:gd name="f174" fmla="val 456"/>
                  <a:gd name="f175" fmla="val 275"/>
                  <a:gd name="f176" fmla="val 466"/>
                  <a:gd name="f177" fmla="val 480"/>
                  <a:gd name="f178" fmla="val 491"/>
                  <a:gd name="f179" fmla="val 499"/>
                  <a:gd name="f180" fmla="val 264"/>
                  <a:gd name="f181" fmla="val 506"/>
                  <a:gd name="f182" fmla="val 257"/>
                  <a:gd name="f183" fmla="val 513"/>
                  <a:gd name="f184" fmla="val 520"/>
                  <a:gd name="f185" fmla="val 528"/>
                  <a:gd name="f186" fmla="val 535"/>
                  <a:gd name="f187" fmla="val 553"/>
                  <a:gd name="f188" fmla="val 282"/>
                  <a:gd name="f189" fmla="val 569"/>
                  <a:gd name="f190" fmla="val 284"/>
                  <a:gd name="f191" fmla="val 581"/>
                  <a:gd name="f192" fmla="val 598"/>
                  <a:gd name="f193" fmla="val 279"/>
                  <a:gd name="f194" fmla="val 273"/>
                  <a:gd name="f195" fmla="val 602"/>
                  <a:gd name="f196" fmla="val 610"/>
                  <a:gd name="f197" fmla="val 617"/>
                  <a:gd name="f198" fmla="val 624"/>
                  <a:gd name="f199" fmla="val 237"/>
                  <a:gd name="f200" fmla="val 625"/>
                  <a:gd name="f201" fmla="val 232"/>
                  <a:gd name="f202" fmla="val 229"/>
                  <a:gd name="f203" fmla="val 621"/>
                  <a:gd name="f204" fmla="val 228"/>
                  <a:gd name="f205" fmla="val 618"/>
                  <a:gd name="f206" fmla="val 226"/>
                  <a:gd name="f207" fmla="val 614"/>
                  <a:gd name="f208" fmla="val 225"/>
                  <a:gd name="f209" fmla="val 612"/>
                  <a:gd name="f210" fmla="val 219"/>
                  <a:gd name="f211" fmla="val 213"/>
                  <a:gd name="f212" fmla="val 613"/>
                  <a:gd name="f213" fmla="val 201"/>
                  <a:gd name="f214" fmla="val 196"/>
                  <a:gd name="f215" fmla="val 186"/>
                  <a:gd name="f216" fmla="val 605"/>
                  <a:gd name="f217" fmla="val 599"/>
                  <a:gd name="f218" fmla="val 163"/>
                  <a:gd name="f219" fmla="val 600"/>
                  <a:gd name="f220" fmla="val 603"/>
                  <a:gd name="f221" fmla="val 131"/>
                  <a:gd name="f222" fmla="val 120"/>
                  <a:gd name="f223" fmla="val 630"/>
                  <a:gd name="f224" fmla="val 116"/>
                  <a:gd name="f225" fmla="val 639"/>
                  <a:gd name="f226" fmla="val 646"/>
                  <a:gd name="f227" fmla="val 117"/>
                  <a:gd name="f228" fmla="val 653"/>
                  <a:gd name="f229" fmla="val 119"/>
                  <a:gd name="f230" fmla="val 663"/>
                  <a:gd name="f231" fmla="val 668"/>
                  <a:gd name="f232" fmla="val 110"/>
                  <a:gd name="f233" fmla="val 671"/>
                  <a:gd name="f234" fmla="val 103"/>
                  <a:gd name="f235" fmla="val 673"/>
                  <a:gd name="f236" fmla="val 674"/>
                  <a:gd name="f237" fmla="val 85"/>
                  <a:gd name="f238" fmla="val 677"/>
                  <a:gd name="f239" fmla="val 83"/>
                  <a:gd name="f240" fmla="val 680"/>
                  <a:gd name="f241" fmla="val 63"/>
                  <a:gd name="f242" fmla="val 48"/>
                  <a:gd name="f243" fmla="val 666"/>
                  <a:gd name="f244" fmla="val 37"/>
                  <a:gd name="f245" fmla="val 659"/>
                  <a:gd name="f246" fmla="val 30"/>
                  <a:gd name="f247" fmla="val 652"/>
                  <a:gd name="f248" fmla="val 25"/>
                  <a:gd name="f249" fmla="val 642"/>
                  <a:gd name="f250" fmla="val 14"/>
                  <a:gd name="f251" fmla="val 620"/>
                  <a:gd name="f252" fmla="val 9"/>
                  <a:gd name="f253" fmla="val 607"/>
                  <a:gd name="f254" fmla="val 8"/>
                  <a:gd name="f255" fmla="val 591"/>
                  <a:gd name="f256" fmla="val 19"/>
                  <a:gd name="f257" fmla="val 571"/>
                  <a:gd name="f258" fmla="val 27"/>
                  <a:gd name="f259" fmla="val 546"/>
                  <a:gd name="f260" fmla="val 534"/>
                  <a:gd name="f261" fmla="val 29"/>
                  <a:gd name="f262" fmla="val 524"/>
                  <a:gd name="f263" fmla="val 23"/>
                  <a:gd name="f264" fmla="val 15"/>
                  <a:gd name="f265" fmla="val 503"/>
                  <a:gd name="f266" fmla="val 489"/>
                  <a:gd name="f267" fmla="val 1"/>
                  <a:gd name="f268" fmla="val 473"/>
                  <a:gd name="f269" fmla="val 455"/>
                  <a:gd name="f270" fmla="val 3"/>
                  <a:gd name="f271" fmla="val 16"/>
                  <a:gd name="f272" fmla="val 441"/>
                  <a:gd name="f273" fmla="val 26"/>
                  <a:gd name="f274" fmla="val 36"/>
                  <a:gd name="f275" fmla="val 445"/>
                  <a:gd name="f276" fmla="val 45"/>
                  <a:gd name="f277" fmla="val 54"/>
                  <a:gd name="f278" fmla="val 59"/>
                  <a:gd name="f279" fmla="val 440"/>
                  <a:gd name="f280" fmla="val 56"/>
                  <a:gd name="f281" fmla="val 419"/>
                  <a:gd name="f282" fmla="val 397"/>
                  <a:gd name="f283" fmla="val 38"/>
                  <a:gd name="f284" fmla="val 374"/>
                  <a:gd name="f285" fmla="val 41"/>
                  <a:gd name="f286" fmla="val 336"/>
                  <a:gd name="f287" fmla="val 47"/>
                  <a:gd name="f288" fmla="val 324"/>
                  <a:gd name="f289" fmla="val 330"/>
                  <a:gd name="f290" fmla="val 73"/>
                  <a:gd name="f291" fmla="val 333"/>
                  <a:gd name="f292" fmla="val 327"/>
                  <a:gd name="f293" fmla="val 95"/>
                  <a:gd name="f294" fmla="val 317"/>
                  <a:gd name="f295" fmla="val 308"/>
                  <a:gd name="f296" fmla="val 91"/>
                  <a:gd name="f297" fmla="val 301"/>
                  <a:gd name="f298" fmla="val 294"/>
                  <a:gd name="f299" fmla="val 281"/>
                  <a:gd name="f300" fmla="val 280"/>
                  <a:gd name="f301" fmla="val 77"/>
                  <a:gd name="f302" fmla="val 230"/>
                  <a:gd name="f303" fmla="val 216"/>
                  <a:gd name="f304" fmla="val 208"/>
                  <a:gd name="f305" fmla="val 202"/>
                  <a:gd name="f306" fmla="val 200"/>
                  <a:gd name="f307" fmla="val 81"/>
                  <a:gd name="f308" fmla="val 72"/>
                  <a:gd name="f309" fmla="val 74"/>
                  <a:gd name="f310" fmla="val 172"/>
                  <a:gd name="f311" fmla="val 159"/>
                  <a:gd name="f312" fmla="val 67"/>
                  <a:gd name="f313" fmla="val 150"/>
                  <a:gd name="f314" fmla="val 62"/>
                  <a:gd name="f315" fmla="val 139"/>
                  <a:gd name="f316" fmla="val 134"/>
                  <a:gd name="f317" fmla="val 121"/>
                  <a:gd name="f318" fmla="val 88"/>
                  <a:gd name="f319" fmla="val 100"/>
                  <a:gd name="f320" fmla="val 126"/>
                  <a:gd name="f321" fmla="val 135"/>
                  <a:gd name="f322" fmla="val 148"/>
                  <a:gd name="f323" fmla="val 155"/>
                  <a:gd name="f324" fmla="val 40"/>
                  <a:gd name="f325" fmla="val 168"/>
                  <a:gd name="f326" fmla="+- 0 0 -90"/>
                  <a:gd name="f327" fmla="*/ f4 1 552"/>
                  <a:gd name="f328" fmla="*/ f5 1 681"/>
                  <a:gd name="f329" fmla="+- f8 0 f6"/>
                  <a:gd name="f330" fmla="+- f7 0 f6"/>
                  <a:gd name="f331" fmla="*/ f326 f0 1"/>
                  <a:gd name="f332" fmla="*/ f330 1 552"/>
                  <a:gd name="f333" fmla="*/ f329 1 681"/>
                  <a:gd name="f334" fmla="*/ f331 1 f3"/>
                  <a:gd name="f335" fmla="*/ 204 1 f332"/>
                  <a:gd name="f336" fmla="*/ 10 1 f333"/>
                  <a:gd name="f337" fmla="*/ 214 1 f332"/>
                  <a:gd name="f338" fmla="*/ 55 1 f333"/>
                  <a:gd name="f339" fmla="*/ 246 1 f332"/>
                  <a:gd name="f340" fmla="*/ 65 1 f333"/>
                  <a:gd name="f341" fmla="*/ 271 1 f332"/>
                  <a:gd name="f342" fmla="*/ 68 1 f333"/>
                  <a:gd name="f343" fmla="*/ 297 1 f332"/>
                  <a:gd name="f344" fmla="*/ 75 1 f333"/>
                  <a:gd name="f345" fmla="*/ 313 1 f332"/>
                  <a:gd name="f346" fmla="*/ 101 1 f333"/>
                  <a:gd name="f347" fmla="*/ 352 1 f332"/>
                  <a:gd name="f348" fmla="*/ 78 1 f333"/>
                  <a:gd name="f349" fmla="*/ 384 1 f332"/>
                  <a:gd name="f350" fmla="*/ 97 1 f333"/>
                  <a:gd name="f351" fmla="*/ 414 1 f332"/>
                  <a:gd name="f352" fmla="*/ 76 1 f333"/>
                  <a:gd name="f353" fmla="*/ 429 1 f332"/>
                  <a:gd name="f354" fmla="*/ 112 1 f333"/>
                  <a:gd name="f355" fmla="*/ 446 1 f332"/>
                  <a:gd name="f356" fmla="*/ 144 1 f333"/>
                  <a:gd name="f357" fmla="*/ 521 1 f332"/>
                  <a:gd name="f358" fmla="*/ 104 1 f333"/>
                  <a:gd name="f359" fmla="*/ 552 1 f332"/>
                  <a:gd name="f360" fmla="*/ 147 1 f333"/>
                  <a:gd name="f361" fmla="*/ 532 1 f332"/>
                  <a:gd name="f362" fmla="*/ 183 1 f333"/>
                  <a:gd name="f363" fmla="*/ 487 1 f332"/>
                  <a:gd name="f364" fmla="*/ 204 1 f333"/>
                  <a:gd name="f365" fmla="*/ 467 1 f332"/>
                  <a:gd name="f366" fmla="*/ 227 1 f333"/>
                  <a:gd name="f367" fmla="*/ 483 1 f332"/>
                  <a:gd name="f368" fmla="*/ 245 1 f333"/>
                  <a:gd name="f369" fmla="*/ 478 1 f332"/>
                  <a:gd name="f370" fmla="*/ 259 1 f333"/>
                  <a:gd name="f371" fmla="*/ 428 1 f332"/>
                  <a:gd name="f372" fmla="*/ 288 1 f333"/>
                  <a:gd name="f373" fmla="*/ 323 1 f333"/>
                  <a:gd name="f374" fmla="*/ 413 1 f332"/>
                  <a:gd name="f375" fmla="*/ 367 1 f333"/>
                  <a:gd name="f376" fmla="*/ 405 1 f332"/>
                  <a:gd name="f377" fmla="*/ 381 1 f333"/>
                  <a:gd name="f378" fmla="*/ 385 1 f332"/>
                  <a:gd name="f379" fmla="*/ 379 1 f333"/>
                  <a:gd name="f380" fmla="*/ 355 1 f332"/>
                  <a:gd name="f381" fmla="*/ 363 1 f333"/>
                  <a:gd name="f382" fmla="*/ 351 1 f332"/>
                  <a:gd name="f383" fmla="*/ 398 1 f333"/>
                  <a:gd name="f384" fmla="*/ 428 1 f333"/>
                  <a:gd name="f385" fmla="*/ 272 1 f332"/>
                  <a:gd name="f386" fmla="*/ 448 1 f333"/>
                  <a:gd name="f387" fmla="*/ 277 1 f332"/>
                  <a:gd name="f388" fmla="*/ 491 1 f333"/>
                  <a:gd name="f389" fmla="*/ 251 1 f332"/>
                  <a:gd name="f390" fmla="*/ 520 1 f333"/>
                  <a:gd name="f391" fmla="*/ 282 1 f332"/>
                  <a:gd name="f392" fmla="*/ 569 1 f333"/>
                  <a:gd name="f393" fmla="*/ 273 1 f332"/>
                  <a:gd name="f394" fmla="*/ 602 1 f333"/>
                  <a:gd name="f395" fmla="*/ 237 1 f332"/>
                  <a:gd name="f396" fmla="*/ 625 1 f333"/>
                  <a:gd name="f397" fmla="*/ 226 1 f332"/>
                  <a:gd name="f398" fmla="*/ 614 1 f333"/>
                  <a:gd name="f399" fmla="*/ 207 1 f332"/>
                  <a:gd name="f400" fmla="*/ 174 1 f332"/>
                  <a:gd name="f401" fmla="*/ 599 1 f333"/>
                  <a:gd name="f402" fmla="*/ 131 1 f332"/>
                  <a:gd name="f403" fmla="*/ 610 1 f333"/>
                  <a:gd name="f404" fmla="*/ 117 1 f332"/>
                  <a:gd name="f405" fmla="*/ 653 1 f333"/>
                  <a:gd name="f406" fmla="*/ 103 1 f332"/>
                  <a:gd name="f407" fmla="*/ 673 1 f333"/>
                  <a:gd name="f408" fmla="*/ 80 1 f332"/>
                  <a:gd name="f409" fmla="*/ 681 1 f333"/>
                  <a:gd name="f410" fmla="*/ 30 1 f332"/>
                  <a:gd name="f411" fmla="*/ 652 1 f333"/>
                  <a:gd name="f412" fmla="*/ 8 1 f332"/>
                  <a:gd name="f413" fmla="*/ 598 1 f333"/>
                  <a:gd name="f414" fmla="*/ 534 1 f333"/>
                  <a:gd name="f415" fmla="*/ 489 1 f333"/>
                  <a:gd name="f416" fmla="*/ 442 1 f333"/>
                  <a:gd name="f417" fmla="*/ 45 1 f332"/>
                  <a:gd name="f418" fmla="*/ 446 1 f333"/>
                  <a:gd name="f419" fmla="*/ 56 1 f332"/>
                  <a:gd name="f420" fmla="*/ 419 1 f333"/>
                  <a:gd name="f421" fmla="*/ 37 1 f332"/>
                  <a:gd name="f422" fmla="*/ 349 1 f333"/>
                  <a:gd name="f423" fmla="*/ 73 1 f332"/>
                  <a:gd name="f424" fmla="*/ 333 1 f333"/>
                  <a:gd name="f425" fmla="*/ 95 1 f332"/>
                  <a:gd name="f426" fmla="*/ 308 1 f333"/>
                  <a:gd name="f427" fmla="*/ 69 1 f332"/>
                  <a:gd name="f428" fmla="*/ 284 1 f333"/>
                  <a:gd name="f429" fmla="*/ 77 1 f332"/>
                  <a:gd name="f430" fmla="*/ 262 1 f333"/>
                  <a:gd name="f431" fmla="*/ 94 1 f332"/>
                  <a:gd name="f432" fmla="*/ 216 1 f333"/>
                  <a:gd name="f433" fmla="*/ 81 1 f332"/>
                  <a:gd name="f434" fmla="*/ 200 1 f333"/>
                  <a:gd name="f435" fmla="*/ 159 1 f333"/>
                  <a:gd name="f436" fmla="*/ 134 1 f333"/>
                  <a:gd name="f437" fmla="*/ 105 1 f333"/>
                  <a:gd name="f438" fmla="*/ 135 1 f332"/>
                  <a:gd name="f439" fmla="*/ 87 1 f333"/>
                  <a:gd name="f440" fmla="*/ 168 1 f332"/>
                  <a:gd name="f441" fmla="*/ 1 1 f333"/>
                  <a:gd name="f442" fmla="*/ 0 1 f332"/>
                  <a:gd name="f443" fmla="*/ f7 1 f332"/>
                  <a:gd name="f444" fmla="*/ 0 1 f333"/>
                  <a:gd name="f445" fmla="*/ f8 1 f333"/>
                  <a:gd name="f446" fmla="+- f334 0 f1"/>
                  <a:gd name="f447" fmla="*/ f442 f327 1"/>
                  <a:gd name="f448" fmla="*/ f443 f327 1"/>
                  <a:gd name="f449" fmla="*/ f445 f328 1"/>
                  <a:gd name="f450" fmla="*/ f444 f328 1"/>
                  <a:gd name="f451" fmla="*/ f335 f327 1"/>
                  <a:gd name="f452" fmla="*/ f336 f328 1"/>
                  <a:gd name="f453" fmla="*/ f337 f327 1"/>
                  <a:gd name="f454" fmla="*/ f338 f328 1"/>
                  <a:gd name="f455" fmla="*/ f339 f327 1"/>
                  <a:gd name="f456" fmla="*/ f340 f328 1"/>
                  <a:gd name="f457" fmla="*/ f341 f327 1"/>
                  <a:gd name="f458" fmla="*/ f342 f328 1"/>
                  <a:gd name="f459" fmla="*/ f343 f327 1"/>
                  <a:gd name="f460" fmla="*/ f344 f328 1"/>
                  <a:gd name="f461" fmla="*/ f345 f327 1"/>
                  <a:gd name="f462" fmla="*/ f346 f328 1"/>
                  <a:gd name="f463" fmla="*/ f347 f327 1"/>
                  <a:gd name="f464" fmla="*/ f348 f328 1"/>
                  <a:gd name="f465" fmla="*/ f349 f327 1"/>
                  <a:gd name="f466" fmla="*/ f350 f328 1"/>
                  <a:gd name="f467" fmla="*/ f351 f327 1"/>
                  <a:gd name="f468" fmla="*/ f352 f328 1"/>
                  <a:gd name="f469" fmla="*/ f353 f327 1"/>
                  <a:gd name="f470" fmla="*/ f354 f328 1"/>
                  <a:gd name="f471" fmla="*/ f355 f327 1"/>
                  <a:gd name="f472" fmla="*/ f356 f328 1"/>
                  <a:gd name="f473" fmla="*/ f357 f327 1"/>
                  <a:gd name="f474" fmla="*/ f358 f328 1"/>
                  <a:gd name="f475" fmla="*/ f359 f327 1"/>
                  <a:gd name="f476" fmla="*/ f360 f328 1"/>
                  <a:gd name="f477" fmla="*/ f361 f327 1"/>
                  <a:gd name="f478" fmla="*/ f362 f328 1"/>
                  <a:gd name="f479" fmla="*/ f363 f327 1"/>
                  <a:gd name="f480" fmla="*/ f364 f328 1"/>
                  <a:gd name="f481" fmla="*/ f365 f327 1"/>
                  <a:gd name="f482" fmla="*/ f366 f328 1"/>
                  <a:gd name="f483" fmla="*/ f367 f327 1"/>
                  <a:gd name="f484" fmla="*/ f368 f328 1"/>
                  <a:gd name="f485" fmla="*/ f369 f327 1"/>
                  <a:gd name="f486" fmla="*/ f370 f328 1"/>
                  <a:gd name="f487" fmla="*/ f371 f327 1"/>
                  <a:gd name="f488" fmla="*/ f372 f328 1"/>
                  <a:gd name="f489" fmla="*/ f373 f328 1"/>
                  <a:gd name="f490" fmla="*/ f374 f327 1"/>
                  <a:gd name="f491" fmla="*/ f375 f328 1"/>
                  <a:gd name="f492" fmla="*/ f376 f327 1"/>
                  <a:gd name="f493" fmla="*/ f377 f328 1"/>
                  <a:gd name="f494" fmla="*/ f378 f327 1"/>
                  <a:gd name="f495" fmla="*/ f379 f328 1"/>
                  <a:gd name="f496" fmla="*/ f380 f327 1"/>
                  <a:gd name="f497" fmla="*/ f381 f328 1"/>
                  <a:gd name="f498" fmla="*/ f382 f327 1"/>
                  <a:gd name="f499" fmla="*/ f383 f328 1"/>
                  <a:gd name="f500" fmla="*/ f384 f328 1"/>
                  <a:gd name="f501" fmla="*/ f385 f327 1"/>
                  <a:gd name="f502" fmla="*/ f386 f328 1"/>
                  <a:gd name="f503" fmla="*/ f387 f327 1"/>
                  <a:gd name="f504" fmla="*/ f388 f328 1"/>
                  <a:gd name="f505" fmla="*/ f389 f327 1"/>
                  <a:gd name="f506" fmla="*/ f390 f328 1"/>
                  <a:gd name="f507" fmla="*/ f391 f327 1"/>
                  <a:gd name="f508" fmla="*/ f392 f328 1"/>
                  <a:gd name="f509" fmla="*/ f393 f327 1"/>
                  <a:gd name="f510" fmla="*/ f394 f328 1"/>
                  <a:gd name="f511" fmla="*/ f395 f327 1"/>
                  <a:gd name="f512" fmla="*/ f396 f328 1"/>
                  <a:gd name="f513" fmla="*/ f397 f327 1"/>
                  <a:gd name="f514" fmla="*/ f398 f328 1"/>
                  <a:gd name="f515" fmla="*/ f399 f327 1"/>
                  <a:gd name="f516" fmla="*/ f400 f327 1"/>
                  <a:gd name="f517" fmla="*/ f401 f328 1"/>
                  <a:gd name="f518" fmla="*/ f402 f327 1"/>
                  <a:gd name="f519" fmla="*/ f403 f328 1"/>
                  <a:gd name="f520" fmla="*/ f404 f327 1"/>
                  <a:gd name="f521" fmla="*/ f405 f328 1"/>
                  <a:gd name="f522" fmla="*/ f406 f327 1"/>
                  <a:gd name="f523" fmla="*/ f407 f328 1"/>
                  <a:gd name="f524" fmla="*/ f408 f327 1"/>
                  <a:gd name="f525" fmla="*/ f409 f328 1"/>
                  <a:gd name="f526" fmla="*/ f410 f327 1"/>
                  <a:gd name="f527" fmla="*/ f411 f328 1"/>
                  <a:gd name="f528" fmla="*/ f412 f327 1"/>
                  <a:gd name="f529" fmla="*/ f413 f328 1"/>
                  <a:gd name="f530" fmla="*/ f414 f328 1"/>
                  <a:gd name="f531" fmla="*/ f415 f328 1"/>
                  <a:gd name="f532" fmla="*/ f416 f328 1"/>
                  <a:gd name="f533" fmla="*/ f417 f327 1"/>
                  <a:gd name="f534" fmla="*/ f418 f328 1"/>
                  <a:gd name="f535" fmla="*/ f419 f327 1"/>
                  <a:gd name="f536" fmla="*/ f420 f328 1"/>
                  <a:gd name="f537" fmla="*/ f421 f327 1"/>
                  <a:gd name="f538" fmla="*/ f422 f328 1"/>
                  <a:gd name="f539" fmla="*/ f423 f327 1"/>
                  <a:gd name="f540" fmla="*/ f424 f328 1"/>
                  <a:gd name="f541" fmla="*/ f425 f327 1"/>
                  <a:gd name="f542" fmla="*/ f426 f328 1"/>
                  <a:gd name="f543" fmla="*/ f427 f327 1"/>
                  <a:gd name="f544" fmla="*/ f428 f328 1"/>
                  <a:gd name="f545" fmla="*/ f429 f327 1"/>
                  <a:gd name="f546" fmla="*/ f430 f328 1"/>
                  <a:gd name="f547" fmla="*/ f431 f327 1"/>
                  <a:gd name="f548" fmla="*/ f432 f328 1"/>
                  <a:gd name="f549" fmla="*/ f433 f327 1"/>
                  <a:gd name="f550" fmla="*/ f434 f328 1"/>
                  <a:gd name="f551" fmla="*/ f435 f328 1"/>
                  <a:gd name="f552" fmla="*/ f436 f328 1"/>
                  <a:gd name="f553" fmla="*/ f437 f328 1"/>
                  <a:gd name="f554" fmla="*/ f438 f327 1"/>
                  <a:gd name="f555" fmla="*/ f439 f328 1"/>
                  <a:gd name="f556" fmla="*/ f440 f327 1"/>
                  <a:gd name="f557" fmla="*/ f441 f32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46">
                    <a:pos x="f451" y="f452"/>
                  </a:cxn>
                  <a:cxn ang="f446">
                    <a:pos x="f453" y="f454"/>
                  </a:cxn>
                  <a:cxn ang="f446">
                    <a:pos x="f455" y="f456"/>
                  </a:cxn>
                  <a:cxn ang="f446">
                    <a:pos x="f457" y="f458"/>
                  </a:cxn>
                  <a:cxn ang="f446">
                    <a:pos x="f459" y="f460"/>
                  </a:cxn>
                  <a:cxn ang="f446">
                    <a:pos x="f461" y="f462"/>
                  </a:cxn>
                  <a:cxn ang="f446">
                    <a:pos x="f463" y="f464"/>
                  </a:cxn>
                  <a:cxn ang="f446">
                    <a:pos x="f465" y="f466"/>
                  </a:cxn>
                  <a:cxn ang="f446">
                    <a:pos x="f467" y="f468"/>
                  </a:cxn>
                  <a:cxn ang="f446">
                    <a:pos x="f469" y="f470"/>
                  </a:cxn>
                  <a:cxn ang="f446">
                    <a:pos x="f471" y="f472"/>
                  </a:cxn>
                  <a:cxn ang="f446">
                    <a:pos x="f473" y="f474"/>
                  </a:cxn>
                  <a:cxn ang="f446">
                    <a:pos x="f475" y="f476"/>
                  </a:cxn>
                  <a:cxn ang="f446">
                    <a:pos x="f477" y="f478"/>
                  </a:cxn>
                  <a:cxn ang="f446">
                    <a:pos x="f479" y="f480"/>
                  </a:cxn>
                  <a:cxn ang="f446">
                    <a:pos x="f481" y="f482"/>
                  </a:cxn>
                  <a:cxn ang="f446">
                    <a:pos x="f483" y="f484"/>
                  </a:cxn>
                  <a:cxn ang="f446">
                    <a:pos x="f485" y="f486"/>
                  </a:cxn>
                  <a:cxn ang="f446">
                    <a:pos x="f487" y="f488"/>
                  </a:cxn>
                  <a:cxn ang="f446">
                    <a:pos x="f487" y="f489"/>
                  </a:cxn>
                  <a:cxn ang="f446">
                    <a:pos x="f490" y="f491"/>
                  </a:cxn>
                  <a:cxn ang="f446">
                    <a:pos x="f492" y="f493"/>
                  </a:cxn>
                  <a:cxn ang="f446">
                    <a:pos x="f494" y="f495"/>
                  </a:cxn>
                  <a:cxn ang="f446">
                    <a:pos x="f496" y="f497"/>
                  </a:cxn>
                  <a:cxn ang="f446">
                    <a:pos x="f498" y="f499"/>
                  </a:cxn>
                  <a:cxn ang="f446">
                    <a:pos x="f461" y="f500"/>
                  </a:cxn>
                  <a:cxn ang="f446">
                    <a:pos x="f501" y="f502"/>
                  </a:cxn>
                  <a:cxn ang="f446">
                    <a:pos x="f503" y="f504"/>
                  </a:cxn>
                  <a:cxn ang="f446">
                    <a:pos x="f505" y="f506"/>
                  </a:cxn>
                  <a:cxn ang="f446">
                    <a:pos x="f507" y="f508"/>
                  </a:cxn>
                  <a:cxn ang="f446">
                    <a:pos x="f509" y="f510"/>
                  </a:cxn>
                  <a:cxn ang="f446">
                    <a:pos x="f511" y="f512"/>
                  </a:cxn>
                  <a:cxn ang="f446">
                    <a:pos x="f513" y="f514"/>
                  </a:cxn>
                  <a:cxn ang="f446">
                    <a:pos x="f515" y="f514"/>
                  </a:cxn>
                  <a:cxn ang="f446">
                    <a:pos x="f516" y="f517"/>
                  </a:cxn>
                  <a:cxn ang="f446">
                    <a:pos x="f518" y="f519"/>
                  </a:cxn>
                  <a:cxn ang="f446">
                    <a:pos x="f520" y="f521"/>
                  </a:cxn>
                  <a:cxn ang="f446">
                    <a:pos x="f522" y="f523"/>
                  </a:cxn>
                  <a:cxn ang="f446">
                    <a:pos x="f524" y="f525"/>
                  </a:cxn>
                  <a:cxn ang="f446">
                    <a:pos x="f526" y="f527"/>
                  </a:cxn>
                  <a:cxn ang="f446">
                    <a:pos x="f528" y="f529"/>
                  </a:cxn>
                  <a:cxn ang="f446">
                    <a:pos x="f526" y="f530"/>
                  </a:cxn>
                  <a:cxn ang="f446">
                    <a:pos x="f528" y="f531"/>
                  </a:cxn>
                  <a:cxn ang="f446">
                    <a:pos x="f528" y="f532"/>
                  </a:cxn>
                  <a:cxn ang="f446">
                    <a:pos x="f533" y="f534"/>
                  </a:cxn>
                  <a:cxn ang="f446">
                    <a:pos x="f535" y="f536"/>
                  </a:cxn>
                  <a:cxn ang="f446">
                    <a:pos x="f537" y="f538"/>
                  </a:cxn>
                  <a:cxn ang="f446">
                    <a:pos x="f539" y="f540"/>
                  </a:cxn>
                  <a:cxn ang="f446">
                    <a:pos x="f541" y="f542"/>
                  </a:cxn>
                  <a:cxn ang="f446">
                    <a:pos x="f543" y="f544"/>
                  </a:cxn>
                  <a:cxn ang="f446">
                    <a:pos x="f545" y="f546"/>
                  </a:cxn>
                  <a:cxn ang="f446">
                    <a:pos x="f547" y="f548"/>
                  </a:cxn>
                  <a:cxn ang="f446">
                    <a:pos x="f549" y="f550"/>
                  </a:cxn>
                  <a:cxn ang="f446">
                    <a:pos x="f539" y="f551"/>
                  </a:cxn>
                  <a:cxn ang="f446">
                    <a:pos x="f535" y="f552"/>
                  </a:cxn>
                  <a:cxn ang="f446">
                    <a:pos x="f522" y="f553"/>
                  </a:cxn>
                  <a:cxn ang="f446">
                    <a:pos x="f554" y="f555"/>
                  </a:cxn>
                  <a:cxn ang="f446">
                    <a:pos x="f556" y="f557"/>
                  </a:cxn>
                </a:cxnLst>
                <a:rect l="f447" t="f450" r="f448" b="f449"/>
                <a:pathLst>
                  <a:path w="552" h="681">
                    <a:moveTo>
                      <a:pt x="f9" y="f6"/>
                    </a:moveTo>
                    <a:lnTo>
                      <a:pt x="f10" y="f6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5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1"/>
                    </a:lnTo>
                    <a:lnTo>
                      <a:pt x="f35" y="f31"/>
                    </a:lnTo>
                    <a:lnTo>
                      <a:pt x="f36" y="f37"/>
                    </a:lnTo>
                    <a:lnTo>
                      <a:pt x="f38" y="f37"/>
                    </a:lnTo>
                    <a:lnTo>
                      <a:pt x="f39" y="f33"/>
                    </a:lnTo>
                    <a:lnTo>
                      <a:pt x="f40" y="f41"/>
                    </a:lnTo>
                    <a:lnTo>
                      <a:pt x="f40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2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52"/>
                    </a:lnTo>
                    <a:lnTo>
                      <a:pt x="f65" y="f54"/>
                    </a:lnTo>
                    <a:lnTo>
                      <a:pt x="f66" y="f67"/>
                    </a:lnTo>
                    <a:lnTo>
                      <a:pt x="f68" y="f67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42"/>
                    </a:lnTo>
                    <a:lnTo>
                      <a:pt x="f74" y="f75"/>
                    </a:lnTo>
                    <a:lnTo>
                      <a:pt x="f76" y="f77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44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7" y="f97"/>
                    </a:lnTo>
                    <a:lnTo>
                      <a:pt x="f7" y="f98"/>
                    </a:lnTo>
                    <a:lnTo>
                      <a:pt x="f95" y="f99"/>
                    </a:lnTo>
                    <a:lnTo>
                      <a:pt x="f93" y="f100"/>
                    </a:lnTo>
                    <a:lnTo>
                      <a:pt x="f91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13"/>
                    </a:lnTo>
                    <a:lnTo>
                      <a:pt x="f88" y="f109"/>
                    </a:lnTo>
                    <a:lnTo>
                      <a:pt x="f110" y="f22"/>
                    </a:lnTo>
                    <a:lnTo>
                      <a:pt x="f111" y="f112"/>
                    </a:lnTo>
                    <a:lnTo>
                      <a:pt x="f110" y="f113"/>
                    </a:lnTo>
                    <a:lnTo>
                      <a:pt x="f114" y="f115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20" y="f121"/>
                    </a:lnTo>
                    <a:lnTo>
                      <a:pt x="f120" y="f122"/>
                    </a:lnTo>
                    <a:lnTo>
                      <a:pt x="f118" y="f123"/>
                    </a:lnTo>
                    <a:lnTo>
                      <a:pt x="f124" y="f123"/>
                    </a:lnTo>
                    <a:lnTo>
                      <a:pt x="f116" y="f125"/>
                    </a:lnTo>
                    <a:lnTo>
                      <a:pt x="f126" y="f125"/>
                    </a:lnTo>
                    <a:lnTo>
                      <a:pt x="f127" y="f34"/>
                    </a:lnTo>
                    <a:lnTo>
                      <a:pt x="f128" y="f129"/>
                    </a:lnTo>
                    <a:lnTo>
                      <a:pt x="f130" y="f131"/>
                    </a:lnTo>
                    <a:lnTo>
                      <a:pt x="f132" y="f39"/>
                    </a:lnTo>
                    <a:lnTo>
                      <a:pt x="f132" y="f133"/>
                    </a:lnTo>
                    <a:lnTo>
                      <a:pt x="f130" y="f134"/>
                    </a:lnTo>
                    <a:lnTo>
                      <a:pt x="f130" y="f135"/>
                    </a:lnTo>
                    <a:lnTo>
                      <a:pt x="f132" y="f136"/>
                    </a:lnTo>
                    <a:lnTo>
                      <a:pt x="f137" y="f138"/>
                    </a:lnTo>
                    <a:lnTo>
                      <a:pt x="f68" y="f139"/>
                    </a:lnTo>
                    <a:lnTo>
                      <a:pt x="f140" y="f58"/>
                    </a:lnTo>
                    <a:lnTo>
                      <a:pt x="f140" y="f141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62"/>
                    </a:lnTo>
                    <a:lnTo>
                      <a:pt x="f151" y="f145"/>
                    </a:lnTo>
                    <a:lnTo>
                      <a:pt x="f60" y="f153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8" y="f156"/>
                    </a:lnTo>
                    <a:lnTo>
                      <a:pt x="f159" y="f160"/>
                    </a:lnTo>
                    <a:lnTo>
                      <a:pt x="f161" y="f145"/>
                    </a:lnTo>
                    <a:lnTo>
                      <a:pt x="f159" y="f162"/>
                    </a:lnTo>
                    <a:lnTo>
                      <a:pt x="f159" y="f150"/>
                    </a:lnTo>
                    <a:lnTo>
                      <a:pt x="f163" y="f66"/>
                    </a:lnTo>
                    <a:lnTo>
                      <a:pt x="f164" y="f165"/>
                    </a:lnTo>
                    <a:lnTo>
                      <a:pt x="f135" y="f71"/>
                    </a:lnTo>
                    <a:lnTo>
                      <a:pt x="f47" y="f130"/>
                    </a:lnTo>
                    <a:lnTo>
                      <a:pt x="f166" y="f167"/>
                    </a:lnTo>
                    <a:lnTo>
                      <a:pt x="f168" y="f169"/>
                    </a:lnTo>
                    <a:lnTo>
                      <a:pt x="f170" y="f171"/>
                    </a:lnTo>
                    <a:lnTo>
                      <a:pt x="f172" y="f173"/>
                    </a:lnTo>
                    <a:lnTo>
                      <a:pt x="f172" y="f174"/>
                    </a:lnTo>
                    <a:lnTo>
                      <a:pt x="f175" y="f176"/>
                    </a:lnTo>
                    <a:lnTo>
                      <a:pt x="f36" y="f177"/>
                    </a:lnTo>
                    <a:lnTo>
                      <a:pt x="f36" y="f178"/>
                    </a:lnTo>
                    <a:lnTo>
                      <a:pt x="f172" y="f179"/>
                    </a:lnTo>
                    <a:lnTo>
                      <a:pt x="f180" y="f181"/>
                    </a:lnTo>
                    <a:lnTo>
                      <a:pt x="f182" y="f183"/>
                    </a:lnTo>
                    <a:lnTo>
                      <a:pt x="f122" y="f184"/>
                    </a:lnTo>
                    <a:lnTo>
                      <a:pt x="f122" y="f185"/>
                    </a:lnTo>
                    <a:lnTo>
                      <a:pt x="f182" y="f186"/>
                    </a:lnTo>
                    <a:lnTo>
                      <a:pt x="f175" y="f187"/>
                    </a:lnTo>
                    <a:lnTo>
                      <a:pt x="f188" y="f189"/>
                    </a:lnTo>
                    <a:lnTo>
                      <a:pt x="f190" y="f191"/>
                    </a:lnTo>
                    <a:lnTo>
                      <a:pt x="f38" y="f192"/>
                    </a:lnTo>
                    <a:lnTo>
                      <a:pt x="f193" y="f192"/>
                    </a:lnTo>
                    <a:lnTo>
                      <a:pt x="f194" y="f195"/>
                    </a:lnTo>
                    <a:lnTo>
                      <a:pt x="f34" y="f196"/>
                    </a:lnTo>
                    <a:lnTo>
                      <a:pt x="f123" y="f197"/>
                    </a:lnTo>
                    <a:lnTo>
                      <a:pt x="f28" y="f198"/>
                    </a:lnTo>
                    <a:lnTo>
                      <a:pt x="f199" y="f200"/>
                    </a:lnTo>
                    <a:lnTo>
                      <a:pt x="f201" y="f198"/>
                    </a:lnTo>
                    <a:lnTo>
                      <a:pt x="f202" y="f203"/>
                    </a:lnTo>
                    <a:lnTo>
                      <a:pt x="f204" y="f205"/>
                    </a:lnTo>
                    <a:lnTo>
                      <a:pt x="f206" y="f207"/>
                    </a:lnTo>
                    <a:lnTo>
                      <a:pt x="f208" y="f209"/>
                    </a:lnTo>
                    <a:lnTo>
                      <a:pt x="f210" y="f209"/>
                    </a:lnTo>
                    <a:lnTo>
                      <a:pt x="f211" y="f212"/>
                    </a:lnTo>
                    <a:lnTo>
                      <a:pt x="f15" y="f207"/>
                    </a:lnTo>
                    <a:lnTo>
                      <a:pt x="f213" y="f212"/>
                    </a:lnTo>
                    <a:lnTo>
                      <a:pt x="f214" y="f196"/>
                    </a:lnTo>
                    <a:lnTo>
                      <a:pt x="f215" y="f216"/>
                    </a:lnTo>
                    <a:lnTo>
                      <a:pt x="f9" y="f217"/>
                    </a:lnTo>
                    <a:lnTo>
                      <a:pt x="f218" y="f192"/>
                    </a:lnTo>
                    <a:lnTo>
                      <a:pt x="f85" y="f219"/>
                    </a:lnTo>
                    <a:lnTo>
                      <a:pt x="f87" y="f220"/>
                    </a:lnTo>
                    <a:lnTo>
                      <a:pt x="f221" y="f196"/>
                    </a:lnTo>
                    <a:lnTo>
                      <a:pt x="f222" y="f223"/>
                    </a:lnTo>
                    <a:lnTo>
                      <a:pt x="f224" y="f225"/>
                    </a:lnTo>
                    <a:lnTo>
                      <a:pt x="f224" y="f226"/>
                    </a:lnTo>
                    <a:lnTo>
                      <a:pt x="f227" y="f228"/>
                    </a:lnTo>
                    <a:lnTo>
                      <a:pt x="f229" y="f230"/>
                    </a:lnTo>
                    <a:lnTo>
                      <a:pt x="f224" y="f231"/>
                    </a:lnTo>
                    <a:lnTo>
                      <a:pt x="f232" y="f233"/>
                    </a:lnTo>
                    <a:lnTo>
                      <a:pt x="f234" y="f235"/>
                    </a:lnTo>
                    <a:lnTo>
                      <a:pt x="f50" y="f236"/>
                    </a:lnTo>
                    <a:lnTo>
                      <a:pt x="f237" y="f238"/>
                    </a:lnTo>
                    <a:lnTo>
                      <a:pt x="f239" y="f240"/>
                    </a:lnTo>
                    <a:lnTo>
                      <a:pt x="f54" y="f8"/>
                    </a:lnTo>
                    <a:lnTo>
                      <a:pt x="f241" y="f236"/>
                    </a:lnTo>
                    <a:lnTo>
                      <a:pt x="f242" y="f243"/>
                    </a:lnTo>
                    <a:lnTo>
                      <a:pt x="f244" y="f245"/>
                    </a:lnTo>
                    <a:lnTo>
                      <a:pt x="f246" y="f247"/>
                    </a:lnTo>
                    <a:lnTo>
                      <a:pt x="f248" y="f249"/>
                    </a:lnTo>
                    <a:lnTo>
                      <a:pt x="f250" y="f251"/>
                    </a:lnTo>
                    <a:lnTo>
                      <a:pt x="f252" y="f253"/>
                    </a:lnTo>
                    <a:lnTo>
                      <a:pt x="f254" y="f192"/>
                    </a:lnTo>
                    <a:lnTo>
                      <a:pt x="f252" y="f255"/>
                    </a:lnTo>
                    <a:lnTo>
                      <a:pt x="f256" y="f257"/>
                    </a:lnTo>
                    <a:lnTo>
                      <a:pt x="f258" y="f259"/>
                    </a:lnTo>
                    <a:lnTo>
                      <a:pt x="f246" y="f260"/>
                    </a:lnTo>
                    <a:lnTo>
                      <a:pt x="f261" y="f262"/>
                    </a:lnTo>
                    <a:lnTo>
                      <a:pt x="f263" y="f104"/>
                    </a:lnTo>
                    <a:lnTo>
                      <a:pt x="f264" y="f265"/>
                    </a:lnTo>
                    <a:lnTo>
                      <a:pt x="f254" y="f266"/>
                    </a:lnTo>
                    <a:lnTo>
                      <a:pt x="f267" y="f268"/>
                    </a:lnTo>
                    <a:lnTo>
                      <a:pt x="f6" y="f269"/>
                    </a:lnTo>
                    <a:lnTo>
                      <a:pt x="f270" y="f82"/>
                    </a:lnTo>
                    <a:lnTo>
                      <a:pt x="f254" y="f80"/>
                    </a:lnTo>
                    <a:lnTo>
                      <a:pt x="f271" y="f272"/>
                    </a:lnTo>
                    <a:lnTo>
                      <a:pt x="f273" y="f80"/>
                    </a:lnTo>
                    <a:lnTo>
                      <a:pt x="f274" y="f275"/>
                    </a:lnTo>
                    <a:lnTo>
                      <a:pt x="f276" y="f82"/>
                    </a:lnTo>
                    <a:lnTo>
                      <a:pt x="f277" y="f82"/>
                    </a:lnTo>
                    <a:lnTo>
                      <a:pt x="f278" y="f275"/>
                    </a:lnTo>
                    <a:lnTo>
                      <a:pt x="f27" y="f279"/>
                    </a:lnTo>
                    <a:lnTo>
                      <a:pt x="f280" y="f281"/>
                    </a:lnTo>
                    <a:lnTo>
                      <a:pt x="f242" y="f282"/>
                    </a:lnTo>
                    <a:lnTo>
                      <a:pt x="f283" y="f284"/>
                    </a:lnTo>
                    <a:lnTo>
                      <a:pt x="f274" y="f156"/>
                    </a:lnTo>
                    <a:lnTo>
                      <a:pt x="f244" y="f161"/>
                    </a:lnTo>
                    <a:lnTo>
                      <a:pt x="f285" y="f286"/>
                    </a:lnTo>
                    <a:lnTo>
                      <a:pt x="f287" y="f288"/>
                    </a:lnTo>
                    <a:lnTo>
                      <a:pt x="f278" y="f289"/>
                    </a:lnTo>
                    <a:lnTo>
                      <a:pt x="f290" y="f291"/>
                    </a:lnTo>
                    <a:lnTo>
                      <a:pt x="f239" y="f51"/>
                    </a:lnTo>
                    <a:lnTo>
                      <a:pt x="f72" y="f292"/>
                    </a:lnTo>
                    <a:lnTo>
                      <a:pt x="f293" y="f294"/>
                    </a:lnTo>
                    <a:lnTo>
                      <a:pt x="f293" y="f295"/>
                    </a:lnTo>
                    <a:lnTo>
                      <a:pt x="f296" y="f297"/>
                    </a:lnTo>
                    <a:lnTo>
                      <a:pt x="f59" y="f298"/>
                    </a:lnTo>
                    <a:lnTo>
                      <a:pt x="f67" y="f131"/>
                    </a:lnTo>
                    <a:lnTo>
                      <a:pt x="f33" y="f190"/>
                    </a:lnTo>
                    <a:lnTo>
                      <a:pt x="f29" y="f299"/>
                    </a:lnTo>
                    <a:lnTo>
                      <a:pt x="f29" y="f300"/>
                    </a:lnTo>
                    <a:lnTo>
                      <a:pt x="f290" y="f129"/>
                    </a:lnTo>
                    <a:lnTo>
                      <a:pt x="f301" y="f32"/>
                    </a:lnTo>
                    <a:lnTo>
                      <a:pt x="f301" y="f121"/>
                    </a:lnTo>
                    <a:lnTo>
                      <a:pt x="f57" y="f199"/>
                    </a:lnTo>
                    <a:lnTo>
                      <a:pt x="f239" y="f302"/>
                    </a:lnTo>
                    <a:lnTo>
                      <a:pt x="f50" y="f303"/>
                    </a:lnTo>
                    <a:lnTo>
                      <a:pt x="f61" y="f304"/>
                    </a:lnTo>
                    <a:lnTo>
                      <a:pt x="f293" y="f305"/>
                    </a:lnTo>
                    <a:lnTo>
                      <a:pt x="f72" y="f306"/>
                    </a:lnTo>
                    <a:lnTo>
                      <a:pt x="f307" y="f306"/>
                    </a:lnTo>
                    <a:lnTo>
                      <a:pt x="f308" y="f213"/>
                    </a:lnTo>
                    <a:lnTo>
                      <a:pt x="f309" y="f215"/>
                    </a:lnTo>
                    <a:lnTo>
                      <a:pt x="f309" y="f310"/>
                    </a:lnTo>
                    <a:lnTo>
                      <a:pt x="f290" y="f311"/>
                    </a:lnTo>
                    <a:lnTo>
                      <a:pt x="f312" y="f313"/>
                    </a:lnTo>
                    <a:lnTo>
                      <a:pt x="f314" y="f83"/>
                    </a:lnTo>
                    <a:lnTo>
                      <a:pt x="f23" y="f315"/>
                    </a:lnTo>
                    <a:lnTo>
                      <a:pt x="f280" y="f316"/>
                    </a:lnTo>
                    <a:lnTo>
                      <a:pt x="f314" y="f89"/>
                    </a:lnTo>
                    <a:lnTo>
                      <a:pt x="f309" y="f317"/>
                    </a:lnTo>
                    <a:lnTo>
                      <a:pt x="f318" y="f75"/>
                    </a:lnTo>
                    <a:lnTo>
                      <a:pt x="f234" y="f46"/>
                    </a:lnTo>
                    <a:lnTo>
                      <a:pt x="f224" y="f319"/>
                    </a:lnTo>
                    <a:lnTo>
                      <a:pt x="f320" y="f42"/>
                    </a:lnTo>
                    <a:lnTo>
                      <a:pt x="f94" y="f61"/>
                    </a:lnTo>
                    <a:lnTo>
                      <a:pt x="f321" y="f52"/>
                    </a:lnTo>
                    <a:lnTo>
                      <a:pt x="f81" y="f41"/>
                    </a:lnTo>
                    <a:lnTo>
                      <a:pt x="f322" y="f23"/>
                    </a:lnTo>
                    <a:lnTo>
                      <a:pt x="f323" y="f324"/>
                    </a:lnTo>
                    <a:lnTo>
                      <a:pt x="f325" y="f267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47" name="Freeform 9">
                <a:extLst>
                  <a:ext uri="{FF2B5EF4-FFF2-40B4-BE49-F238E27FC236}">
                    <a16:creationId xmlns:a16="http://schemas.microsoft.com/office/drawing/2014/main" id="{C008378F-A095-42BD-80C6-76A82A61EA71}"/>
                  </a:ext>
                </a:extLst>
              </p:cNvPr>
              <p:cNvSpPr/>
              <p:nvPr/>
            </p:nvSpPr>
            <p:spPr>
              <a:xfrm>
                <a:off x="4635687" y="2676073"/>
                <a:ext cx="63532" cy="9082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83"/>
                  <a:gd name="f7" fmla="val 558"/>
                  <a:gd name="f8" fmla="val 137"/>
                  <a:gd name="f9" fmla="val 142"/>
                  <a:gd name="f10" fmla="val 3"/>
                  <a:gd name="f11" fmla="val 149"/>
                  <a:gd name="f12" fmla="val 8"/>
                  <a:gd name="f13" fmla="val 157"/>
                  <a:gd name="f14" fmla="val 18"/>
                  <a:gd name="f15" fmla="val 166"/>
                  <a:gd name="f16" fmla="val 29"/>
                  <a:gd name="f17" fmla="val 175"/>
                  <a:gd name="f18" fmla="val 39"/>
                  <a:gd name="f19" fmla="val 184"/>
                  <a:gd name="f20" fmla="val 49"/>
                  <a:gd name="f21" fmla="val 192"/>
                  <a:gd name="f22" fmla="val 54"/>
                  <a:gd name="f23" fmla="val 206"/>
                  <a:gd name="f24" fmla="val 57"/>
                  <a:gd name="f25" fmla="val 220"/>
                  <a:gd name="f26" fmla="val 235"/>
                  <a:gd name="f27" fmla="val 53"/>
                  <a:gd name="f28" fmla="val 249"/>
                  <a:gd name="f29" fmla="val 262"/>
                  <a:gd name="f30" fmla="val 278"/>
                  <a:gd name="f31" fmla="val 63"/>
                  <a:gd name="f32" fmla="val 294"/>
                  <a:gd name="f33" fmla="val 68"/>
                  <a:gd name="f34" fmla="val 307"/>
                  <a:gd name="f35" fmla="val 75"/>
                  <a:gd name="f36" fmla="val 311"/>
                  <a:gd name="f37" fmla="val 82"/>
                  <a:gd name="f38" fmla="val 146"/>
                  <a:gd name="f39" fmla="val 308"/>
                  <a:gd name="f40" fmla="val 301"/>
                  <a:gd name="f41" fmla="val 165"/>
                  <a:gd name="f42" fmla="val 290"/>
                  <a:gd name="f43" fmla="val 174"/>
                  <a:gd name="f44" fmla="val 269"/>
                  <a:gd name="f45" fmla="val 187"/>
                  <a:gd name="f46" fmla="val 196"/>
                  <a:gd name="f47" fmla="val 274"/>
                  <a:gd name="f48" fmla="val 201"/>
                  <a:gd name="f49" fmla="val 282"/>
                  <a:gd name="f50" fmla="val 207"/>
                  <a:gd name="f51" fmla="val 287"/>
                  <a:gd name="f52" fmla="val 208"/>
                  <a:gd name="f53" fmla="val 293"/>
                  <a:gd name="f54" fmla="val 205"/>
                  <a:gd name="f55" fmla="val 300"/>
                  <a:gd name="f56" fmla="val 203"/>
                  <a:gd name="f57" fmla="val 309"/>
                  <a:gd name="f58" fmla="val 200"/>
                  <a:gd name="f59" fmla="val 322"/>
                  <a:gd name="f60" fmla="val 199"/>
                  <a:gd name="f61" fmla="val 340"/>
                  <a:gd name="f62" fmla="val 352"/>
                  <a:gd name="f63" fmla="val 361"/>
                  <a:gd name="f64" fmla="val 217"/>
                  <a:gd name="f65" fmla="val 366"/>
                  <a:gd name="f66" fmla="val 232"/>
                  <a:gd name="f67" fmla="val 369"/>
                  <a:gd name="f68" fmla="val 248"/>
                  <a:gd name="f69" fmla="val 370"/>
                  <a:gd name="f70" fmla="val 268"/>
                  <a:gd name="f71" fmla="val 303"/>
                  <a:gd name="f72" fmla="val 315"/>
                  <a:gd name="f73" fmla="val 323"/>
                  <a:gd name="f74" fmla="val 332"/>
                  <a:gd name="f75" fmla="val 373"/>
                  <a:gd name="f76" fmla="val 336"/>
                  <a:gd name="f77" fmla="val 377"/>
                  <a:gd name="f78" fmla="val 339"/>
                  <a:gd name="f79" fmla="val 381"/>
                  <a:gd name="f80" fmla="val 343"/>
                  <a:gd name="f81" fmla="val 350"/>
                  <a:gd name="f82" fmla="val 380"/>
                  <a:gd name="f83" fmla="val 376"/>
                  <a:gd name="f84" fmla="val 363"/>
                  <a:gd name="f85" fmla="val 389"/>
                  <a:gd name="f86" fmla="val 398"/>
                  <a:gd name="f87" fmla="val 325"/>
                  <a:gd name="f88" fmla="val 426"/>
                  <a:gd name="f89" fmla="val 319"/>
                  <a:gd name="f90" fmla="val 429"/>
                  <a:gd name="f91" fmla="val 427"/>
                  <a:gd name="f92" fmla="val 298"/>
                  <a:gd name="f93" fmla="val 433"/>
                  <a:gd name="f94" fmla="val 438"/>
                  <a:gd name="f95" fmla="val 272"/>
                  <a:gd name="f96" fmla="val 447"/>
                  <a:gd name="f97" fmla="val 265"/>
                  <a:gd name="f98" fmla="val 454"/>
                  <a:gd name="f99" fmla="val 254"/>
                  <a:gd name="f100" fmla="val 462"/>
                  <a:gd name="f101" fmla="val 245"/>
                  <a:gd name="f102" fmla="val 463"/>
                  <a:gd name="f103" fmla="val 238"/>
                  <a:gd name="f104" fmla="val 461"/>
                  <a:gd name="f105" fmla="val 452"/>
                  <a:gd name="f106" fmla="val 224"/>
                  <a:gd name="f107" fmla="val 443"/>
                  <a:gd name="f108" fmla="val 213"/>
                  <a:gd name="f109" fmla="val 437"/>
                  <a:gd name="f110" fmla="val 185"/>
                  <a:gd name="f111" fmla="val 440"/>
                  <a:gd name="f112" fmla="val 177"/>
                  <a:gd name="f113" fmla="val 171"/>
                  <a:gd name="f114" fmla="val 459"/>
                  <a:gd name="f115" fmla="val 167"/>
                  <a:gd name="f116" fmla="val 475"/>
                  <a:gd name="f117" fmla="val 162"/>
                  <a:gd name="f118" fmla="val 505"/>
                  <a:gd name="f119" fmla="val 159"/>
                  <a:gd name="f120" fmla="val 515"/>
                  <a:gd name="f121" fmla="val 151"/>
                  <a:gd name="f122" fmla="val 523"/>
                  <a:gd name="f123" fmla="val 135"/>
                  <a:gd name="f124" fmla="val 531"/>
                  <a:gd name="f125" fmla="val 117"/>
                  <a:gd name="f126" fmla="val 538"/>
                  <a:gd name="f127" fmla="val 97"/>
                  <a:gd name="f128" fmla="val 545"/>
                  <a:gd name="f129" fmla="val 79"/>
                  <a:gd name="f130" fmla="val 551"/>
                  <a:gd name="f131" fmla="val 58"/>
                  <a:gd name="f132" fmla="val 55"/>
                  <a:gd name="f133" fmla="val 556"/>
                  <a:gd name="f134" fmla="val 50"/>
                  <a:gd name="f135" fmla="val 548"/>
                  <a:gd name="f136" fmla="val 46"/>
                  <a:gd name="f137" fmla="val 536"/>
                  <a:gd name="f138" fmla="val 527"/>
                  <a:gd name="f139" fmla="val 30"/>
                  <a:gd name="f140" fmla="val 526"/>
                  <a:gd name="f141" fmla="val 19"/>
                  <a:gd name="f142" fmla="val 519"/>
                  <a:gd name="f143" fmla="val 513"/>
                  <a:gd name="f144" fmla="val 509"/>
                  <a:gd name="f145" fmla="val 14"/>
                  <a:gd name="f146" fmla="val 504"/>
                  <a:gd name="f147" fmla="val 7"/>
                  <a:gd name="f148" fmla="val 499"/>
                  <a:gd name="f149" fmla="val 495"/>
                  <a:gd name="f150" fmla="val 491"/>
                  <a:gd name="f151" fmla="val 486"/>
                  <a:gd name="f152" fmla="val 11"/>
                  <a:gd name="f153" fmla="val 479"/>
                  <a:gd name="f154" fmla="val 23"/>
                  <a:gd name="f155" fmla="val 472"/>
                  <a:gd name="f156" fmla="val 37"/>
                  <a:gd name="f157" fmla="val 465"/>
                  <a:gd name="f158" fmla="val 59"/>
                  <a:gd name="f159" fmla="val 455"/>
                  <a:gd name="f160" fmla="val 451"/>
                  <a:gd name="f161" fmla="val 77"/>
                  <a:gd name="f162" fmla="val 84"/>
                  <a:gd name="f163" fmla="val 434"/>
                  <a:gd name="f164" fmla="val 88"/>
                  <a:gd name="f165" fmla="val 425"/>
                  <a:gd name="f166" fmla="val 415"/>
                  <a:gd name="f167" fmla="val 408"/>
                  <a:gd name="f168" fmla="val 386"/>
                  <a:gd name="f169" fmla="val 372"/>
                  <a:gd name="f170" fmla="val 76"/>
                  <a:gd name="f171" fmla="val 364"/>
                  <a:gd name="f172" fmla="val 362"/>
                  <a:gd name="f173" fmla="val 87"/>
                  <a:gd name="f174" fmla="val 359"/>
                  <a:gd name="f175" fmla="val 354"/>
                  <a:gd name="f176" fmla="val 91"/>
                  <a:gd name="f177" fmla="val 326"/>
                  <a:gd name="f178" fmla="val 95"/>
                  <a:gd name="f179" fmla="val 312"/>
                  <a:gd name="f180" fmla="val 94"/>
                  <a:gd name="f181" fmla="val 305"/>
                  <a:gd name="f182" fmla="val 69"/>
                  <a:gd name="f183" fmla="val 61"/>
                  <a:gd name="f184" fmla="val 276"/>
                  <a:gd name="f185" fmla="val 264"/>
                  <a:gd name="f186" fmla="val 246"/>
                  <a:gd name="f187" fmla="val 41"/>
                  <a:gd name="f188" fmla="val 240"/>
                  <a:gd name="f189" fmla="val 35"/>
                  <a:gd name="f190" fmla="val 233"/>
                  <a:gd name="f191" fmla="val 228"/>
                  <a:gd name="f192" fmla="val 28"/>
                  <a:gd name="f193" fmla="val 215"/>
                  <a:gd name="f194" fmla="val 32"/>
                  <a:gd name="f195" fmla="val 40"/>
                  <a:gd name="f196" fmla="val 51"/>
                  <a:gd name="f197" fmla="val 190"/>
                  <a:gd name="f198" fmla="val 62"/>
                  <a:gd name="f199" fmla="val 176"/>
                  <a:gd name="f200" fmla="val 90"/>
                  <a:gd name="f201" fmla="val 140"/>
                  <a:gd name="f202" fmla="val 99"/>
                  <a:gd name="f203" fmla="val 98"/>
                  <a:gd name="f204" fmla="val 128"/>
                  <a:gd name="f205" fmla="val 119"/>
                  <a:gd name="f206" fmla="val 113"/>
                  <a:gd name="f207" fmla="val 106"/>
                  <a:gd name="f208" fmla="val 92"/>
                  <a:gd name="f209" fmla="val 85"/>
                  <a:gd name="f210" fmla="val 93"/>
                  <a:gd name="f211" fmla="val 65"/>
                  <a:gd name="f212" fmla="val 115"/>
                  <a:gd name="f213" fmla="val 21"/>
                  <a:gd name="f214" fmla="val 123"/>
                  <a:gd name="f215" fmla="val 131"/>
                  <a:gd name="f216" fmla="+- 0 0 -90"/>
                  <a:gd name="f217" fmla="*/ f3 1 383"/>
                  <a:gd name="f218" fmla="*/ f4 1 558"/>
                  <a:gd name="f219" fmla="+- f7 0 f5"/>
                  <a:gd name="f220" fmla="+- f6 0 f5"/>
                  <a:gd name="f221" fmla="*/ f216 f0 1"/>
                  <a:gd name="f222" fmla="*/ f220 1 383"/>
                  <a:gd name="f223" fmla="*/ f219 1 558"/>
                  <a:gd name="f224" fmla="*/ f221 1 f2"/>
                  <a:gd name="f225" fmla="*/ 149 1 f222"/>
                  <a:gd name="f226" fmla="*/ 8 1 f223"/>
                  <a:gd name="f227" fmla="*/ 175 1 f222"/>
                  <a:gd name="f228" fmla="*/ 39 1 f223"/>
                  <a:gd name="f229" fmla="*/ 206 1 f222"/>
                  <a:gd name="f230" fmla="*/ 57 1 f223"/>
                  <a:gd name="f231" fmla="*/ 249 1 f222"/>
                  <a:gd name="f232" fmla="*/ 54 1 f223"/>
                  <a:gd name="f233" fmla="*/ 294 1 f222"/>
                  <a:gd name="f234" fmla="*/ 68 1 f223"/>
                  <a:gd name="f235" fmla="*/ 311 1 f222"/>
                  <a:gd name="f236" fmla="*/ 146 1 f223"/>
                  <a:gd name="f237" fmla="*/ 290 1 f222"/>
                  <a:gd name="f238" fmla="*/ 174 1 f223"/>
                  <a:gd name="f239" fmla="*/ 269 1 f222"/>
                  <a:gd name="f240" fmla="*/ 196 1 f223"/>
                  <a:gd name="f241" fmla="*/ 287 1 f222"/>
                  <a:gd name="f242" fmla="*/ 208 1 f223"/>
                  <a:gd name="f243" fmla="*/ 309 1 f222"/>
                  <a:gd name="f244" fmla="*/ 200 1 f223"/>
                  <a:gd name="f245" fmla="*/ 352 1 f222"/>
                  <a:gd name="f246" fmla="*/ 205 1 f223"/>
                  <a:gd name="f247" fmla="*/ 369 1 f222"/>
                  <a:gd name="f248" fmla="*/ 248 1 f223"/>
                  <a:gd name="f249" fmla="*/ 315 1 f223"/>
                  <a:gd name="f250" fmla="*/ 373 1 f222"/>
                  <a:gd name="f251" fmla="*/ 336 1 f223"/>
                  <a:gd name="f252" fmla="*/ 383 1 f222"/>
                  <a:gd name="f253" fmla="*/ 350 1 f223"/>
                  <a:gd name="f254" fmla="*/ 380 1 f223"/>
                  <a:gd name="f255" fmla="*/ 325 1 f222"/>
                  <a:gd name="f256" fmla="*/ 426 1 f223"/>
                  <a:gd name="f257" fmla="*/ 308 1 f222"/>
                  <a:gd name="f258" fmla="*/ 427 1 f223"/>
                  <a:gd name="f259" fmla="*/ 282 1 f222"/>
                  <a:gd name="f260" fmla="*/ 433 1 f223"/>
                  <a:gd name="f261" fmla="*/ 265 1 f222"/>
                  <a:gd name="f262" fmla="*/ 454 1 f223"/>
                  <a:gd name="f263" fmla="*/ 238 1 f222"/>
                  <a:gd name="f264" fmla="*/ 461 1 f223"/>
                  <a:gd name="f265" fmla="*/ 213 1 f222"/>
                  <a:gd name="f266" fmla="*/ 438 1 f223"/>
                  <a:gd name="f267" fmla="*/ 177 1 f222"/>
                  <a:gd name="f268" fmla="*/ 447 1 f223"/>
                  <a:gd name="f269" fmla="*/ 162 1 f222"/>
                  <a:gd name="f270" fmla="*/ 505 1 f223"/>
                  <a:gd name="f271" fmla="*/ 135 1 f222"/>
                  <a:gd name="f272" fmla="*/ 531 1 f223"/>
                  <a:gd name="f273" fmla="*/ 79 1 f222"/>
                  <a:gd name="f274" fmla="*/ 551 1 f223"/>
                  <a:gd name="f275" fmla="*/ 54 1 f222"/>
                  <a:gd name="f276" fmla="*/ 556 1 f223"/>
                  <a:gd name="f277" fmla="*/ 39 1 f222"/>
                  <a:gd name="f278" fmla="*/ 527 1 f223"/>
                  <a:gd name="f279" fmla="*/ 19 1 f222"/>
                  <a:gd name="f280" fmla="*/ 519 1 f223"/>
                  <a:gd name="f281" fmla="*/ 14 1 f222"/>
                  <a:gd name="f282" fmla="*/ 504 1 f223"/>
                  <a:gd name="f283" fmla="*/ 0 1 f222"/>
                  <a:gd name="f284" fmla="*/ 491 1 f223"/>
                  <a:gd name="f285" fmla="*/ 23 1 f222"/>
                  <a:gd name="f286" fmla="*/ 472 1 f223"/>
                  <a:gd name="f287" fmla="*/ 59 1 f222"/>
                  <a:gd name="f288" fmla="*/ 455 1 f223"/>
                  <a:gd name="f289" fmla="*/ 84 1 f222"/>
                  <a:gd name="f290" fmla="*/ 434 1 f223"/>
                  <a:gd name="f291" fmla="*/ 408 1 f223"/>
                  <a:gd name="f292" fmla="*/ 57 1 f222"/>
                  <a:gd name="f293" fmla="*/ 372 1 f223"/>
                  <a:gd name="f294" fmla="*/ 82 1 f222"/>
                  <a:gd name="f295" fmla="*/ 362 1 f223"/>
                  <a:gd name="f296" fmla="*/ 88 1 f222"/>
                  <a:gd name="f297" fmla="*/ 332 1 f223"/>
                  <a:gd name="f298" fmla="*/ 97 1 f222"/>
                  <a:gd name="f299" fmla="*/ 312 1 f223"/>
                  <a:gd name="f300" fmla="*/ 77 1 f222"/>
                  <a:gd name="f301" fmla="*/ 294 1 f223"/>
                  <a:gd name="f302" fmla="*/ 58 1 f222"/>
                  <a:gd name="f303" fmla="*/ 264 1 f223"/>
                  <a:gd name="f304" fmla="*/ 41 1 f222"/>
                  <a:gd name="f305" fmla="*/ 240 1 f223"/>
                  <a:gd name="f306" fmla="*/ 28 1 f222"/>
                  <a:gd name="f307" fmla="*/ 215 1 f223"/>
                  <a:gd name="f308" fmla="*/ 46 1 f222"/>
                  <a:gd name="f309" fmla="*/ 192 1 f223"/>
                  <a:gd name="f310" fmla="*/ 62 1 f222"/>
                  <a:gd name="f311" fmla="*/ 90 1 f222"/>
                  <a:gd name="f312" fmla="*/ 149 1 f223"/>
                  <a:gd name="f313" fmla="*/ 98 1 f222"/>
                  <a:gd name="f314" fmla="*/ 128 1 f223"/>
                  <a:gd name="f315" fmla="*/ 106 1 f223"/>
                  <a:gd name="f316" fmla="*/ 93 1 f222"/>
                  <a:gd name="f317" fmla="*/ 75 1 f223"/>
                  <a:gd name="f318" fmla="*/ 46 1 f223"/>
                  <a:gd name="f319" fmla="*/ 131 1 f222"/>
                  <a:gd name="f320" fmla="*/ 3 1 f223"/>
                  <a:gd name="f321" fmla="*/ f6 1 f222"/>
                  <a:gd name="f322" fmla="*/ 0 1 f223"/>
                  <a:gd name="f323" fmla="*/ f7 1 f223"/>
                  <a:gd name="f324" fmla="+- f224 0 f1"/>
                  <a:gd name="f325" fmla="*/ f283 f217 1"/>
                  <a:gd name="f326" fmla="*/ f321 f217 1"/>
                  <a:gd name="f327" fmla="*/ f323 f218 1"/>
                  <a:gd name="f328" fmla="*/ f322 f218 1"/>
                  <a:gd name="f329" fmla="*/ f225 f217 1"/>
                  <a:gd name="f330" fmla="*/ f226 f218 1"/>
                  <a:gd name="f331" fmla="*/ f227 f217 1"/>
                  <a:gd name="f332" fmla="*/ f228 f218 1"/>
                  <a:gd name="f333" fmla="*/ f229 f217 1"/>
                  <a:gd name="f334" fmla="*/ f230 f218 1"/>
                  <a:gd name="f335" fmla="*/ f231 f217 1"/>
                  <a:gd name="f336" fmla="*/ f232 f218 1"/>
                  <a:gd name="f337" fmla="*/ f233 f217 1"/>
                  <a:gd name="f338" fmla="*/ f234 f218 1"/>
                  <a:gd name="f339" fmla="*/ f235 f217 1"/>
                  <a:gd name="f340" fmla="*/ f236 f218 1"/>
                  <a:gd name="f341" fmla="*/ f237 f217 1"/>
                  <a:gd name="f342" fmla="*/ f238 f218 1"/>
                  <a:gd name="f343" fmla="*/ f239 f217 1"/>
                  <a:gd name="f344" fmla="*/ f240 f218 1"/>
                  <a:gd name="f345" fmla="*/ f241 f217 1"/>
                  <a:gd name="f346" fmla="*/ f242 f218 1"/>
                  <a:gd name="f347" fmla="*/ f243 f217 1"/>
                  <a:gd name="f348" fmla="*/ f244 f218 1"/>
                  <a:gd name="f349" fmla="*/ f245 f217 1"/>
                  <a:gd name="f350" fmla="*/ f246 f218 1"/>
                  <a:gd name="f351" fmla="*/ f247 f217 1"/>
                  <a:gd name="f352" fmla="*/ f248 f218 1"/>
                  <a:gd name="f353" fmla="*/ f249 f218 1"/>
                  <a:gd name="f354" fmla="*/ f250 f217 1"/>
                  <a:gd name="f355" fmla="*/ f251 f218 1"/>
                  <a:gd name="f356" fmla="*/ f252 f217 1"/>
                  <a:gd name="f357" fmla="*/ f253 f218 1"/>
                  <a:gd name="f358" fmla="*/ f254 f218 1"/>
                  <a:gd name="f359" fmla="*/ f255 f217 1"/>
                  <a:gd name="f360" fmla="*/ f256 f218 1"/>
                  <a:gd name="f361" fmla="*/ f257 f217 1"/>
                  <a:gd name="f362" fmla="*/ f258 f218 1"/>
                  <a:gd name="f363" fmla="*/ f259 f217 1"/>
                  <a:gd name="f364" fmla="*/ f260 f218 1"/>
                  <a:gd name="f365" fmla="*/ f261 f217 1"/>
                  <a:gd name="f366" fmla="*/ f262 f218 1"/>
                  <a:gd name="f367" fmla="*/ f263 f217 1"/>
                  <a:gd name="f368" fmla="*/ f264 f218 1"/>
                  <a:gd name="f369" fmla="*/ f265 f217 1"/>
                  <a:gd name="f370" fmla="*/ f266 f218 1"/>
                  <a:gd name="f371" fmla="*/ f267 f217 1"/>
                  <a:gd name="f372" fmla="*/ f268 f218 1"/>
                  <a:gd name="f373" fmla="*/ f269 f217 1"/>
                  <a:gd name="f374" fmla="*/ f270 f218 1"/>
                  <a:gd name="f375" fmla="*/ f271 f217 1"/>
                  <a:gd name="f376" fmla="*/ f272 f218 1"/>
                  <a:gd name="f377" fmla="*/ f273 f217 1"/>
                  <a:gd name="f378" fmla="*/ f274 f218 1"/>
                  <a:gd name="f379" fmla="*/ f275 f217 1"/>
                  <a:gd name="f380" fmla="*/ f276 f218 1"/>
                  <a:gd name="f381" fmla="*/ f277 f217 1"/>
                  <a:gd name="f382" fmla="*/ f278 f218 1"/>
                  <a:gd name="f383" fmla="*/ f279 f217 1"/>
                  <a:gd name="f384" fmla="*/ f280 f218 1"/>
                  <a:gd name="f385" fmla="*/ f281 f217 1"/>
                  <a:gd name="f386" fmla="*/ f282 f218 1"/>
                  <a:gd name="f387" fmla="*/ f284 f218 1"/>
                  <a:gd name="f388" fmla="*/ f285 f217 1"/>
                  <a:gd name="f389" fmla="*/ f286 f218 1"/>
                  <a:gd name="f390" fmla="*/ f287 f217 1"/>
                  <a:gd name="f391" fmla="*/ f288 f218 1"/>
                  <a:gd name="f392" fmla="*/ f289 f217 1"/>
                  <a:gd name="f393" fmla="*/ f290 f218 1"/>
                  <a:gd name="f394" fmla="*/ f291 f218 1"/>
                  <a:gd name="f395" fmla="*/ f292 f217 1"/>
                  <a:gd name="f396" fmla="*/ f293 f218 1"/>
                  <a:gd name="f397" fmla="*/ f294 f217 1"/>
                  <a:gd name="f398" fmla="*/ f295 f218 1"/>
                  <a:gd name="f399" fmla="*/ f296 f217 1"/>
                  <a:gd name="f400" fmla="*/ f297 f218 1"/>
                  <a:gd name="f401" fmla="*/ f298 f217 1"/>
                  <a:gd name="f402" fmla="*/ f299 f218 1"/>
                  <a:gd name="f403" fmla="*/ f300 f217 1"/>
                  <a:gd name="f404" fmla="*/ f301 f218 1"/>
                  <a:gd name="f405" fmla="*/ f302 f217 1"/>
                  <a:gd name="f406" fmla="*/ f303 f218 1"/>
                  <a:gd name="f407" fmla="*/ f304 f217 1"/>
                  <a:gd name="f408" fmla="*/ f305 f218 1"/>
                  <a:gd name="f409" fmla="*/ f306 f217 1"/>
                  <a:gd name="f410" fmla="*/ f307 f218 1"/>
                  <a:gd name="f411" fmla="*/ f308 f217 1"/>
                  <a:gd name="f412" fmla="*/ f309 f218 1"/>
                  <a:gd name="f413" fmla="*/ f310 f217 1"/>
                  <a:gd name="f414" fmla="*/ f311 f217 1"/>
                  <a:gd name="f415" fmla="*/ f312 f218 1"/>
                  <a:gd name="f416" fmla="*/ f313 f217 1"/>
                  <a:gd name="f417" fmla="*/ f314 f218 1"/>
                  <a:gd name="f418" fmla="*/ f315 f218 1"/>
                  <a:gd name="f419" fmla="*/ f316 f217 1"/>
                  <a:gd name="f420" fmla="*/ f317 f218 1"/>
                  <a:gd name="f421" fmla="*/ f318 f218 1"/>
                  <a:gd name="f422" fmla="*/ f319 f217 1"/>
                  <a:gd name="f423" fmla="*/ f320 f21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4">
                    <a:pos x="f329" y="f330"/>
                  </a:cxn>
                  <a:cxn ang="f324">
                    <a:pos x="f331" y="f332"/>
                  </a:cxn>
                  <a:cxn ang="f324">
                    <a:pos x="f333" y="f334"/>
                  </a:cxn>
                  <a:cxn ang="f324">
                    <a:pos x="f335" y="f336"/>
                  </a:cxn>
                  <a:cxn ang="f324">
                    <a:pos x="f337" y="f338"/>
                  </a:cxn>
                  <a:cxn ang="f324">
                    <a:pos x="f339" y="f340"/>
                  </a:cxn>
                  <a:cxn ang="f324">
                    <a:pos x="f341" y="f342"/>
                  </a:cxn>
                  <a:cxn ang="f324">
                    <a:pos x="f343" y="f344"/>
                  </a:cxn>
                  <a:cxn ang="f324">
                    <a:pos x="f345" y="f346"/>
                  </a:cxn>
                  <a:cxn ang="f324">
                    <a:pos x="f347" y="f348"/>
                  </a:cxn>
                  <a:cxn ang="f324">
                    <a:pos x="f349" y="f350"/>
                  </a:cxn>
                  <a:cxn ang="f324">
                    <a:pos x="f351" y="f352"/>
                  </a:cxn>
                  <a:cxn ang="f324">
                    <a:pos x="f351" y="f353"/>
                  </a:cxn>
                  <a:cxn ang="f324">
                    <a:pos x="f354" y="f355"/>
                  </a:cxn>
                  <a:cxn ang="f324">
                    <a:pos x="f356" y="f357"/>
                  </a:cxn>
                  <a:cxn ang="f324">
                    <a:pos x="f354" y="f358"/>
                  </a:cxn>
                  <a:cxn ang="f324">
                    <a:pos x="f359" y="f360"/>
                  </a:cxn>
                  <a:cxn ang="f324">
                    <a:pos x="f361" y="f362"/>
                  </a:cxn>
                  <a:cxn ang="f324">
                    <a:pos x="f363" y="f364"/>
                  </a:cxn>
                  <a:cxn ang="f324">
                    <a:pos x="f365" y="f366"/>
                  </a:cxn>
                  <a:cxn ang="f324">
                    <a:pos x="f367" y="f368"/>
                  </a:cxn>
                  <a:cxn ang="f324">
                    <a:pos x="f369" y="f370"/>
                  </a:cxn>
                  <a:cxn ang="f324">
                    <a:pos x="f371" y="f372"/>
                  </a:cxn>
                  <a:cxn ang="f324">
                    <a:pos x="f373" y="f374"/>
                  </a:cxn>
                  <a:cxn ang="f324">
                    <a:pos x="f375" y="f376"/>
                  </a:cxn>
                  <a:cxn ang="f324">
                    <a:pos x="f377" y="f378"/>
                  </a:cxn>
                  <a:cxn ang="f324">
                    <a:pos x="f379" y="f380"/>
                  </a:cxn>
                  <a:cxn ang="f324">
                    <a:pos x="f381" y="f382"/>
                  </a:cxn>
                  <a:cxn ang="f324">
                    <a:pos x="f383" y="f384"/>
                  </a:cxn>
                  <a:cxn ang="f324">
                    <a:pos x="f385" y="f386"/>
                  </a:cxn>
                  <a:cxn ang="f324">
                    <a:pos x="f325" y="f387"/>
                  </a:cxn>
                  <a:cxn ang="f324">
                    <a:pos x="f388" y="f389"/>
                  </a:cxn>
                  <a:cxn ang="f324">
                    <a:pos x="f390" y="f391"/>
                  </a:cxn>
                  <a:cxn ang="f324">
                    <a:pos x="f392" y="f393"/>
                  </a:cxn>
                  <a:cxn ang="f324">
                    <a:pos x="f392" y="f394"/>
                  </a:cxn>
                  <a:cxn ang="f324">
                    <a:pos x="f395" y="f396"/>
                  </a:cxn>
                  <a:cxn ang="f324">
                    <a:pos x="f397" y="f398"/>
                  </a:cxn>
                  <a:cxn ang="f324">
                    <a:pos x="f399" y="f400"/>
                  </a:cxn>
                  <a:cxn ang="f324">
                    <a:pos x="f401" y="f402"/>
                  </a:cxn>
                  <a:cxn ang="f324">
                    <a:pos x="f403" y="f404"/>
                  </a:cxn>
                  <a:cxn ang="f324">
                    <a:pos x="f405" y="f406"/>
                  </a:cxn>
                  <a:cxn ang="f324">
                    <a:pos x="f407" y="f408"/>
                  </a:cxn>
                  <a:cxn ang="f324">
                    <a:pos x="f409" y="f410"/>
                  </a:cxn>
                  <a:cxn ang="f324">
                    <a:pos x="f411" y="f412"/>
                  </a:cxn>
                  <a:cxn ang="f324">
                    <a:pos x="f413" y="f412"/>
                  </a:cxn>
                  <a:cxn ang="f324">
                    <a:pos x="f414" y="f415"/>
                  </a:cxn>
                  <a:cxn ang="f324">
                    <a:pos x="f416" y="f417"/>
                  </a:cxn>
                  <a:cxn ang="f324">
                    <a:pos x="f414" y="f418"/>
                  </a:cxn>
                  <a:cxn ang="f324">
                    <a:pos x="f419" y="f420"/>
                  </a:cxn>
                  <a:cxn ang="f324">
                    <a:pos x="f416" y="f421"/>
                  </a:cxn>
                  <a:cxn ang="f324">
                    <a:pos x="f422" y="f423"/>
                  </a:cxn>
                </a:cxnLst>
                <a:rect l="f325" t="f328" r="f326" b="f327"/>
                <a:pathLst>
                  <a:path w="383" h="558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2"/>
                    </a:lnTo>
                    <a:lnTo>
                      <a:pt x="f26" y="f27"/>
                    </a:lnTo>
                    <a:lnTo>
                      <a:pt x="f28" y="f22"/>
                    </a:lnTo>
                    <a:lnTo>
                      <a:pt x="f29" y="f24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6" y="f38"/>
                    </a:lnTo>
                    <a:lnTo>
                      <a:pt x="f39" y="f13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30" y="f2"/>
                    </a:lnTo>
                    <a:lnTo>
                      <a:pt x="f44" y="f45"/>
                    </a:lnTo>
                    <a:lnTo>
                      <a:pt x="f44" y="f46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58"/>
                    </a:lnTo>
                    <a:lnTo>
                      <a:pt x="f62" y="f54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69" y="f71"/>
                    </a:lnTo>
                    <a:lnTo>
                      <a:pt x="f67" y="f72"/>
                    </a:lnTo>
                    <a:lnTo>
                      <a:pt x="f67" y="f73"/>
                    </a:lnTo>
                    <a:lnTo>
                      <a:pt x="f69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6" y="f81"/>
                    </a:lnTo>
                    <a:lnTo>
                      <a:pt x="f79" y="f63"/>
                    </a:lnTo>
                    <a:lnTo>
                      <a:pt x="f82" y="f83"/>
                    </a:lnTo>
                    <a:lnTo>
                      <a:pt x="f75" y="f82"/>
                    </a:lnTo>
                    <a:lnTo>
                      <a:pt x="f84" y="f85"/>
                    </a:lnTo>
                    <a:lnTo>
                      <a:pt x="f62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72" y="f90"/>
                    </a:lnTo>
                    <a:lnTo>
                      <a:pt x="f39" y="f91"/>
                    </a:lnTo>
                    <a:lnTo>
                      <a:pt x="f92" y="f91"/>
                    </a:lnTo>
                    <a:lnTo>
                      <a:pt x="f51" y="f90"/>
                    </a:lnTo>
                    <a:lnTo>
                      <a:pt x="f49" y="f93"/>
                    </a:lnTo>
                    <a:lnTo>
                      <a:pt x="f30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66" y="f105"/>
                    </a:lnTo>
                    <a:lnTo>
                      <a:pt x="f106" y="f107"/>
                    </a:lnTo>
                    <a:lnTo>
                      <a:pt x="f108" y="f94"/>
                    </a:lnTo>
                    <a:lnTo>
                      <a:pt x="f60" y="f109"/>
                    </a:lnTo>
                    <a:lnTo>
                      <a:pt x="f110" y="f111"/>
                    </a:lnTo>
                    <a:lnTo>
                      <a:pt x="f112" y="f96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119" y="f120"/>
                    </a:lnTo>
                    <a:lnTo>
                      <a:pt x="f121" y="f122"/>
                    </a:lnTo>
                    <a:lnTo>
                      <a:pt x="f123" y="f124"/>
                    </a:lnTo>
                    <a:lnTo>
                      <a:pt x="f125" y="f126"/>
                    </a:ln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7"/>
                    </a:lnTo>
                    <a:lnTo>
                      <a:pt x="f132" y="f7"/>
                    </a:lnTo>
                    <a:lnTo>
                      <a:pt x="f22" y="f133"/>
                    </a:ln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8" y="f138"/>
                    </a:lnTo>
                    <a:lnTo>
                      <a:pt x="f139" y="f122"/>
                    </a:lnTo>
                    <a:lnTo>
                      <a:pt x="f14" y="f140"/>
                    </a:lnTo>
                    <a:lnTo>
                      <a:pt x="f141" y="f142"/>
                    </a:lnTo>
                    <a:lnTo>
                      <a:pt x="f141" y="f143"/>
                    </a:lnTo>
                    <a:lnTo>
                      <a:pt x="f14" y="f144"/>
                    </a:lnTo>
                    <a:lnTo>
                      <a:pt x="f145" y="f146"/>
                    </a:lnTo>
                    <a:lnTo>
                      <a:pt x="f147" y="f148"/>
                    </a:lnTo>
                    <a:lnTo>
                      <a:pt x="f10" y="f149"/>
                    </a:lnTo>
                    <a:lnTo>
                      <a:pt x="f5" y="f150"/>
                    </a:lnTo>
                    <a:lnTo>
                      <a:pt x="f1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34" y="f114"/>
                    </a:lnTo>
                    <a:lnTo>
                      <a:pt x="f158" y="f159"/>
                    </a:lnTo>
                    <a:lnTo>
                      <a:pt x="f33" y="f160"/>
                    </a:lnTo>
                    <a:lnTo>
                      <a:pt x="f161" y="f107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4" y="f166"/>
                    </a:lnTo>
                    <a:lnTo>
                      <a:pt x="f162" y="f167"/>
                    </a:lnTo>
                    <a:lnTo>
                      <a:pt x="f161" y="f86"/>
                    </a:lnTo>
                    <a:lnTo>
                      <a:pt x="f33" y="f168"/>
                    </a:lnTo>
                    <a:lnTo>
                      <a:pt x="f24" y="f169"/>
                    </a:lnTo>
                    <a:lnTo>
                      <a:pt x="f33" y="f65"/>
                    </a:lnTo>
                    <a:lnTo>
                      <a:pt x="f170" y="f171"/>
                    </a:lnTo>
                    <a:lnTo>
                      <a:pt x="f37" y="f172"/>
                    </a:lnTo>
                    <a:lnTo>
                      <a:pt x="f173" y="f174"/>
                    </a:lnTo>
                    <a:lnTo>
                      <a:pt x="f164" y="f175"/>
                    </a:lnTo>
                    <a:lnTo>
                      <a:pt x="f164" y="f74"/>
                    </a:lnTo>
                    <a:lnTo>
                      <a:pt x="f176" y="f177"/>
                    </a:lnTo>
                    <a:lnTo>
                      <a:pt x="f178" y="f89"/>
                    </a:lnTo>
                    <a:lnTo>
                      <a:pt x="f127" y="f179"/>
                    </a:lnTo>
                    <a:lnTo>
                      <a:pt x="f180" y="f181"/>
                    </a:lnTo>
                    <a:lnTo>
                      <a:pt x="f173" y="f55"/>
                    </a:lnTo>
                    <a:lnTo>
                      <a:pt x="f161" y="f32"/>
                    </a:lnTo>
                    <a:lnTo>
                      <a:pt x="f182" y="f51"/>
                    </a:lnTo>
                    <a:lnTo>
                      <a:pt x="f183" y="f184"/>
                    </a:lnTo>
                    <a:lnTo>
                      <a:pt x="f131" y="f185"/>
                    </a:lnTo>
                    <a:lnTo>
                      <a:pt x="f132" y="f99"/>
                    </a:lnTo>
                    <a:lnTo>
                      <a:pt x="f134" y="f186"/>
                    </a:lnTo>
                    <a:lnTo>
                      <a:pt x="f187" y="f188"/>
                    </a:lnTo>
                    <a:lnTo>
                      <a:pt x="f189" y="f190"/>
                    </a:lnTo>
                    <a:lnTo>
                      <a:pt x="f139" y="f191"/>
                    </a:lnTo>
                    <a:lnTo>
                      <a:pt x="f192" y="f193"/>
                    </a:lnTo>
                    <a:lnTo>
                      <a:pt x="f194" y="f54"/>
                    </a:lnTo>
                    <a:lnTo>
                      <a:pt x="f195" y="f46"/>
                    </a:lnTo>
                    <a:lnTo>
                      <a:pt x="f136" y="f21"/>
                    </a:lnTo>
                    <a:lnTo>
                      <a:pt x="f196" y="f197"/>
                    </a:lnTo>
                    <a:lnTo>
                      <a:pt x="f24" y="f21"/>
                    </a:lnTo>
                    <a:lnTo>
                      <a:pt x="f198" y="f21"/>
                    </a:lnTo>
                    <a:lnTo>
                      <a:pt x="f182" y="f45"/>
                    </a:lnTo>
                    <a:lnTo>
                      <a:pt x="f170" y="f199"/>
                    </a:lnTo>
                    <a:lnTo>
                      <a:pt x="f200" y="f11"/>
                    </a:lnTo>
                    <a:lnTo>
                      <a:pt x="f127" y="f201"/>
                    </a:lnTo>
                    <a:lnTo>
                      <a:pt x="f202" y="f123"/>
                    </a:lnTo>
                    <a:lnTo>
                      <a:pt x="f203" y="f204"/>
                    </a:lnTo>
                    <a:lnTo>
                      <a:pt x="f180" y="f205"/>
                    </a:lnTo>
                    <a:lnTo>
                      <a:pt x="f176" y="f206"/>
                    </a:lnTo>
                    <a:lnTo>
                      <a:pt x="f200" y="f207"/>
                    </a:lnTo>
                    <a:lnTo>
                      <a:pt x="f127" y="f208"/>
                    </a:lnTo>
                    <a:lnTo>
                      <a:pt x="f127" y="f209"/>
                    </a:lnTo>
                    <a:lnTo>
                      <a:pt x="f210" y="f35"/>
                    </a:lnTo>
                    <a:lnTo>
                      <a:pt x="f176" y="f211"/>
                    </a:lnTo>
                    <a:lnTo>
                      <a:pt x="f210" y="f24"/>
                    </a:lnTo>
                    <a:lnTo>
                      <a:pt x="f203" y="f136"/>
                    </a:lnTo>
                    <a:lnTo>
                      <a:pt x="f212" y="f213"/>
                    </a:lnTo>
                    <a:lnTo>
                      <a:pt x="f214" y="f152"/>
                    </a:lnTo>
                    <a:lnTo>
                      <a:pt x="f215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48" name="Freeform 10">
                <a:extLst>
                  <a:ext uri="{FF2B5EF4-FFF2-40B4-BE49-F238E27FC236}">
                    <a16:creationId xmlns:a16="http://schemas.microsoft.com/office/drawing/2014/main" id="{858A1E8E-9D61-42C6-A926-63DC607B9E55}"/>
                  </a:ext>
                </a:extLst>
              </p:cNvPr>
              <p:cNvSpPr/>
              <p:nvPr/>
            </p:nvSpPr>
            <p:spPr>
              <a:xfrm>
                <a:off x="4307729" y="2639443"/>
                <a:ext cx="261106" cy="237981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574"/>
                  <a:gd name="f7" fmla="val 1462"/>
                  <a:gd name="f8" fmla="val 658"/>
                  <a:gd name="f9" fmla="val 660"/>
                  <a:gd name="f10" fmla="val 3"/>
                  <a:gd name="f11" fmla="val 663"/>
                  <a:gd name="f12" fmla="val 7"/>
                  <a:gd name="f13" fmla="val 666"/>
                  <a:gd name="f14" fmla="val 10"/>
                  <a:gd name="f15" fmla="val 669"/>
                  <a:gd name="f16" fmla="val 16"/>
                  <a:gd name="f17" fmla="val 20"/>
                  <a:gd name="f18" fmla="val 667"/>
                  <a:gd name="f19" fmla="val 30"/>
                  <a:gd name="f20" fmla="val 662"/>
                  <a:gd name="f21" fmla="val 38"/>
                  <a:gd name="f22" fmla="val 656"/>
                  <a:gd name="f23" fmla="val 48"/>
                  <a:gd name="f24" fmla="val 647"/>
                  <a:gd name="f25" fmla="val 53"/>
                  <a:gd name="f26" fmla="val 635"/>
                  <a:gd name="f27" fmla="val 56"/>
                  <a:gd name="f28" fmla="val 623"/>
                  <a:gd name="f29" fmla="val 59"/>
                  <a:gd name="f30" fmla="val 612"/>
                  <a:gd name="f31" fmla="val 66"/>
                  <a:gd name="f32" fmla="val 601"/>
                  <a:gd name="f33" fmla="val 75"/>
                  <a:gd name="f34" fmla="val 593"/>
                  <a:gd name="f35" fmla="val 85"/>
                  <a:gd name="f36" fmla="val 587"/>
                  <a:gd name="f37" fmla="val 92"/>
                  <a:gd name="f38" fmla="val 580"/>
                  <a:gd name="f39" fmla="val 96"/>
                  <a:gd name="f40" fmla="val 572"/>
                  <a:gd name="f41" fmla="val 100"/>
                  <a:gd name="f42" fmla="val 561"/>
                  <a:gd name="f43" fmla="val 103"/>
                  <a:gd name="f44" fmla="val 553"/>
                  <a:gd name="f45" fmla="val 106"/>
                  <a:gd name="f46" fmla="val 546"/>
                  <a:gd name="f47" fmla="val 111"/>
                  <a:gd name="f48" fmla="val 539"/>
                  <a:gd name="f49" fmla="val 120"/>
                  <a:gd name="f50" fmla="val 524"/>
                  <a:gd name="f51" fmla="val 135"/>
                  <a:gd name="f52" fmla="val 517"/>
                  <a:gd name="f53" fmla="val 138"/>
                  <a:gd name="f54" fmla="val 511"/>
                  <a:gd name="f55" fmla="val 141"/>
                  <a:gd name="f56" fmla="val 501"/>
                  <a:gd name="f57" fmla="val 145"/>
                  <a:gd name="f58" fmla="val 490"/>
                  <a:gd name="f59" fmla="val 150"/>
                  <a:gd name="f60" fmla="val 479"/>
                  <a:gd name="f61" fmla="val 157"/>
                  <a:gd name="f62" fmla="val 467"/>
                  <a:gd name="f63" fmla="val 166"/>
                  <a:gd name="f64" fmla="val 181"/>
                  <a:gd name="f65" fmla="val 471"/>
                  <a:gd name="f66" fmla="val 190"/>
                  <a:gd name="f67" fmla="val 475"/>
                  <a:gd name="f68" fmla="val 199"/>
                  <a:gd name="f69" fmla="val 482"/>
                  <a:gd name="f70" fmla="val 203"/>
                  <a:gd name="f71" fmla="val 503"/>
                  <a:gd name="f72" fmla="val 507"/>
                  <a:gd name="f73" fmla="val 207"/>
                  <a:gd name="f74" fmla="val 510"/>
                  <a:gd name="f75" fmla="val 214"/>
                  <a:gd name="f76" fmla="val 224"/>
                  <a:gd name="f77" fmla="val 508"/>
                  <a:gd name="f78" fmla="val 232"/>
                  <a:gd name="f79" fmla="val 239"/>
                  <a:gd name="f80" fmla="val 243"/>
                  <a:gd name="f81" fmla="val 515"/>
                  <a:gd name="f82" fmla="val 245"/>
                  <a:gd name="f83" fmla="val 525"/>
                  <a:gd name="f84" fmla="val 242"/>
                  <a:gd name="f85" fmla="val 535"/>
                  <a:gd name="f86" fmla="val 235"/>
                  <a:gd name="f87" fmla="val 227"/>
                  <a:gd name="f88" fmla="val 554"/>
                  <a:gd name="f89" fmla="val 218"/>
                  <a:gd name="f90" fmla="val 560"/>
                  <a:gd name="f91" fmla="val 211"/>
                  <a:gd name="f92" fmla="val 565"/>
                  <a:gd name="f93" fmla="val 204"/>
                  <a:gd name="f94" fmla="val 590"/>
                  <a:gd name="f95" fmla="val 594"/>
                  <a:gd name="f96" fmla="val 206"/>
                  <a:gd name="f97" fmla="val 591"/>
                  <a:gd name="f98" fmla="val 228"/>
                  <a:gd name="f99" fmla="val 231"/>
                  <a:gd name="f100" fmla="val 598"/>
                  <a:gd name="f101" fmla="val 605"/>
                  <a:gd name="f102" fmla="val 233"/>
                  <a:gd name="f103" fmla="val 611"/>
                  <a:gd name="f104" fmla="val 236"/>
                  <a:gd name="f105" fmla="val 613"/>
                  <a:gd name="f106" fmla="val 249"/>
                  <a:gd name="f107" fmla="val 604"/>
                  <a:gd name="f108" fmla="val 256"/>
                  <a:gd name="f109" fmla="val 258"/>
                  <a:gd name="f110" fmla="val 583"/>
                  <a:gd name="f111" fmla="val 257"/>
                  <a:gd name="f112" fmla="val 564"/>
                  <a:gd name="f113" fmla="val 558"/>
                  <a:gd name="f114" fmla="val 264"/>
                  <a:gd name="f115" fmla="val 550"/>
                  <a:gd name="f116" fmla="val 281"/>
                  <a:gd name="f117" fmla="val 286"/>
                  <a:gd name="f118" fmla="val 544"/>
                  <a:gd name="f119" fmla="val 288"/>
                  <a:gd name="f120" fmla="val 289"/>
                  <a:gd name="f121" fmla="val 548"/>
                  <a:gd name="f122" fmla="val 293"/>
                  <a:gd name="f123" fmla="val 296"/>
                  <a:gd name="f124" fmla="val 555"/>
                  <a:gd name="f125" fmla="val 297"/>
                  <a:gd name="f126" fmla="val 301"/>
                  <a:gd name="f127" fmla="val 307"/>
                  <a:gd name="f128" fmla="val 311"/>
                  <a:gd name="f129" fmla="val 532"/>
                  <a:gd name="f130" fmla="val 313"/>
                  <a:gd name="f131" fmla="val 522"/>
                  <a:gd name="f132" fmla="val 306"/>
                  <a:gd name="f133" fmla="val 497"/>
                  <a:gd name="f134" fmla="val 496"/>
                  <a:gd name="f135" fmla="val 310"/>
                  <a:gd name="f136" fmla="val 325"/>
                  <a:gd name="f137" fmla="val 333"/>
                  <a:gd name="f138" fmla="val 500"/>
                  <a:gd name="f139" fmla="val 342"/>
                  <a:gd name="f140" fmla="val 504"/>
                  <a:gd name="f141" fmla="val 346"/>
                  <a:gd name="f142" fmla="val 521"/>
                  <a:gd name="f143" fmla="val 537"/>
                  <a:gd name="f144" fmla="val 331"/>
                  <a:gd name="f145" fmla="val 326"/>
                  <a:gd name="f146" fmla="val 551"/>
                  <a:gd name="f147" fmla="val 332"/>
                  <a:gd name="f148" fmla="val 350"/>
                  <a:gd name="f149" fmla="val 357"/>
                  <a:gd name="f150" fmla="val 362"/>
                  <a:gd name="f151" fmla="val 562"/>
                  <a:gd name="f152" fmla="val 365"/>
                  <a:gd name="f153" fmla="val 571"/>
                  <a:gd name="f154" fmla="val 367"/>
                  <a:gd name="f155" fmla="val 364"/>
                  <a:gd name="f156" fmla="val 361"/>
                  <a:gd name="f157" fmla="val 354"/>
                  <a:gd name="f158" fmla="val 586"/>
                  <a:gd name="f159" fmla="val 339"/>
                  <a:gd name="f160" fmla="val 582"/>
                  <a:gd name="f161" fmla="val 328"/>
                  <a:gd name="f162" fmla="val 324"/>
                  <a:gd name="f163" fmla="val 319"/>
                  <a:gd name="f164" fmla="val 315"/>
                  <a:gd name="f165" fmla="val 615"/>
                  <a:gd name="f166" fmla="val 626"/>
                  <a:gd name="f167" fmla="val 303"/>
                  <a:gd name="f168" fmla="val 295"/>
                  <a:gd name="f169" fmla="val 638"/>
                  <a:gd name="f170" fmla="val 285"/>
                  <a:gd name="f171" fmla="val 641"/>
                  <a:gd name="f172" fmla="val 272"/>
                  <a:gd name="f173" fmla="val 649"/>
                  <a:gd name="f174" fmla="val 260"/>
                  <a:gd name="f175" fmla="val 659"/>
                  <a:gd name="f176" fmla="val 250"/>
                  <a:gd name="f177" fmla="val 676"/>
                  <a:gd name="f178" fmla="val 680"/>
                  <a:gd name="f179" fmla="val 685"/>
                  <a:gd name="f180" fmla="val 692"/>
                  <a:gd name="f181" fmla="val 247"/>
                  <a:gd name="f182" fmla="val 700"/>
                  <a:gd name="f183" fmla="val 253"/>
                  <a:gd name="f184" fmla="val 713"/>
                  <a:gd name="f185" fmla="val 254"/>
                  <a:gd name="f186" fmla="val 724"/>
                  <a:gd name="f187" fmla="val 738"/>
                  <a:gd name="f188" fmla="val 753"/>
                  <a:gd name="f189" fmla="val 770"/>
                  <a:gd name="f190" fmla="val 797"/>
                  <a:gd name="f191" fmla="val 805"/>
                  <a:gd name="f192" fmla="val 808"/>
                  <a:gd name="f193" fmla="val 252"/>
                  <a:gd name="f194" fmla="val 804"/>
                  <a:gd name="f195" fmla="val 781"/>
                  <a:gd name="f196" fmla="val 240"/>
                  <a:gd name="f197" fmla="val 776"/>
                  <a:gd name="f198" fmla="val 778"/>
                  <a:gd name="f199" fmla="val 782"/>
                  <a:gd name="f200" fmla="val 786"/>
                  <a:gd name="f201" fmla="val 790"/>
                  <a:gd name="f202" fmla="val 229"/>
                  <a:gd name="f203" fmla="val 793"/>
                  <a:gd name="f204" fmla="val 796"/>
                  <a:gd name="f205" fmla="val 225"/>
                  <a:gd name="f206" fmla="val 222"/>
                  <a:gd name="f207" fmla="val 220"/>
                  <a:gd name="f208" fmla="val 215"/>
                  <a:gd name="f209" fmla="val 789"/>
                  <a:gd name="f210" fmla="val 783"/>
                  <a:gd name="f211" fmla="val 192"/>
                  <a:gd name="f212" fmla="val 775"/>
                  <a:gd name="f213" fmla="val 184"/>
                  <a:gd name="f214" fmla="val 177"/>
                  <a:gd name="f215" fmla="val 765"/>
                  <a:gd name="f216" fmla="val 167"/>
                  <a:gd name="f217" fmla="val 760"/>
                  <a:gd name="f218" fmla="val 156"/>
                  <a:gd name="f219" fmla="val 752"/>
                  <a:gd name="f220" fmla="val 146"/>
                  <a:gd name="f221" fmla="val 743"/>
                  <a:gd name="f222" fmla="val 142"/>
                  <a:gd name="f223" fmla="val 735"/>
                  <a:gd name="f224" fmla="val 139"/>
                  <a:gd name="f225" fmla="val 728"/>
                  <a:gd name="f226" fmla="val 723"/>
                  <a:gd name="f227" fmla="val 129"/>
                  <a:gd name="f228" fmla="val 720"/>
                  <a:gd name="f229" fmla="val 121"/>
                  <a:gd name="f230" fmla="val 721"/>
                  <a:gd name="f231" fmla="val 104"/>
                  <a:gd name="f232" fmla="val 98"/>
                  <a:gd name="f233" fmla="val 89"/>
                  <a:gd name="f234" fmla="val 80"/>
                  <a:gd name="f235" fmla="val 709"/>
                  <a:gd name="f236" fmla="val 73"/>
                  <a:gd name="f237" fmla="val 710"/>
                  <a:gd name="f238" fmla="val 68"/>
                  <a:gd name="f239" fmla="val 714"/>
                  <a:gd name="f240" fmla="val 67"/>
                  <a:gd name="f241" fmla="val 729"/>
                  <a:gd name="f242" fmla="val 761"/>
                  <a:gd name="f243" fmla="val 64"/>
                  <a:gd name="f244" fmla="val 772"/>
                  <a:gd name="f245" fmla="val 785"/>
                  <a:gd name="f246" fmla="val 49"/>
                  <a:gd name="f247" fmla="val 811"/>
                  <a:gd name="f248" fmla="val 816"/>
                  <a:gd name="f249" fmla="val 61"/>
                  <a:gd name="f250" fmla="val 823"/>
                  <a:gd name="f251" fmla="val 71"/>
                  <a:gd name="f252" fmla="val 830"/>
                  <a:gd name="f253" fmla="val 82"/>
                  <a:gd name="f254" fmla="val 839"/>
                  <a:gd name="f255" fmla="val 93"/>
                  <a:gd name="f256" fmla="val 848"/>
                  <a:gd name="f257" fmla="val 859"/>
                  <a:gd name="f258" fmla="val 879"/>
                  <a:gd name="f259" fmla="val 102"/>
                  <a:gd name="f260" fmla="val 899"/>
                  <a:gd name="f261" fmla="val 917"/>
                  <a:gd name="f262" fmla="val 91"/>
                  <a:gd name="f263" fmla="val 934"/>
                  <a:gd name="f264" fmla="val 84"/>
                  <a:gd name="f265" fmla="val 944"/>
                  <a:gd name="f266" fmla="val 946"/>
                  <a:gd name="f267" fmla="val 86"/>
                  <a:gd name="f268" fmla="val 948"/>
                  <a:gd name="f269" fmla="val 945"/>
                  <a:gd name="f270" fmla="val 113"/>
                  <a:gd name="f271" fmla="val 942"/>
                  <a:gd name="f272" fmla="val 132"/>
                  <a:gd name="f273" fmla="val 952"/>
                  <a:gd name="f274" fmla="val 956"/>
                  <a:gd name="f275" fmla="val 153"/>
                  <a:gd name="f276" fmla="val 959"/>
                  <a:gd name="f277" fmla="val 161"/>
                  <a:gd name="f278" fmla="val 966"/>
                  <a:gd name="f279" fmla="val 172"/>
                  <a:gd name="f280" fmla="val 973"/>
                  <a:gd name="f281" fmla="val 185"/>
                  <a:gd name="f282" fmla="val 986"/>
                  <a:gd name="f283" fmla="val 213"/>
                  <a:gd name="f284" fmla="val 991"/>
                  <a:gd name="f285" fmla="val 992"/>
                  <a:gd name="f286" fmla="val 996"/>
                  <a:gd name="f287" fmla="val 1007"/>
                  <a:gd name="f288" fmla="val 1011"/>
                  <a:gd name="f289" fmla="val 290"/>
                  <a:gd name="f290" fmla="val 1009"/>
                  <a:gd name="f291" fmla="val 1003"/>
                  <a:gd name="f292" fmla="val 989"/>
                  <a:gd name="f293" fmla="val 988"/>
                  <a:gd name="f294" fmla="val 338"/>
                  <a:gd name="f295" fmla="val 344"/>
                  <a:gd name="f296" fmla="val 1002"/>
                  <a:gd name="f297" fmla="val 1000"/>
                  <a:gd name="f298" fmla="val 379"/>
                  <a:gd name="f299" fmla="val 392"/>
                  <a:gd name="f300" fmla="val 401"/>
                  <a:gd name="f301" fmla="val 408"/>
                  <a:gd name="f302" fmla="val 414"/>
                  <a:gd name="f303" fmla="val 421"/>
                  <a:gd name="f304" fmla="val 999"/>
                  <a:gd name="f305" fmla="val 429"/>
                  <a:gd name="f306" fmla="val 1013"/>
                  <a:gd name="f307" fmla="val 448"/>
                  <a:gd name="f308" fmla="val 1017"/>
                  <a:gd name="f309" fmla="val 455"/>
                  <a:gd name="f310" fmla="val 468"/>
                  <a:gd name="f311" fmla="val 1020"/>
                  <a:gd name="f312" fmla="val 473"/>
                  <a:gd name="f313" fmla="val 1024"/>
                  <a:gd name="f314" fmla="val 478"/>
                  <a:gd name="f315" fmla="val 1029"/>
                  <a:gd name="f316" fmla="val 1036"/>
                  <a:gd name="f317" fmla="val 476"/>
                  <a:gd name="f318" fmla="val 1042"/>
                  <a:gd name="f319" fmla="val 1047"/>
                  <a:gd name="f320" fmla="val 472"/>
                  <a:gd name="f321" fmla="val 1054"/>
                  <a:gd name="f322" fmla="val 1060"/>
                  <a:gd name="f323" fmla="val 485"/>
                  <a:gd name="f324" fmla="val 1065"/>
                  <a:gd name="f325" fmla="val 1067"/>
                  <a:gd name="f326" fmla="val 1064"/>
                  <a:gd name="f327" fmla="val 523"/>
                  <a:gd name="f328" fmla="val 1058"/>
                  <a:gd name="f329" fmla="val 1039"/>
                  <a:gd name="f330" fmla="val 569"/>
                  <a:gd name="f331" fmla="val 995"/>
                  <a:gd name="f332" fmla="val 993"/>
                  <a:gd name="f333" fmla="val 997"/>
                  <a:gd name="f334" fmla="val 620"/>
                  <a:gd name="f335" fmla="val 630"/>
                  <a:gd name="f336" fmla="val 639"/>
                  <a:gd name="f337" fmla="val 984"/>
                  <a:gd name="f338" fmla="val 654"/>
                  <a:gd name="f339" fmla="val 978"/>
                  <a:gd name="f340" fmla="val 661"/>
                  <a:gd name="f341" fmla="val 982"/>
                  <a:gd name="f342" fmla="val 679"/>
                  <a:gd name="f343" fmla="val 688"/>
                  <a:gd name="f344" fmla="val 985"/>
                  <a:gd name="f345" fmla="val 712"/>
                  <a:gd name="f346" fmla="val 722"/>
                  <a:gd name="f347" fmla="val 1026"/>
                  <a:gd name="f348" fmla="val 745"/>
                  <a:gd name="f349" fmla="val 1053"/>
                  <a:gd name="f350" fmla="val 1061"/>
                  <a:gd name="f351" fmla="val 762"/>
                  <a:gd name="f352" fmla="val 1068"/>
                  <a:gd name="f353" fmla="val 774"/>
                  <a:gd name="f354" fmla="val 1076"/>
                  <a:gd name="f355" fmla="val 1083"/>
                  <a:gd name="f356" fmla="val 802"/>
                  <a:gd name="f357" fmla="val 1090"/>
                  <a:gd name="f358" fmla="val 810"/>
                  <a:gd name="f359" fmla="val 1097"/>
                  <a:gd name="f360" fmla="val 812"/>
                  <a:gd name="f361" fmla="val 1107"/>
                  <a:gd name="f362" fmla="val 809"/>
                  <a:gd name="f363" fmla="val 1115"/>
                  <a:gd name="f364" fmla="val 1125"/>
                  <a:gd name="f365" fmla="val 798"/>
                  <a:gd name="f366" fmla="val 1131"/>
                  <a:gd name="f367" fmla="val 795"/>
                  <a:gd name="f368" fmla="val 1140"/>
                  <a:gd name="f369" fmla="val 794"/>
                  <a:gd name="f370" fmla="val 1152"/>
                  <a:gd name="f371" fmla="val 1167"/>
                  <a:gd name="f372" fmla="val 1181"/>
                  <a:gd name="f373" fmla="val 1192"/>
                  <a:gd name="f374" fmla="val 1198"/>
                  <a:gd name="f375" fmla="val 1201"/>
                  <a:gd name="f376" fmla="val 801"/>
                  <a:gd name="f377" fmla="val 1202"/>
                  <a:gd name="f378" fmla="val 1209"/>
                  <a:gd name="f379" fmla="val 1217"/>
                  <a:gd name="f380" fmla="val 813"/>
                  <a:gd name="f381" fmla="val 1227"/>
                  <a:gd name="f382" fmla="val 815"/>
                  <a:gd name="f383" fmla="val 1234"/>
                  <a:gd name="f384" fmla="val 817"/>
                  <a:gd name="f385" fmla="val 1239"/>
                  <a:gd name="f386" fmla="val 822"/>
                  <a:gd name="f387" fmla="val 1249"/>
                  <a:gd name="f388" fmla="val 827"/>
                  <a:gd name="f389" fmla="val 1264"/>
                  <a:gd name="f390" fmla="val 834"/>
                  <a:gd name="f391" fmla="val 1278"/>
                  <a:gd name="f392" fmla="val 838"/>
                  <a:gd name="f393" fmla="val 1288"/>
                  <a:gd name="f394" fmla="val 1294"/>
                  <a:gd name="f395" fmla="val 835"/>
                  <a:gd name="f396" fmla="val 1300"/>
                  <a:gd name="f397" fmla="val 831"/>
                  <a:gd name="f398" fmla="val 1308"/>
                  <a:gd name="f399" fmla="val 820"/>
                  <a:gd name="f400" fmla="val 1314"/>
                  <a:gd name="f401" fmla="val 1322"/>
                  <a:gd name="f402" fmla="val 819"/>
                  <a:gd name="f403" fmla="val 1341"/>
                  <a:gd name="f404" fmla="val 824"/>
                  <a:gd name="f405" fmla="val 1350"/>
                  <a:gd name="f406" fmla="val 1364"/>
                  <a:gd name="f407" fmla="val 1372"/>
                  <a:gd name="f408" fmla="val 1380"/>
                  <a:gd name="f409" fmla="val 837"/>
                  <a:gd name="f410" fmla="val 1388"/>
                  <a:gd name="f411" fmla="val 841"/>
                  <a:gd name="f412" fmla="val 1394"/>
                  <a:gd name="f413" fmla="val 840"/>
                  <a:gd name="f414" fmla="val 1401"/>
                  <a:gd name="f415" fmla="val 1413"/>
                  <a:gd name="f416" fmla="val 1429"/>
                  <a:gd name="f417" fmla="val 1475"/>
                  <a:gd name="f418" fmla="val 1485"/>
                  <a:gd name="f419" fmla="val 1495"/>
                  <a:gd name="f420" fmla="val 1502"/>
                  <a:gd name="f421" fmla="val 1509"/>
                  <a:gd name="f422" fmla="val 1514"/>
                  <a:gd name="f423" fmla="val 1518"/>
                  <a:gd name="f424" fmla="val 1522"/>
                  <a:gd name="f425" fmla="val 1528"/>
                  <a:gd name="f426" fmla="val 1545"/>
                  <a:gd name="f427" fmla="val 1547"/>
                  <a:gd name="f428" fmla="val 1550"/>
                  <a:gd name="f429" fmla="val 1553"/>
                  <a:gd name="f430" fmla="val 1557"/>
                  <a:gd name="f431" fmla="val 1560"/>
                  <a:gd name="f432" fmla="val 1554"/>
                  <a:gd name="f433" fmla="val 829"/>
                  <a:gd name="f434" fmla="val 842"/>
                  <a:gd name="f435" fmla="val 1549"/>
                  <a:gd name="f436" fmla="val 856"/>
                  <a:gd name="f437" fmla="val 1551"/>
                  <a:gd name="f438" fmla="val 867"/>
                  <a:gd name="f439" fmla="val 1561"/>
                  <a:gd name="f440" fmla="val 890"/>
                  <a:gd name="f441" fmla="val 1569"/>
                  <a:gd name="f442" fmla="val 912"/>
                  <a:gd name="f443" fmla="val 933"/>
                  <a:gd name="f444" fmla="val 1572"/>
                  <a:gd name="f445" fmla="val 938"/>
                  <a:gd name="f446" fmla="val 1567"/>
                  <a:gd name="f447" fmla="val 939"/>
                  <a:gd name="f448" fmla="val 1558"/>
                  <a:gd name="f449" fmla="val 1539"/>
                  <a:gd name="f450" fmla="val 935"/>
                  <a:gd name="f451" fmla="val 1529"/>
                  <a:gd name="f452" fmla="val 1521"/>
                  <a:gd name="f453" fmla="val 1516"/>
                  <a:gd name="f454" fmla="val 1513"/>
                  <a:gd name="f455" fmla="val 967"/>
                  <a:gd name="f456" fmla="val 1520"/>
                  <a:gd name="f457" fmla="val 1517"/>
                  <a:gd name="f458" fmla="val 1507"/>
                  <a:gd name="f459" fmla="val 1010"/>
                  <a:gd name="f460" fmla="val 1499"/>
                  <a:gd name="f461" fmla="val 1016"/>
                  <a:gd name="f462" fmla="val 1493"/>
                  <a:gd name="f463" fmla="val 1489"/>
                  <a:gd name="f464" fmla="val 1027"/>
                  <a:gd name="f465" fmla="val 1487"/>
                  <a:gd name="f466" fmla="val 1046"/>
                  <a:gd name="f467" fmla="val 1484"/>
                  <a:gd name="f468" fmla="val 1480"/>
                  <a:gd name="f469" fmla="val 1059"/>
                  <a:gd name="f470" fmla="val 1478"/>
                  <a:gd name="f471" fmla="val 1091"/>
                  <a:gd name="f472" fmla="val 1099"/>
                  <a:gd name="f473" fmla="val 1470"/>
                  <a:gd name="f474" fmla="val 1105"/>
                  <a:gd name="f475" fmla="val 1460"/>
                  <a:gd name="f476" fmla="val 1113"/>
                  <a:gd name="f477" fmla="val 1449"/>
                  <a:gd name="f478" fmla="val 1121"/>
                  <a:gd name="f479" fmla="val 1424"/>
                  <a:gd name="f480" fmla="val 1141"/>
                  <a:gd name="f481" fmla="val 1416"/>
                  <a:gd name="f482" fmla="val 1148"/>
                  <a:gd name="f483" fmla="val 1406"/>
                  <a:gd name="f484" fmla="val 1153"/>
                  <a:gd name="f485" fmla="val 1390"/>
                  <a:gd name="f486" fmla="val 1160"/>
                  <a:gd name="f487" fmla="val 1369"/>
                  <a:gd name="f488" fmla="val 1347"/>
                  <a:gd name="f489" fmla="val 1174"/>
                  <a:gd name="f490" fmla="val 1326"/>
                  <a:gd name="f491" fmla="val 1185"/>
                  <a:gd name="f492" fmla="val 1297"/>
                  <a:gd name="f493" fmla="val 1189"/>
                  <a:gd name="f494" fmla="val 1293"/>
                  <a:gd name="f495" fmla="val 1191"/>
                  <a:gd name="f496" fmla="val 1290"/>
                  <a:gd name="f497" fmla="val 1286"/>
                  <a:gd name="f498" fmla="val 1186"/>
                  <a:gd name="f499" fmla="val 1285"/>
                  <a:gd name="f500" fmla="val 1182"/>
                  <a:gd name="f501" fmla="val 1173"/>
                  <a:gd name="f502" fmla="val 1283"/>
                  <a:gd name="f503" fmla="val 1171"/>
                  <a:gd name="f504" fmla="val 1282"/>
                  <a:gd name="f505" fmla="val 1275"/>
                  <a:gd name="f506" fmla="val 1170"/>
                  <a:gd name="f507" fmla="val 1263"/>
                  <a:gd name="f508" fmla="val 1166"/>
                  <a:gd name="f509" fmla="val 1159"/>
                  <a:gd name="f510" fmla="val 1213"/>
                  <a:gd name="f511" fmla="val 1146"/>
                  <a:gd name="f512" fmla="val 1206"/>
                  <a:gd name="f513" fmla="val 1145"/>
                  <a:gd name="f514" fmla="val 1194"/>
                  <a:gd name="f515" fmla="val 1180"/>
                  <a:gd name="f516" fmla="val 1136"/>
                  <a:gd name="f517" fmla="val 1165"/>
                  <a:gd name="f518" fmla="val 1132"/>
                  <a:gd name="f519" fmla="val 1151"/>
                  <a:gd name="f520" fmla="val 1128"/>
                  <a:gd name="f521" fmla="val 1138"/>
                  <a:gd name="f522" fmla="val 1123"/>
                  <a:gd name="f523" fmla="val 1112"/>
                  <a:gd name="f524" fmla="val 1134"/>
                  <a:gd name="f525" fmla="val 1100"/>
                  <a:gd name="f526" fmla="val 1089"/>
                  <a:gd name="f527" fmla="val 1084"/>
                  <a:gd name="f528" fmla="val 1154"/>
                  <a:gd name="f529" fmla="val 1163"/>
                  <a:gd name="f530" fmla="val 1082"/>
                  <a:gd name="f531" fmla="val 1188"/>
                  <a:gd name="f532" fmla="val 1078"/>
                  <a:gd name="f533" fmla="val 1069"/>
                  <a:gd name="f534" fmla="val 1196"/>
                  <a:gd name="f535" fmla="val 1203"/>
                  <a:gd name="f536" fmla="val 1038"/>
                  <a:gd name="f537" fmla="val 1224"/>
                  <a:gd name="f538" fmla="val 1232"/>
                  <a:gd name="f539" fmla="val 1018"/>
                  <a:gd name="f540" fmla="val 1243"/>
                  <a:gd name="f541" fmla="val 955"/>
                  <a:gd name="f542" fmla="val 1250"/>
                  <a:gd name="f543" fmla="val 1253"/>
                  <a:gd name="f544" fmla="val 1260"/>
                  <a:gd name="f545" fmla="val 924"/>
                  <a:gd name="f546" fmla="val 1270"/>
                  <a:gd name="f547" fmla="val 909"/>
                  <a:gd name="f548" fmla="val 1281"/>
                  <a:gd name="f549" fmla="val 892"/>
                  <a:gd name="f550" fmla="val 1292"/>
                  <a:gd name="f551" fmla="val 877"/>
                  <a:gd name="f552" fmla="val 1304"/>
                  <a:gd name="f553" fmla="val 863"/>
                  <a:gd name="f554" fmla="val 1315"/>
                  <a:gd name="f555" fmla="val 851"/>
                  <a:gd name="f556" fmla="val 1325"/>
                  <a:gd name="f557" fmla="val 1332"/>
                  <a:gd name="f558" fmla="val 836"/>
                  <a:gd name="f559" fmla="val 1336"/>
                  <a:gd name="f560" fmla="val 821"/>
                  <a:gd name="f561" fmla="val 1333"/>
                  <a:gd name="f562" fmla="val 1310"/>
                  <a:gd name="f563" fmla="val 757"/>
                  <a:gd name="f564" fmla="val 1302"/>
                  <a:gd name="f565" fmla="val 1296"/>
                  <a:gd name="f566" fmla="val 732"/>
                  <a:gd name="f567" fmla="val 1303"/>
                  <a:gd name="f568" fmla="val 718"/>
                  <a:gd name="f569" fmla="val 711"/>
                  <a:gd name="f570" fmla="val 1335"/>
                  <a:gd name="f571" fmla="val 705"/>
                  <a:gd name="f572" fmla="val 1339"/>
                  <a:gd name="f573" fmla="val 1343"/>
                  <a:gd name="f574" fmla="val 642"/>
                  <a:gd name="f575" fmla="val 644"/>
                  <a:gd name="f576" fmla="val 1351"/>
                  <a:gd name="f577" fmla="val 1363"/>
                  <a:gd name="f578" fmla="val 665"/>
                  <a:gd name="f579" fmla="val 1367"/>
                  <a:gd name="f580" fmla="val 1376"/>
                  <a:gd name="f581" fmla="val 1382"/>
                  <a:gd name="f582" fmla="val 634"/>
                  <a:gd name="f583" fmla="val 1392"/>
                  <a:gd name="f584" fmla="val 1397"/>
                  <a:gd name="f585" fmla="val 1400"/>
                  <a:gd name="f586" fmla="val 609"/>
                  <a:gd name="f587" fmla="val 1396"/>
                  <a:gd name="f588" fmla="val 600"/>
                  <a:gd name="f589" fmla="val 1385"/>
                  <a:gd name="f590" fmla="val 597"/>
                  <a:gd name="f591" fmla="val 1381"/>
                  <a:gd name="f592" fmla="val 1386"/>
                  <a:gd name="f593" fmla="val 575"/>
                  <a:gd name="f594" fmla="val 568"/>
                  <a:gd name="f595" fmla="val 547"/>
                  <a:gd name="f596" fmla="val 519"/>
                  <a:gd name="f597" fmla="val 1403"/>
                  <a:gd name="f598" fmla="val 495"/>
                  <a:gd name="f599" fmla="val 1411"/>
                  <a:gd name="f600" fmla="val 1419"/>
                  <a:gd name="f601" fmla="val 1428"/>
                  <a:gd name="f602" fmla="val 443"/>
                  <a:gd name="f603" fmla="val 1440"/>
                  <a:gd name="f604" fmla="val 434"/>
                  <a:gd name="f605" fmla="val 1442"/>
                  <a:gd name="f606" fmla="val 427"/>
                  <a:gd name="f607" fmla="val 1439"/>
                  <a:gd name="f608" fmla="val 423"/>
                  <a:gd name="f609" fmla="val 1432"/>
                  <a:gd name="f610" fmla="val 1412"/>
                  <a:gd name="f611" fmla="val 420"/>
                  <a:gd name="f612" fmla="val 1393"/>
                  <a:gd name="f613" fmla="val 391"/>
                  <a:gd name="f614" fmla="val 1404"/>
                  <a:gd name="f615" fmla="val 384"/>
                  <a:gd name="f616" fmla="val 1407"/>
                  <a:gd name="f617" fmla="val 376"/>
                  <a:gd name="f618" fmla="val 1421"/>
                  <a:gd name="f619" fmla="val 374"/>
                  <a:gd name="f620" fmla="val 1431"/>
                  <a:gd name="f621" fmla="val 372"/>
                  <a:gd name="f622" fmla="val 1453"/>
                  <a:gd name="f623" fmla="val 1458"/>
                  <a:gd name="f624" fmla="val 347"/>
                  <a:gd name="f625" fmla="val 1461"/>
                  <a:gd name="f626" fmla="val 337"/>
                  <a:gd name="f627" fmla="val 336"/>
                  <a:gd name="f628" fmla="val 329"/>
                  <a:gd name="f629" fmla="val 1389"/>
                  <a:gd name="f630" fmla="val 309"/>
                  <a:gd name="f631" fmla="val 1383"/>
                  <a:gd name="f632" fmla="val 314"/>
                  <a:gd name="f633" fmla="val 1374"/>
                  <a:gd name="f634" fmla="val 316"/>
                  <a:gd name="f635" fmla="val 1361"/>
                  <a:gd name="f636" fmla="val 318"/>
                  <a:gd name="f637" fmla="val 1346"/>
                  <a:gd name="f638" fmla="val 308"/>
                  <a:gd name="f639" fmla="val 1321"/>
                  <a:gd name="f640" fmla="val 304"/>
                  <a:gd name="f641" fmla="val 1317"/>
                  <a:gd name="f642" fmla="val 1289"/>
                  <a:gd name="f643" fmla="val 1271"/>
                  <a:gd name="f644" fmla="val 1245"/>
                  <a:gd name="f645" fmla="val 351"/>
                  <a:gd name="f646" fmla="val 356"/>
                  <a:gd name="f647" fmla="val 1211"/>
                  <a:gd name="f648" fmla="val 1178"/>
                  <a:gd name="f649" fmla="val 363"/>
                  <a:gd name="f650" fmla="val 1139"/>
                  <a:gd name="f651" fmla="val 359"/>
                  <a:gd name="f652" fmla="val 1130"/>
                  <a:gd name="f653" fmla="val 1118"/>
                  <a:gd name="f654" fmla="val 383"/>
                  <a:gd name="f655" fmla="val 1109"/>
                  <a:gd name="f656" fmla="val 395"/>
                  <a:gd name="f657" fmla="val 1087"/>
                  <a:gd name="f658" fmla="val 1088"/>
                  <a:gd name="f659" fmla="val 416"/>
                  <a:gd name="f660" fmla="val 1092"/>
                  <a:gd name="f661" fmla="val 428"/>
                  <a:gd name="f662" fmla="val 430"/>
                  <a:gd name="f663" fmla="val 431"/>
                  <a:gd name="f664" fmla="val 1052"/>
                  <a:gd name="f665" fmla="val 1023"/>
                  <a:gd name="f666" fmla="val 1014"/>
                  <a:gd name="f667" fmla="val 432"/>
                  <a:gd name="f668" fmla="val 439"/>
                  <a:gd name="f669" fmla="val 446"/>
                  <a:gd name="f670" fmla="val 450"/>
                  <a:gd name="f671" fmla="val 1005"/>
                  <a:gd name="f672" fmla="val 1001"/>
                  <a:gd name="f673" fmla="val 994"/>
                  <a:gd name="f674" fmla="val 980"/>
                  <a:gd name="f675" fmla="val 453"/>
                  <a:gd name="f676" fmla="val 463"/>
                  <a:gd name="f677" fmla="val 981"/>
                  <a:gd name="f678" fmla="val 470"/>
                  <a:gd name="f679" fmla="val 474"/>
                  <a:gd name="f680" fmla="val 477"/>
                  <a:gd name="f681" fmla="val 484"/>
                  <a:gd name="f682" fmla="val 499"/>
                  <a:gd name="f683" fmla="val 964"/>
                  <a:gd name="f684" fmla="val 951"/>
                  <a:gd name="f685" fmla="val 927"/>
                  <a:gd name="f686" fmla="val 919"/>
                  <a:gd name="f687" fmla="val 466"/>
                  <a:gd name="f688" fmla="val 459"/>
                  <a:gd name="f689" fmla="val 902"/>
                  <a:gd name="f690" fmla="val 895"/>
                  <a:gd name="f691" fmla="val 445"/>
                  <a:gd name="f692" fmla="val 435"/>
                  <a:gd name="f693" fmla="val 883"/>
                  <a:gd name="f694" fmla="val 870"/>
                  <a:gd name="f695" fmla="val 862"/>
                  <a:gd name="f696" fmla="val 425"/>
                  <a:gd name="f697" fmla="val 855"/>
                  <a:gd name="f698" fmla="val 844"/>
                  <a:gd name="f699" fmla="val 833"/>
                  <a:gd name="f700" fmla="val 410"/>
                  <a:gd name="f701" fmla="val 413"/>
                  <a:gd name="f702" fmla="val 788"/>
                  <a:gd name="f703" fmla="val 779"/>
                  <a:gd name="f704" fmla="val 437"/>
                  <a:gd name="f705" fmla="val 767"/>
                  <a:gd name="f706" fmla="val 755"/>
                  <a:gd name="f707" fmla="val 744"/>
                  <a:gd name="f708" fmla="val 734"/>
                  <a:gd name="f709" fmla="val 442"/>
                  <a:gd name="f710" fmla="val 698"/>
                  <a:gd name="f711" fmla="val 687"/>
                  <a:gd name="f712" fmla="val 441"/>
                  <a:gd name="f713" fmla="val 683"/>
                  <a:gd name="f714" fmla="val 697"/>
                  <a:gd name="f715" fmla="val 460"/>
                  <a:gd name="f716" fmla="val 701"/>
                  <a:gd name="f717" fmla="val 695"/>
                  <a:gd name="f718" fmla="val 693"/>
                  <a:gd name="f719" fmla="val 691"/>
                  <a:gd name="f720" fmla="val 690"/>
                  <a:gd name="f721" fmla="val 684"/>
                  <a:gd name="f722" fmla="val 648"/>
                  <a:gd name="f723" fmla="val 461"/>
                  <a:gd name="f724" fmla="val 637"/>
                  <a:gd name="f725" fmla="val 636"/>
                  <a:gd name="f726" fmla="val 412"/>
                  <a:gd name="f727" fmla="val 381"/>
                  <a:gd name="f728" fmla="val 627"/>
                  <a:gd name="f729" fmla="val 622"/>
                  <a:gd name="f730" fmla="val 619"/>
                  <a:gd name="f731" fmla="val 334"/>
                  <a:gd name="f732" fmla="val 616"/>
                  <a:gd name="f733" fmla="val 323"/>
                  <a:gd name="f734" fmla="val 614"/>
                  <a:gd name="f735" fmla="val 330"/>
                  <a:gd name="f736" fmla="val 327"/>
                  <a:gd name="f737" fmla="val 543"/>
                  <a:gd name="f738" fmla="val 533"/>
                  <a:gd name="f739" fmla="val 340"/>
                  <a:gd name="f740" fmla="val 348"/>
                  <a:gd name="f741" fmla="val 483"/>
                  <a:gd name="f742" fmla="val 341"/>
                  <a:gd name="f743" fmla="val 322"/>
                  <a:gd name="f744" fmla="val 305"/>
                  <a:gd name="f745" fmla="val 489"/>
                  <a:gd name="f746" fmla="val 283"/>
                  <a:gd name="f747" fmla="val 494"/>
                  <a:gd name="f748" fmla="val 505"/>
                  <a:gd name="f749" fmla="val 170"/>
                  <a:gd name="f750" fmla="val 171"/>
                  <a:gd name="f751" fmla="val 164"/>
                  <a:gd name="f752" fmla="val 159"/>
                  <a:gd name="f753" fmla="val 151"/>
                  <a:gd name="f754" fmla="val 457"/>
                  <a:gd name="f755" fmla="val 160"/>
                  <a:gd name="f756" fmla="val 422"/>
                  <a:gd name="f757" fmla="val 169"/>
                  <a:gd name="f758" fmla="val 417"/>
                  <a:gd name="f759" fmla="val 411"/>
                  <a:gd name="f760" fmla="val 404"/>
                  <a:gd name="f761" fmla="val 202"/>
                  <a:gd name="f762" fmla="val 397"/>
                  <a:gd name="f763" fmla="val 389"/>
                  <a:gd name="f764" fmla="val 209"/>
                  <a:gd name="f765" fmla="val 198"/>
                  <a:gd name="f766" fmla="val 173"/>
                  <a:gd name="f767" fmla="val 317"/>
                  <a:gd name="f768" fmla="val 162"/>
                  <a:gd name="f769" fmla="val 155"/>
                  <a:gd name="f770" fmla="val 300"/>
                  <a:gd name="f771" fmla="val 134"/>
                  <a:gd name="f772" fmla="val 299"/>
                  <a:gd name="f773" fmla="val 119"/>
                  <a:gd name="f774" fmla="val 88"/>
                  <a:gd name="f775" fmla="val 79"/>
                  <a:gd name="f776" fmla="val 70"/>
                  <a:gd name="f777" fmla="val 50"/>
                  <a:gd name="f778" fmla="val 37"/>
                  <a:gd name="f779" fmla="val 26"/>
                  <a:gd name="f780" fmla="val 15"/>
                  <a:gd name="f781" fmla="val 1"/>
                  <a:gd name="f782" fmla="val 335"/>
                  <a:gd name="f783" fmla="val 4"/>
                  <a:gd name="f784" fmla="val 11"/>
                  <a:gd name="f785" fmla="val 292"/>
                  <a:gd name="f786" fmla="val 14"/>
                  <a:gd name="f787" fmla="val 12"/>
                  <a:gd name="f788" fmla="val 275"/>
                  <a:gd name="f789" fmla="val 261"/>
                  <a:gd name="f790" fmla="val 18"/>
                  <a:gd name="f791" fmla="val 39"/>
                  <a:gd name="f792" fmla="val 58"/>
                  <a:gd name="f793" fmla="val 69"/>
                  <a:gd name="f794" fmla="val 101"/>
                  <a:gd name="f795" fmla="val 109"/>
                  <a:gd name="f796" fmla="val 116"/>
                  <a:gd name="f797" fmla="val 123"/>
                  <a:gd name="f798" fmla="val 128"/>
                  <a:gd name="f799" fmla="val 137"/>
                  <a:gd name="f800" fmla="val 144"/>
                  <a:gd name="f801" fmla="val 182"/>
                  <a:gd name="f802" fmla="val 149"/>
                  <a:gd name="f803" fmla="val 175"/>
                  <a:gd name="f804" fmla="val 152"/>
                  <a:gd name="f805" fmla="val 127"/>
                  <a:gd name="f806" fmla="val 118"/>
                  <a:gd name="f807" fmla="val 186"/>
                  <a:gd name="f808" fmla="val 238"/>
                  <a:gd name="f809" fmla="val 271"/>
                  <a:gd name="f810" fmla="val 117"/>
                  <a:gd name="f811" fmla="val 280"/>
                  <a:gd name="f812" fmla="val 287"/>
                  <a:gd name="f813" fmla="val 95"/>
                  <a:gd name="f814" fmla="val 298"/>
                  <a:gd name="f815" fmla="val 55"/>
                  <a:gd name="f816" fmla="val 45"/>
                  <a:gd name="f817" fmla="val 41"/>
                  <a:gd name="f818" fmla="val 320"/>
                  <a:gd name="f819" fmla="val 43"/>
                  <a:gd name="f820" fmla="val 52"/>
                  <a:gd name="f821" fmla="val 396"/>
                  <a:gd name="f822" fmla="val 57"/>
                  <a:gd name="f823" fmla="val 31"/>
                  <a:gd name="f824" fmla="val 27"/>
                  <a:gd name="f825" fmla="val 23"/>
                  <a:gd name="f826" fmla="val 9"/>
                  <a:gd name="f827" fmla="val 5"/>
                  <a:gd name="f828" fmla="val 6"/>
                  <a:gd name="f829" fmla="val 13"/>
                  <a:gd name="f830" fmla="val 17"/>
                  <a:gd name="f831" fmla="val 506"/>
                  <a:gd name="f832" fmla="val 526"/>
                  <a:gd name="f833" fmla="val 21"/>
                  <a:gd name="f834" fmla="val 566"/>
                  <a:gd name="f835" fmla="val 24"/>
                  <a:gd name="f836" fmla="val 584"/>
                  <a:gd name="f837" fmla="val 595"/>
                  <a:gd name="f838" fmla="val 34"/>
                  <a:gd name="f839" fmla="val 629"/>
                  <a:gd name="f840" fmla="val 640"/>
                  <a:gd name="f841" fmla="val 2"/>
                  <a:gd name="f842" fmla="+- 0 0 -90"/>
                  <a:gd name="f843" fmla="*/ f3 1 1574"/>
                  <a:gd name="f844" fmla="*/ f4 1 1462"/>
                  <a:gd name="f845" fmla="+- f7 0 f5"/>
                  <a:gd name="f846" fmla="+- f6 0 f5"/>
                  <a:gd name="f847" fmla="*/ f842 f0 1"/>
                  <a:gd name="f848" fmla="*/ f846 1 1574"/>
                  <a:gd name="f849" fmla="*/ f845 1 1462"/>
                  <a:gd name="f850" fmla="*/ f847 1 f2"/>
                  <a:gd name="f851" fmla="*/ 623 1 f848"/>
                  <a:gd name="f852" fmla="*/ 59 1 f849"/>
                  <a:gd name="f853" fmla="*/ 517 1 f848"/>
                  <a:gd name="f854" fmla="*/ 138 1 f849"/>
                  <a:gd name="f855" fmla="*/ 510 1 f848"/>
                  <a:gd name="f856" fmla="*/ 214 1 f849"/>
                  <a:gd name="f857" fmla="*/ 572 1 f848"/>
                  <a:gd name="f858" fmla="*/ 204 1 f849"/>
                  <a:gd name="f859" fmla="*/ 605 1 f848"/>
                  <a:gd name="f860" fmla="*/ 233 1 f849"/>
                  <a:gd name="f861" fmla="*/ 546 1 f848"/>
                  <a:gd name="f862" fmla="*/ 286 1 f849"/>
                  <a:gd name="f863" fmla="*/ 503 1 f848"/>
                  <a:gd name="f864" fmla="*/ 306 1 f849"/>
                  <a:gd name="f865" fmla="*/ 551 1 f848"/>
                  <a:gd name="f866" fmla="*/ 332 1 f849"/>
                  <a:gd name="f867" fmla="*/ 586 1 f848"/>
                  <a:gd name="f868" fmla="*/ 339 1 f849"/>
                  <a:gd name="f869" fmla="*/ 659 1 f848"/>
                  <a:gd name="f870" fmla="*/ 250 1 f849"/>
                  <a:gd name="f871" fmla="*/ 797 1 f848"/>
                  <a:gd name="f872" fmla="*/ 257 1 f849"/>
                  <a:gd name="f873" fmla="*/ 796 1 f848"/>
                  <a:gd name="f874" fmla="*/ 225 1 f849"/>
                  <a:gd name="f875" fmla="*/ 735 1 f848"/>
                  <a:gd name="f876" fmla="*/ 139 1 f849"/>
                  <a:gd name="f877" fmla="*/ 721 1 f848"/>
                  <a:gd name="f878" fmla="*/ 66 1 f849"/>
                  <a:gd name="f879" fmla="*/ 830 1 f848"/>
                  <a:gd name="f880" fmla="*/ 82 1 f849"/>
                  <a:gd name="f881" fmla="*/ 945 1 f848"/>
                  <a:gd name="f882" fmla="*/ 113 1 f849"/>
                  <a:gd name="f883" fmla="*/ 996 1 f848"/>
                  <a:gd name="f884" fmla="*/ 253 1 f849"/>
                  <a:gd name="f885" fmla="*/ 1002 1 f848"/>
                  <a:gd name="f886" fmla="*/ 354 1 f849"/>
                  <a:gd name="f887" fmla="*/ 1020 1 f848"/>
                  <a:gd name="f888" fmla="*/ 473 1 f849"/>
                  <a:gd name="f889" fmla="*/ 1039 1 f848"/>
                  <a:gd name="f890" fmla="*/ 569 1 f849"/>
                  <a:gd name="f891" fmla="*/ 992 1 f848"/>
                  <a:gd name="f892" fmla="*/ 647 1 f849"/>
                  <a:gd name="f893" fmla="*/ 1061 1 f848"/>
                  <a:gd name="f894" fmla="*/ 762 1 f849"/>
                  <a:gd name="f895" fmla="*/ 1167 1 f848"/>
                  <a:gd name="f896" fmla="*/ 795 1 f849"/>
                  <a:gd name="f897" fmla="*/ 1264 1 f848"/>
                  <a:gd name="f898" fmla="*/ 834 1 f849"/>
                  <a:gd name="f899" fmla="*/ 1380 1 f848"/>
                  <a:gd name="f900" fmla="*/ 837 1 f849"/>
                  <a:gd name="f901" fmla="*/ 1514 1 f848"/>
                  <a:gd name="f902" fmla="*/ 817 1 f849"/>
                  <a:gd name="f903" fmla="*/ 1549 1 f848"/>
                  <a:gd name="f904" fmla="*/ 856 1 f849"/>
                  <a:gd name="f905" fmla="*/ 1516 1 f848"/>
                  <a:gd name="f906" fmla="*/ 939 1 f849"/>
                  <a:gd name="f907" fmla="*/ 1480 1 f848"/>
                  <a:gd name="f908" fmla="*/ 1059 1 f849"/>
                  <a:gd name="f909" fmla="*/ 1347 1 f848"/>
                  <a:gd name="f910" fmla="*/ 1174 1 f849"/>
                  <a:gd name="f911" fmla="*/ 1282 1 f848"/>
                  <a:gd name="f912" fmla="*/ 1171 1 f849"/>
                  <a:gd name="f913" fmla="*/ 1131 1 f848"/>
                  <a:gd name="f914" fmla="*/ 1125 1 f849"/>
                  <a:gd name="f915" fmla="*/ 1047 1 f848"/>
                  <a:gd name="f916" fmla="*/ 1213 1 f849"/>
                  <a:gd name="f917" fmla="*/ 877 1 f848"/>
                  <a:gd name="f918" fmla="*/ 1304 1 f849"/>
                  <a:gd name="f919" fmla="*/ 732 1 f848"/>
                  <a:gd name="f920" fmla="*/ 1297 1 f849"/>
                  <a:gd name="f921" fmla="*/ 669 1 f848"/>
                  <a:gd name="f922" fmla="*/ 1372 1 f849"/>
                  <a:gd name="f923" fmla="*/ 583 1 f848"/>
                  <a:gd name="f924" fmla="*/ 1386 1 f849"/>
                  <a:gd name="f925" fmla="*/ 443 1 f848"/>
                  <a:gd name="f926" fmla="*/ 1440 1 f849"/>
                  <a:gd name="f927" fmla="*/ 379 1 f848"/>
                  <a:gd name="f928" fmla="*/ 1412 1 f849"/>
                  <a:gd name="f929" fmla="*/ 319 1 f848"/>
                  <a:gd name="f930" fmla="*/ 1394 1 f849"/>
                  <a:gd name="f931" fmla="*/ 325 1 f848"/>
                  <a:gd name="f932" fmla="*/ 347 1 f848"/>
                  <a:gd name="f933" fmla="*/ 1139 1 f849"/>
                  <a:gd name="f934" fmla="*/ 430 1 f848"/>
                  <a:gd name="f935" fmla="*/ 1068 1 f849"/>
                  <a:gd name="f936" fmla="*/ 439 1 f848"/>
                  <a:gd name="f937" fmla="*/ 984 1 f849"/>
                  <a:gd name="f938" fmla="*/ 499 1 f848"/>
                  <a:gd name="f939" fmla="*/ 964 1 f849"/>
                  <a:gd name="f940" fmla="*/ 421 1 f848"/>
                  <a:gd name="f941" fmla="*/ 862 1 f849"/>
                  <a:gd name="f942" fmla="*/ 428 1 f848"/>
                  <a:gd name="f943" fmla="*/ 779 1 f849"/>
                  <a:gd name="f944" fmla="*/ 455 1 f848"/>
                  <a:gd name="f945" fmla="*/ 697 1 f849"/>
                  <a:gd name="f946" fmla="*/ 471 1 f848"/>
                  <a:gd name="f947" fmla="*/ 641 1 f849"/>
                  <a:gd name="f948" fmla="*/ 604 1 f849"/>
                  <a:gd name="f949" fmla="*/ 354 1 f848"/>
                  <a:gd name="f950" fmla="*/ 500 1 f849"/>
                  <a:gd name="f951" fmla="*/ 167 1 f848"/>
                  <a:gd name="f952" fmla="*/ 504 1 f849"/>
                  <a:gd name="f953" fmla="*/ 180 1 f848"/>
                  <a:gd name="f954" fmla="*/ 411 1 f849"/>
                  <a:gd name="f955" fmla="*/ 162 1 f848"/>
                  <a:gd name="f956" fmla="*/ 310 1 f849"/>
                  <a:gd name="f957" fmla="*/ 26 1 f848"/>
                  <a:gd name="f958" fmla="*/ 336 1 f849"/>
                  <a:gd name="f959" fmla="*/ 30 1 f848"/>
                  <a:gd name="f960" fmla="*/ 254 1 f849"/>
                  <a:gd name="f961" fmla="*/ 128 1 f848"/>
                  <a:gd name="f962" fmla="*/ 192 1 f849"/>
                  <a:gd name="f963" fmla="*/ 186 1 f848"/>
                  <a:gd name="f964" fmla="*/ 116 1 f849"/>
                  <a:gd name="f965" fmla="*/ 293 1 f848"/>
                  <a:gd name="f966" fmla="*/ 67 1 f849"/>
                  <a:gd name="f967" fmla="*/ 413 1 f848"/>
                  <a:gd name="f968" fmla="*/ 57 1 f849"/>
                  <a:gd name="f969" fmla="*/ 500 1 f848"/>
                  <a:gd name="f970" fmla="*/ 16 1 f849"/>
                  <a:gd name="f971" fmla="*/ 629 1 f848"/>
                  <a:gd name="f972" fmla="*/ 37 1 f849"/>
                  <a:gd name="f973" fmla="*/ 0 1 f848"/>
                  <a:gd name="f974" fmla="*/ f6 1 f848"/>
                  <a:gd name="f975" fmla="*/ 0 1 f849"/>
                  <a:gd name="f976" fmla="*/ f7 1 f849"/>
                  <a:gd name="f977" fmla="+- f850 0 f1"/>
                  <a:gd name="f978" fmla="*/ f973 f843 1"/>
                  <a:gd name="f979" fmla="*/ f974 f843 1"/>
                  <a:gd name="f980" fmla="*/ f976 f844 1"/>
                  <a:gd name="f981" fmla="*/ f975 f844 1"/>
                  <a:gd name="f982" fmla="*/ f851 f843 1"/>
                  <a:gd name="f983" fmla="*/ f852 f844 1"/>
                  <a:gd name="f984" fmla="*/ f853 f843 1"/>
                  <a:gd name="f985" fmla="*/ f854 f844 1"/>
                  <a:gd name="f986" fmla="*/ f855 f843 1"/>
                  <a:gd name="f987" fmla="*/ f856 f844 1"/>
                  <a:gd name="f988" fmla="*/ f857 f843 1"/>
                  <a:gd name="f989" fmla="*/ f858 f844 1"/>
                  <a:gd name="f990" fmla="*/ f859 f843 1"/>
                  <a:gd name="f991" fmla="*/ f860 f844 1"/>
                  <a:gd name="f992" fmla="*/ f861 f843 1"/>
                  <a:gd name="f993" fmla="*/ f862 f844 1"/>
                  <a:gd name="f994" fmla="*/ f863 f843 1"/>
                  <a:gd name="f995" fmla="*/ f864 f844 1"/>
                  <a:gd name="f996" fmla="*/ f865 f843 1"/>
                  <a:gd name="f997" fmla="*/ f866 f844 1"/>
                  <a:gd name="f998" fmla="*/ f867 f843 1"/>
                  <a:gd name="f999" fmla="*/ f868 f844 1"/>
                  <a:gd name="f1000" fmla="*/ f869 f843 1"/>
                  <a:gd name="f1001" fmla="*/ f870 f844 1"/>
                  <a:gd name="f1002" fmla="*/ f871 f843 1"/>
                  <a:gd name="f1003" fmla="*/ f872 f844 1"/>
                  <a:gd name="f1004" fmla="*/ f873 f843 1"/>
                  <a:gd name="f1005" fmla="*/ f874 f844 1"/>
                  <a:gd name="f1006" fmla="*/ f875 f843 1"/>
                  <a:gd name="f1007" fmla="*/ f876 f844 1"/>
                  <a:gd name="f1008" fmla="*/ f877 f843 1"/>
                  <a:gd name="f1009" fmla="*/ f878 f844 1"/>
                  <a:gd name="f1010" fmla="*/ f879 f843 1"/>
                  <a:gd name="f1011" fmla="*/ f880 f844 1"/>
                  <a:gd name="f1012" fmla="*/ f881 f843 1"/>
                  <a:gd name="f1013" fmla="*/ f882 f844 1"/>
                  <a:gd name="f1014" fmla="*/ f883 f843 1"/>
                  <a:gd name="f1015" fmla="*/ f884 f844 1"/>
                  <a:gd name="f1016" fmla="*/ f885 f843 1"/>
                  <a:gd name="f1017" fmla="*/ f886 f844 1"/>
                  <a:gd name="f1018" fmla="*/ f887 f843 1"/>
                  <a:gd name="f1019" fmla="*/ f888 f844 1"/>
                  <a:gd name="f1020" fmla="*/ f889 f843 1"/>
                  <a:gd name="f1021" fmla="*/ f890 f844 1"/>
                  <a:gd name="f1022" fmla="*/ f891 f843 1"/>
                  <a:gd name="f1023" fmla="*/ f892 f844 1"/>
                  <a:gd name="f1024" fmla="*/ f893 f843 1"/>
                  <a:gd name="f1025" fmla="*/ f894 f844 1"/>
                  <a:gd name="f1026" fmla="*/ f895 f843 1"/>
                  <a:gd name="f1027" fmla="*/ f896 f844 1"/>
                  <a:gd name="f1028" fmla="*/ f897 f843 1"/>
                  <a:gd name="f1029" fmla="*/ f898 f844 1"/>
                  <a:gd name="f1030" fmla="*/ f899 f843 1"/>
                  <a:gd name="f1031" fmla="*/ f900 f844 1"/>
                  <a:gd name="f1032" fmla="*/ f901 f843 1"/>
                  <a:gd name="f1033" fmla="*/ f902 f844 1"/>
                  <a:gd name="f1034" fmla="*/ f903 f843 1"/>
                  <a:gd name="f1035" fmla="*/ f904 f844 1"/>
                  <a:gd name="f1036" fmla="*/ f905 f843 1"/>
                  <a:gd name="f1037" fmla="*/ f906 f844 1"/>
                  <a:gd name="f1038" fmla="*/ f907 f843 1"/>
                  <a:gd name="f1039" fmla="*/ f908 f844 1"/>
                  <a:gd name="f1040" fmla="*/ f909 f843 1"/>
                  <a:gd name="f1041" fmla="*/ f910 f844 1"/>
                  <a:gd name="f1042" fmla="*/ f911 f843 1"/>
                  <a:gd name="f1043" fmla="*/ f912 f844 1"/>
                  <a:gd name="f1044" fmla="*/ f913 f843 1"/>
                  <a:gd name="f1045" fmla="*/ f914 f844 1"/>
                  <a:gd name="f1046" fmla="*/ f915 f843 1"/>
                  <a:gd name="f1047" fmla="*/ f916 f844 1"/>
                  <a:gd name="f1048" fmla="*/ f917 f843 1"/>
                  <a:gd name="f1049" fmla="*/ f918 f844 1"/>
                  <a:gd name="f1050" fmla="*/ f919 f843 1"/>
                  <a:gd name="f1051" fmla="*/ f920 f844 1"/>
                  <a:gd name="f1052" fmla="*/ f921 f843 1"/>
                  <a:gd name="f1053" fmla="*/ f922 f844 1"/>
                  <a:gd name="f1054" fmla="*/ f923 f843 1"/>
                  <a:gd name="f1055" fmla="*/ f924 f844 1"/>
                  <a:gd name="f1056" fmla="*/ f925 f843 1"/>
                  <a:gd name="f1057" fmla="*/ f926 f844 1"/>
                  <a:gd name="f1058" fmla="*/ f927 f843 1"/>
                  <a:gd name="f1059" fmla="*/ f928 f844 1"/>
                  <a:gd name="f1060" fmla="*/ f929 f843 1"/>
                  <a:gd name="f1061" fmla="*/ f930 f844 1"/>
                  <a:gd name="f1062" fmla="*/ f931 f843 1"/>
                  <a:gd name="f1063" fmla="*/ f932 f843 1"/>
                  <a:gd name="f1064" fmla="*/ f933 f844 1"/>
                  <a:gd name="f1065" fmla="*/ f934 f843 1"/>
                  <a:gd name="f1066" fmla="*/ f935 f844 1"/>
                  <a:gd name="f1067" fmla="*/ f936 f843 1"/>
                  <a:gd name="f1068" fmla="*/ f937 f844 1"/>
                  <a:gd name="f1069" fmla="*/ f938 f843 1"/>
                  <a:gd name="f1070" fmla="*/ f939 f844 1"/>
                  <a:gd name="f1071" fmla="*/ f940 f843 1"/>
                  <a:gd name="f1072" fmla="*/ f941 f844 1"/>
                  <a:gd name="f1073" fmla="*/ f942 f843 1"/>
                  <a:gd name="f1074" fmla="*/ f943 f844 1"/>
                  <a:gd name="f1075" fmla="*/ f944 f843 1"/>
                  <a:gd name="f1076" fmla="*/ f945 f844 1"/>
                  <a:gd name="f1077" fmla="*/ f946 f843 1"/>
                  <a:gd name="f1078" fmla="*/ f947 f844 1"/>
                  <a:gd name="f1079" fmla="*/ f948 f844 1"/>
                  <a:gd name="f1080" fmla="*/ f949 f843 1"/>
                  <a:gd name="f1081" fmla="*/ f950 f844 1"/>
                  <a:gd name="f1082" fmla="*/ f951 f843 1"/>
                  <a:gd name="f1083" fmla="*/ f952 f844 1"/>
                  <a:gd name="f1084" fmla="*/ f953 f843 1"/>
                  <a:gd name="f1085" fmla="*/ f954 f844 1"/>
                  <a:gd name="f1086" fmla="*/ f955 f843 1"/>
                  <a:gd name="f1087" fmla="*/ f956 f844 1"/>
                  <a:gd name="f1088" fmla="*/ f957 f843 1"/>
                  <a:gd name="f1089" fmla="*/ f958 f844 1"/>
                  <a:gd name="f1090" fmla="*/ f959 f843 1"/>
                  <a:gd name="f1091" fmla="*/ f960 f844 1"/>
                  <a:gd name="f1092" fmla="*/ f961 f843 1"/>
                  <a:gd name="f1093" fmla="*/ f962 f844 1"/>
                  <a:gd name="f1094" fmla="*/ f963 f843 1"/>
                  <a:gd name="f1095" fmla="*/ f964 f844 1"/>
                  <a:gd name="f1096" fmla="*/ f965 f843 1"/>
                  <a:gd name="f1097" fmla="*/ f966 f844 1"/>
                  <a:gd name="f1098" fmla="*/ f967 f843 1"/>
                  <a:gd name="f1099" fmla="*/ f968 f844 1"/>
                  <a:gd name="f1100" fmla="*/ f969 f843 1"/>
                  <a:gd name="f1101" fmla="*/ f970 f844 1"/>
                  <a:gd name="f1102" fmla="*/ f971 f843 1"/>
                  <a:gd name="f1103" fmla="*/ f972 f84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977">
                    <a:pos x="f982" y="f983"/>
                  </a:cxn>
                  <a:cxn ang="f977">
                    <a:pos x="f984" y="f985"/>
                  </a:cxn>
                  <a:cxn ang="f977">
                    <a:pos x="f986" y="f987"/>
                  </a:cxn>
                  <a:cxn ang="f977">
                    <a:pos x="f988" y="f989"/>
                  </a:cxn>
                  <a:cxn ang="f977">
                    <a:pos x="f990" y="f991"/>
                  </a:cxn>
                  <a:cxn ang="f977">
                    <a:pos x="f992" y="f993"/>
                  </a:cxn>
                  <a:cxn ang="f977">
                    <a:pos x="f994" y="f995"/>
                  </a:cxn>
                  <a:cxn ang="f977">
                    <a:pos x="f996" y="f997"/>
                  </a:cxn>
                  <a:cxn ang="f977">
                    <a:pos x="f998" y="f999"/>
                  </a:cxn>
                  <a:cxn ang="f977">
                    <a:pos x="f1000" y="f1001"/>
                  </a:cxn>
                  <a:cxn ang="f977">
                    <a:pos x="f1002" y="f1003"/>
                  </a:cxn>
                  <a:cxn ang="f977">
                    <a:pos x="f1004" y="f1005"/>
                  </a:cxn>
                  <a:cxn ang="f977">
                    <a:pos x="f1006" y="f1007"/>
                  </a:cxn>
                  <a:cxn ang="f977">
                    <a:pos x="f1008" y="f1009"/>
                  </a:cxn>
                  <a:cxn ang="f977">
                    <a:pos x="f1010" y="f1011"/>
                  </a:cxn>
                  <a:cxn ang="f977">
                    <a:pos x="f1012" y="f1013"/>
                  </a:cxn>
                  <a:cxn ang="f977">
                    <a:pos x="f1014" y="f1015"/>
                  </a:cxn>
                  <a:cxn ang="f977">
                    <a:pos x="f1016" y="f1017"/>
                  </a:cxn>
                  <a:cxn ang="f977">
                    <a:pos x="f1018" y="f1019"/>
                  </a:cxn>
                  <a:cxn ang="f977">
                    <a:pos x="f1020" y="f1021"/>
                  </a:cxn>
                  <a:cxn ang="f977">
                    <a:pos x="f1022" y="f1023"/>
                  </a:cxn>
                  <a:cxn ang="f977">
                    <a:pos x="f1024" y="f1025"/>
                  </a:cxn>
                  <a:cxn ang="f977">
                    <a:pos x="f1026" y="f1027"/>
                  </a:cxn>
                  <a:cxn ang="f977">
                    <a:pos x="f1028" y="f1029"/>
                  </a:cxn>
                  <a:cxn ang="f977">
                    <a:pos x="f1030" y="f1031"/>
                  </a:cxn>
                  <a:cxn ang="f977">
                    <a:pos x="f1032" y="f1033"/>
                  </a:cxn>
                  <a:cxn ang="f977">
                    <a:pos x="f1034" y="f1035"/>
                  </a:cxn>
                  <a:cxn ang="f977">
                    <a:pos x="f1036" y="f1037"/>
                  </a:cxn>
                  <a:cxn ang="f977">
                    <a:pos x="f1038" y="f1039"/>
                  </a:cxn>
                  <a:cxn ang="f977">
                    <a:pos x="f1040" y="f1041"/>
                  </a:cxn>
                  <a:cxn ang="f977">
                    <a:pos x="f1042" y="f1043"/>
                  </a:cxn>
                  <a:cxn ang="f977">
                    <a:pos x="f1044" y="f1045"/>
                  </a:cxn>
                  <a:cxn ang="f977">
                    <a:pos x="f1046" y="f1047"/>
                  </a:cxn>
                  <a:cxn ang="f977">
                    <a:pos x="f1048" y="f1049"/>
                  </a:cxn>
                  <a:cxn ang="f977">
                    <a:pos x="f1050" y="f1051"/>
                  </a:cxn>
                  <a:cxn ang="f977">
                    <a:pos x="f1052" y="f1053"/>
                  </a:cxn>
                  <a:cxn ang="f977">
                    <a:pos x="f1054" y="f1055"/>
                  </a:cxn>
                  <a:cxn ang="f977">
                    <a:pos x="f1056" y="f1057"/>
                  </a:cxn>
                  <a:cxn ang="f977">
                    <a:pos x="f1058" y="f1059"/>
                  </a:cxn>
                  <a:cxn ang="f977">
                    <a:pos x="f1060" y="f1061"/>
                  </a:cxn>
                  <a:cxn ang="f977">
                    <a:pos x="f1062" y="f1051"/>
                  </a:cxn>
                  <a:cxn ang="f977">
                    <a:pos x="f1063" y="f1064"/>
                  </a:cxn>
                  <a:cxn ang="f977">
                    <a:pos x="f1065" y="f1066"/>
                  </a:cxn>
                  <a:cxn ang="f977">
                    <a:pos x="f1067" y="f1068"/>
                  </a:cxn>
                  <a:cxn ang="f977">
                    <a:pos x="f1069" y="f1070"/>
                  </a:cxn>
                  <a:cxn ang="f977">
                    <a:pos x="f1071" y="f1072"/>
                  </a:cxn>
                  <a:cxn ang="f977">
                    <a:pos x="f1073" y="f1074"/>
                  </a:cxn>
                  <a:cxn ang="f977">
                    <a:pos x="f1075" y="f1076"/>
                  </a:cxn>
                  <a:cxn ang="f977">
                    <a:pos x="f1077" y="f1078"/>
                  </a:cxn>
                  <a:cxn ang="f977">
                    <a:pos x="f1060" y="f1079"/>
                  </a:cxn>
                  <a:cxn ang="f977">
                    <a:pos x="f1080" y="f1081"/>
                  </a:cxn>
                  <a:cxn ang="f977">
                    <a:pos x="f1082" y="f1083"/>
                  </a:cxn>
                  <a:cxn ang="f977">
                    <a:pos x="f1084" y="f1085"/>
                  </a:cxn>
                  <a:cxn ang="f977">
                    <a:pos x="f1086" y="f1087"/>
                  </a:cxn>
                  <a:cxn ang="f977">
                    <a:pos x="f1088" y="f1089"/>
                  </a:cxn>
                  <a:cxn ang="f977">
                    <a:pos x="f1090" y="f1091"/>
                  </a:cxn>
                  <a:cxn ang="f977">
                    <a:pos x="f1092" y="f1093"/>
                  </a:cxn>
                  <a:cxn ang="f977">
                    <a:pos x="f1094" y="f1095"/>
                  </a:cxn>
                  <a:cxn ang="f977">
                    <a:pos x="f1096" y="f1097"/>
                  </a:cxn>
                  <a:cxn ang="f977">
                    <a:pos x="f1098" y="f1099"/>
                  </a:cxn>
                  <a:cxn ang="f977">
                    <a:pos x="f1100" y="f1101"/>
                  </a:cxn>
                  <a:cxn ang="f977">
                    <a:pos x="f1102" y="f1103"/>
                  </a:cxn>
                </a:cxnLst>
                <a:rect l="f978" t="f981" r="f979" b="f980"/>
                <a:pathLst>
                  <a:path w="1574" h="1462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5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51"/>
                    </a:lnTo>
                    <a:lnTo>
                      <a:pt x="f52" y="f53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2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0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4" y="f76"/>
                    </a:lnTo>
                    <a:lnTo>
                      <a:pt x="f77" y="f78"/>
                    </a:lnTo>
                    <a:lnTo>
                      <a:pt x="f77" y="f79"/>
                    </a:lnTo>
                    <a:lnTo>
                      <a:pt x="f74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86"/>
                    </a:lnTo>
                    <a:lnTo>
                      <a:pt x="f46" y="f87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92" y="f73"/>
                    </a:lnTo>
                    <a:lnTo>
                      <a:pt x="f40" y="f93"/>
                    </a:lnTo>
                    <a:lnTo>
                      <a:pt x="f38" y="f93"/>
                    </a:lnTo>
                    <a:lnTo>
                      <a:pt x="f94" y="f70"/>
                    </a:lnTo>
                    <a:lnTo>
                      <a:pt x="f95" y="f70"/>
                    </a:lnTo>
                    <a:lnTo>
                      <a:pt x="f95" y="f96"/>
                    </a:lnTo>
                    <a:lnTo>
                      <a:pt x="f34" y="f91"/>
                    </a:lnTo>
                    <a:lnTo>
                      <a:pt x="f97" y="f89"/>
                    </a:lnTo>
                    <a:lnTo>
                      <a:pt x="f94" y="f76"/>
                    </a:lnTo>
                    <a:lnTo>
                      <a:pt x="f97" y="f98"/>
                    </a:lnTo>
                    <a:lnTo>
                      <a:pt x="f95" y="f99"/>
                    </a:lnTo>
                    <a:lnTo>
                      <a:pt x="f100" y="f99"/>
                    </a:lnTo>
                    <a:lnTo>
                      <a:pt x="f32" y="f78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84"/>
                    </a:lnTo>
                    <a:lnTo>
                      <a:pt x="f30" y="f82"/>
                    </a:lnTo>
                    <a:lnTo>
                      <a:pt x="f103" y="f106"/>
                    </a:lnTo>
                    <a:lnTo>
                      <a:pt x="f107" y="f108"/>
                    </a:lnTo>
                    <a:lnTo>
                      <a:pt x="f95" y="f109"/>
                    </a:lnTo>
                    <a:lnTo>
                      <a:pt x="f110" y="f109"/>
                    </a:lnTo>
                    <a:lnTo>
                      <a:pt x="f40" y="f111"/>
                    </a:lnTo>
                    <a:lnTo>
                      <a:pt x="f112" y="f109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46" y="f117"/>
                    </a:lnTo>
                    <a:lnTo>
                      <a:pt x="f118" y="f119"/>
                    </a:lnTo>
                    <a:lnTo>
                      <a:pt x="f118" y="f120"/>
                    </a:lnTo>
                    <a:lnTo>
                      <a:pt x="f121" y="f122"/>
                    </a:lnTo>
                    <a:lnTo>
                      <a:pt x="f88" y="f123"/>
                    </a:lnTo>
                    <a:lnTo>
                      <a:pt x="f124" y="f125"/>
                    </a:lnTo>
                    <a:lnTo>
                      <a:pt x="f124" y="f126"/>
                    </a:lnTo>
                    <a:lnTo>
                      <a:pt x="f118" y="f127"/>
                    </a:lnTo>
                    <a:lnTo>
                      <a:pt x="f48" y="f128"/>
                    </a:lnTo>
                    <a:lnTo>
                      <a:pt x="f129" y="f130"/>
                    </a:lnTo>
                    <a:lnTo>
                      <a:pt x="f131" y="f128"/>
                    </a:lnTo>
                    <a:lnTo>
                      <a:pt x="f54" y="f127"/>
                    </a:lnTo>
                    <a:lnTo>
                      <a:pt x="f71" y="f132"/>
                    </a:lnTo>
                    <a:lnTo>
                      <a:pt x="f133" y="f132"/>
                    </a:lnTo>
                    <a:lnTo>
                      <a:pt x="f134" y="f135"/>
                    </a:lnTo>
                    <a:lnTo>
                      <a:pt x="f134" y="f136"/>
                    </a:lnTo>
                    <a:lnTo>
                      <a:pt x="f133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54" y="f141"/>
                    </a:lnTo>
                    <a:lnTo>
                      <a:pt x="f142" y="f139"/>
                    </a:lnTo>
                    <a:lnTo>
                      <a:pt x="f143" y="f144"/>
                    </a:lnTo>
                    <a:lnTo>
                      <a:pt x="f118" y="f145"/>
                    </a:lnTo>
                    <a:lnTo>
                      <a:pt x="f115" y="f145"/>
                    </a:lnTo>
                    <a:lnTo>
                      <a:pt x="f146" y="f147"/>
                    </a:lnTo>
                    <a:lnTo>
                      <a:pt x="f115" y="f139"/>
                    </a:lnTo>
                    <a:lnTo>
                      <a:pt x="f121" y="f148"/>
                    </a:lnTo>
                    <a:lnTo>
                      <a:pt x="f115" y="f149"/>
                    </a:lnTo>
                    <a:lnTo>
                      <a:pt x="f124" y="f150"/>
                    </a:lnTo>
                    <a:lnTo>
                      <a:pt x="f151" y="f152"/>
                    </a:lnTo>
                    <a:lnTo>
                      <a:pt x="f153" y="f154"/>
                    </a:lnTo>
                    <a:lnTo>
                      <a:pt x="f38" y="f154"/>
                    </a:lnTo>
                    <a:lnTo>
                      <a:pt x="f36" y="f155"/>
                    </a:lnTo>
                    <a:lnTo>
                      <a:pt x="f97" y="f156"/>
                    </a:lnTo>
                    <a:lnTo>
                      <a:pt x="f34" y="f157"/>
                    </a:lnTo>
                    <a:lnTo>
                      <a:pt x="f94" y="f141"/>
                    </a:lnTo>
                    <a:lnTo>
                      <a:pt x="f158" y="f159"/>
                    </a:lnTo>
                    <a:lnTo>
                      <a:pt x="f160" y="f137"/>
                    </a:lnTo>
                    <a:lnTo>
                      <a:pt x="f38" y="f161"/>
                    </a:lnTo>
                    <a:lnTo>
                      <a:pt x="f110" y="f162"/>
                    </a:lnTo>
                    <a:lnTo>
                      <a:pt x="f94" y="f163"/>
                    </a:lnTo>
                    <a:lnTo>
                      <a:pt x="f32" y="f164"/>
                    </a:lnTo>
                    <a:lnTo>
                      <a:pt x="f165" y="f135"/>
                    </a:lnTo>
                    <a:lnTo>
                      <a:pt x="f166" y="f167"/>
                    </a:lnTo>
                    <a:lnTo>
                      <a:pt x="f26" y="f168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lnTo>
                      <a:pt x="f15" y="f80"/>
                    </a:lnTo>
                    <a:lnTo>
                      <a:pt x="f177" y="f79"/>
                    </a:lnTo>
                    <a:lnTo>
                      <a:pt x="f178" y="f79"/>
                    </a:lnTo>
                    <a:lnTo>
                      <a:pt x="f179" y="f80"/>
                    </a:lnTo>
                    <a:lnTo>
                      <a:pt x="f180" y="f181"/>
                    </a:lnTo>
                    <a:lnTo>
                      <a:pt x="f182" y="f183"/>
                    </a:lnTo>
                    <a:lnTo>
                      <a:pt x="f184" y="f185"/>
                    </a:lnTo>
                    <a:lnTo>
                      <a:pt x="f186" y="f185"/>
                    </a:lnTo>
                    <a:lnTo>
                      <a:pt x="f187" y="f108"/>
                    </a:lnTo>
                    <a:lnTo>
                      <a:pt x="f188" y="f108"/>
                    </a:lnTo>
                    <a:lnTo>
                      <a:pt x="f189" y="f111"/>
                    </a:lnTo>
                    <a:lnTo>
                      <a:pt x="f190" y="f111"/>
                    </a:lnTo>
                    <a:lnTo>
                      <a:pt x="f191" y="f185"/>
                    </a:lnTo>
                    <a:lnTo>
                      <a:pt x="f192" y="f193"/>
                    </a:lnTo>
                    <a:lnTo>
                      <a:pt x="f194" y="f181"/>
                    </a:lnTo>
                    <a:lnTo>
                      <a:pt x="f190" y="f80"/>
                    </a:lnTo>
                    <a:lnTo>
                      <a:pt x="f195" y="f196"/>
                    </a:lnTo>
                    <a:lnTo>
                      <a:pt x="f197" y="f79"/>
                    </a:lnTo>
                    <a:lnTo>
                      <a:pt x="f198" y="f104"/>
                    </a:lnTo>
                    <a:lnTo>
                      <a:pt x="f199" y="f102"/>
                    </a:lnTo>
                    <a:lnTo>
                      <a:pt x="f200" y="f78"/>
                    </a:lnTo>
                    <a:lnTo>
                      <a:pt x="f201" y="f202"/>
                    </a:lnTo>
                    <a:lnTo>
                      <a:pt x="f203" y="f98"/>
                    </a:lnTo>
                    <a:lnTo>
                      <a:pt x="f204" y="f205"/>
                    </a:lnTo>
                    <a:lnTo>
                      <a:pt x="f190" y="f206"/>
                    </a:lnTo>
                    <a:lnTo>
                      <a:pt x="f190" y="f207"/>
                    </a:lnTo>
                    <a:lnTo>
                      <a:pt x="f204" y="f208"/>
                    </a:lnTo>
                    <a:lnTo>
                      <a:pt x="f209" y="f70"/>
                    </a:lnTo>
                    <a:lnTo>
                      <a:pt x="f210" y="f211"/>
                    </a:lnTo>
                    <a:lnTo>
                      <a:pt x="f212" y="f213"/>
                    </a:lnTo>
                    <a:lnTo>
                      <a:pt x="f189" y="f214"/>
                    </a:lnTo>
                    <a:lnTo>
                      <a:pt x="f215" y="f216"/>
                    </a:lnTo>
                    <a:lnTo>
                      <a:pt x="f217" y="f218"/>
                    </a:lnTo>
                    <a:lnTo>
                      <a:pt x="f219" y="f220"/>
                    </a:lnTo>
                    <a:lnTo>
                      <a:pt x="f221" y="f222"/>
                    </a:lnTo>
                    <a:lnTo>
                      <a:pt x="f223" y="f224"/>
                    </a:lnTo>
                    <a:lnTo>
                      <a:pt x="f225" y="f51"/>
                    </a:lnTo>
                    <a:lnTo>
                      <a:pt x="f226" y="f227"/>
                    </a:lnTo>
                    <a:lnTo>
                      <a:pt x="f228" y="f229"/>
                    </a:lnTo>
                    <a:lnTo>
                      <a:pt x="f230" y="f47"/>
                    </a:lnTo>
                    <a:lnTo>
                      <a:pt x="f226" y="f231"/>
                    </a:lnTo>
                    <a:lnTo>
                      <a:pt x="f226" y="f232"/>
                    </a:lnTo>
                    <a:lnTo>
                      <a:pt x="f228" y="f233"/>
                    </a:lnTo>
                    <a:lnTo>
                      <a:pt x="f184" y="f234"/>
                    </a:lnTo>
                    <a:lnTo>
                      <a:pt x="f235" y="f236"/>
                    </a:lnTo>
                    <a:lnTo>
                      <a:pt x="f237" y="f238"/>
                    </a:lnTo>
                    <a:lnTo>
                      <a:pt x="f239" y="f240"/>
                    </a:lnTo>
                    <a:lnTo>
                      <a:pt x="f230" y="f31"/>
                    </a:lnTo>
                    <a:lnTo>
                      <a:pt x="f241" y="f31"/>
                    </a:lnTo>
                    <a:lnTo>
                      <a:pt x="f187" y="f240"/>
                    </a:lnTo>
                    <a:lnTo>
                      <a:pt x="f219" y="f240"/>
                    </a:lnTo>
                    <a:lnTo>
                      <a:pt x="f242" y="f243"/>
                    </a:lnTo>
                    <a:lnTo>
                      <a:pt x="f244" y="f29"/>
                    </a:lnTo>
                    <a:lnTo>
                      <a:pt x="f245" y="f25"/>
                    </a:lnTo>
                    <a:lnTo>
                      <a:pt x="f204" y="f246"/>
                    </a:lnTo>
                    <a:lnTo>
                      <a:pt x="f191" y="f246"/>
                    </a:lnTo>
                    <a:lnTo>
                      <a:pt x="f247" y="f25"/>
                    </a:lnTo>
                    <a:lnTo>
                      <a:pt x="f248" y="f249"/>
                    </a:lnTo>
                    <a:lnTo>
                      <a:pt x="f250" y="f251"/>
                    </a:lnTo>
                    <a:lnTo>
                      <a:pt x="f252" y="f253"/>
                    </a:lnTo>
                    <a:lnTo>
                      <a:pt x="f254" y="f255"/>
                    </a:lnTo>
                    <a:lnTo>
                      <a:pt x="f256" y="f41"/>
                    </a:lnTo>
                    <a:lnTo>
                      <a:pt x="f257" y="f43"/>
                    </a:lnTo>
                    <a:lnTo>
                      <a:pt x="f258" y="f259"/>
                    </a:lnTo>
                    <a:lnTo>
                      <a:pt x="f260" y="f232"/>
                    </a:lnTo>
                    <a:lnTo>
                      <a:pt x="f261" y="f262"/>
                    </a:lnTo>
                    <a:lnTo>
                      <a:pt x="f263" y="f264"/>
                    </a:lnTo>
                    <a:lnTo>
                      <a:pt x="f265" y="f33"/>
                    </a:lnTo>
                    <a:lnTo>
                      <a:pt x="f266" y="f267"/>
                    </a:lnTo>
                    <a:lnTo>
                      <a:pt x="f268" y="f232"/>
                    </a:lnTo>
                    <a:lnTo>
                      <a:pt x="f268" y="f45"/>
                    </a:lnTo>
                    <a:lnTo>
                      <a:pt x="f269" y="f270"/>
                    </a:lnTo>
                    <a:lnTo>
                      <a:pt x="f271" y="f229"/>
                    </a:lnTo>
                    <a:lnTo>
                      <a:pt x="f266" y="f272"/>
                    </a:lnTo>
                    <a:lnTo>
                      <a:pt x="f273" y="f222"/>
                    </a:lnTo>
                    <a:lnTo>
                      <a:pt x="f274" y="f275"/>
                    </a:lnTo>
                    <a:lnTo>
                      <a:pt x="f276" y="f277"/>
                    </a:lnTo>
                    <a:lnTo>
                      <a:pt x="f278" y="f279"/>
                    </a:lnTo>
                    <a:lnTo>
                      <a:pt x="f280" y="f281"/>
                    </a:lnTo>
                    <a:lnTo>
                      <a:pt x="f282" y="f283"/>
                    </a:lnTo>
                    <a:lnTo>
                      <a:pt x="f284" y="f76"/>
                    </a:lnTo>
                    <a:lnTo>
                      <a:pt x="f284" y="f99"/>
                    </a:lnTo>
                    <a:lnTo>
                      <a:pt x="f285" y="f196"/>
                    </a:lnTo>
                    <a:lnTo>
                      <a:pt x="f286" y="f183"/>
                    </a:lnTo>
                    <a:lnTo>
                      <a:pt x="f287" y="f116"/>
                    </a:lnTo>
                    <a:lnTo>
                      <a:pt x="f288" y="f289"/>
                    </a:lnTo>
                    <a:lnTo>
                      <a:pt x="f288" y="f125"/>
                    </a:lnTo>
                    <a:lnTo>
                      <a:pt x="f290" y="f167"/>
                    </a:lnTo>
                    <a:lnTo>
                      <a:pt x="f291" y="f127"/>
                    </a:lnTo>
                    <a:lnTo>
                      <a:pt x="f286" y="f130"/>
                    </a:lnTo>
                    <a:lnTo>
                      <a:pt x="f292" y="f163"/>
                    </a:lnTo>
                    <a:lnTo>
                      <a:pt x="f282" y="f145"/>
                    </a:lnTo>
                    <a:lnTo>
                      <a:pt x="f293" y="f147"/>
                    </a:lnTo>
                    <a:lnTo>
                      <a:pt x="f285" y="f294"/>
                    </a:lnTo>
                    <a:lnTo>
                      <a:pt x="f286" y="f295"/>
                    </a:lnTo>
                    <a:lnTo>
                      <a:pt x="f296" y="f157"/>
                    </a:lnTo>
                    <a:lnTo>
                      <a:pt x="f291" y="f154"/>
                    </a:lnTo>
                    <a:lnTo>
                      <a:pt x="f297" y="f298"/>
                    </a:lnTo>
                    <a:lnTo>
                      <a:pt x="f286" y="f299"/>
                    </a:lnTo>
                    <a:lnTo>
                      <a:pt x="f284" y="f300"/>
                    </a:lnTo>
                    <a:lnTo>
                      <a:pt x="f293" y="f301"/>
                    </a:lnTo>
                    <a:lnTo>
                      <a:pt x="f293" y="f302"/>
                    </a:lnTo>
                    <a:lnTo>
                      <a:pt x="f285" y="f303"/>
                    </a:lnTo>
                    <a:lnTo>
                      <a:pt x="f304" y="f305"/>
                    </a:lnTo>
                    <a:lnTo>
                      <a:pt x="f306" y="f307"/>
                    </a:lnTo>
                    <a:lnTo>
                      <a:pt x="f308" y="f309"/>
                    </a:lnTo>
                    <a:lnTo>
                      <a:pt x="f308" y="f310"/>
                    </a:lnTo>
                    <a:lnTo>
                      <a:pt x="f311" y="f312"/>
                    </a:lnTo>
                    <a:lnTo>
                      <a:pt x="f313" y="f314"/>
                    </a:lnTo>
                    <a:lnTo>
                      <a:pt x="f315" y="f60"/>
                    </a:lnTo>
                    <a:lnTo>
                      <a:pt x="f316" y="f317"/>
                    </a:lnTo>
                    <a:lnTo>
                      <a:pt x="f318" y="f312"/>
                    </a:lnTo>
                    <a:lnTo>
                      <a:pt x="f319" y="f320"/>
                    </a:lnTo>
                    <a:lnTo>
                      <a:pt x="f321" y="f67"/>
                    </a:lnTo>
                    <a:lnTo>
                      <a:pt x="f322" y="f323"/>
                    </a:lnTo>
                    <a:lnTo>
                      <a:pt x="f324" y="f133"/>
                    </a:lnTo>
                    <a:lnTo>
                      <a:pt x="f325" y="f54"/>
                    </a:lnTo>
                    <a:lnTo>
                      <a:pt x="f326" y="f327"/>
                    </a:lnTo>
                    <a:lnTo>
                      <a:pt x="f328" y="f48"/>
                    </a:lnTo>
                    <a:lnTo>
                      <a:pt x="f329" y="f330"/>
                    </a:lnTo>
                    <a:lnTo>
                      <a:pt x="f315" y="f38"/>
                    </a:lnTo>
                    <a:lnTo>
                      <a:pt x="f311" y="f36"/>
                    </a:lnTo>
                    <a:lnTo>
                      <a:pt x="f288" y="f94"/>
                    </a:lnTo>
                    <a:lnTo>
                      <a:pt x="f291" y="f97"/>
                    </a:lnTo>
                    <a:lnTo>
                      <a:pt x="f331" y="f95"/>
                    </a:lnTo>
                    <a:lnTo>
                      <a:pt x="f292" y="f100"/>
                    </a:lnTo>
                    <a:lnTo>
                      <a:pt x="f284" y="f101"/>
                    </a:lnTo>
                    <a:lnTo>
                      <a:pt x="f332" y="f30"/>
                    </a:lnTo>
                    <a:lnTo>
                      <a:pt x="f333" y="f334"/>
                    </a:lnTo>
                    <a:lnTo>
                      <a:pt x="f297" y="f335"/>
                    </a:lnTo>
                    <a:lnTo>
                      <a:pt x="f304" y="f336"/>
                    </a:lnTo>
                    <a:lnTo>
                      <a:pt x="f285" y="f24"/>
                    </a:lnTo>
                    <a:lnTo>
                      <a:pt x="f337" y="f338"/>
                    </a:lnTo>
                    <a:lnTo>
                      <a:pt x="f339" y="f340"/>
                    </a:lnTo>
                    <a:lnTo>
                      <a:pt x="f339" y="f15"/>
                    </a:lnTo>
                    <a:lnTo>
                      <a:pt x="f341" y="f342"/>
                    </a:lnTo>
                    <a:lnTo>
                      <a:pt x="f337" y="f343"/>
                    </a:lnTo>
                    <a:lnTo>
                      <a:pt x="f344" y="f182"/>
                    </a:lnTo>
                    <a:lnTo>
                      <a:pt x="f293" y="f345"/>
                    </a:lnTo>
                    <a:lnTo>
                      <a:pt x="f286" y="f346"/>
                    </a:lnTo>
                    <a:lnTo>
                      <a:pt x="f347" y="f187"/>
                    </a:lnTo>
                    <a:lnTo>
                      <a:pt x="f318" y="f348"/>
                    </a:lnTo>
                    <a:lnTo>
                      <a:pt x="f349" y="f219"/>
                    </a:lnTo>
                    <a:lnTo>
                      <a:pt x="f350" y="f351"/>
                    </a:lnTo>
                    <a:lnTo>
                      <a:pt x="f352" y="f353"/>
                    </a:lnTo>
                    <a:lnTo>
                      <a:pt x="f354" y="f201"/>
                    </a:lnTo>
                    <a:lnTo>
                      <a:pt x="f355" y="f356"/>
                    </a:lnTo>
                    <a:lnTo>
                      <a:pt x="f357" y="f358"/>
                    </a:lnTo>
                    <a:lnTo>
                      <a:pt x="f359" y="f360"/>
                    </a:lnTo>
                    <a:lnTo>
                      <a:pt x="f361" y="f362"/>
                    </a:lnTo>
                    <a:lnTo>
                      <a:pt x="f363" y="f194"/>
                    </a:lnTo>
                    <a:lnTo>
                      <a:pt x="f364" y="f365"/>
                    </a:lnTo>
                    <a:lnTo>
                      <a:pt x="f366" y="f367"/>
                    </a:lnTo>
                    <a:lnTo>
                      <a:pt x="f368" y="f369"/>
                    </a:lnTo>
                    <a:lnTo>
                      <a:pt x="f370" y="f369"/>
                    </a:lnTo>
                    <a:lnTo>
                      <a:pt x="f371" y="f367"/>
                    </a:lnTo>
                    <a:lnTo>
                      <a:pt x="f372" y="f190"/>
                    </a:lnTo>
                    <a:lnTo>
                      <a:pt x="f373" y="f190"/>
                    </a:lnTo>
                    <a:lnTo>
                      <a:pt x="f374" y="f365"/>
                    </a:lnTo>
                    <a:lnTo>
                      <a:pt x="f375" y="f376"/>
                    </a:lnTo>
                    <a:lnTo>
                      <a:pt x="f377" y="f191"/>
                    </a:lnTo>
                    <a:lnTo>
                      <a:pt x="f378" y="f360"/>
                    </a:lnTo>
                    <a:lnTo>
                      <a:pt x="f379" y="f380"/>
                    </a:lnTo>
                    <a:lnTo>
                      <a:pt x="f381" y="f382"/>
                    </a:lnTo>
                    <a:lnTo>
                      <a:pt x="f383" y="f384"/>
                    </a:lnTo>
                    <a:lnTo>
                      <a:pt x="f385" y="f386"/>
                    </a:lnTo>
                    <a:lnTo>
                      <a:pt x="f387" y="f388"/>
                    </a:lnTo>
                    <a:lnTo>
                      <a:pt x="f389" y="f390"/>
                    </a:lnTo>
                    <a:lnTo>
                      <a:pt x="f391" y="f392"/>
                    </a:lnTo>
                    <a:lnTo>
                      <a:pt x="f393" y="f392"/>
                    </a:lnTo>
                    <a:lnTo>
                      <a:pt x="f394" y="f395"/>
                    </a:lnTo>
                    <a:lnTo>
                      <a:pt x="f396" y="f397"/>
                    </a:lnTo>
                    <a:lnTo>
                      <a:pt x="f398" y="f399"/>
                    </a:lnTo>
                    <a:lnTo>
                      <a:pt x="f400" y="f384"/>
                    </a:lnTo>
                    <a:lnTo>
                      <a:pt x="f401" y="f402"/>
                    </a:lnTo>
                    <a:lnTo>
                      <a:pt x="f403" y="f404"/>
                    </a:lnTo>
                    <a:lnTo>
                      <a:pt x="f405" y="f388"/>
                    </a:lnTo>
                    <a:lnTo>
                      <a:pt x="f406" y="f388"/>
                    </a:lnTo>
                    <a:lnTo>
                      <a:pt x="f407" y="f397"/>
                    </a:lnTo>
                    <a:lnTo>
                      <a:pt x="f408" y="f409"/>
                    </a:lnTo>
                    <a:lnTo>
                      <a:pt x="f410" y="f411"/>
                    </a:lnTo>
                    <a:lnTo>
                      <a:pt x="f412" y="f413"/>
                    </a:lnTo>
                    <a:lnTo>
                      <a:pt x="f414" y="f390"/>
                    </a:lnTo>
                    <a:lnTo>
                      <a:pt x="f415" y="f388"/>
                    </a:lnTo>
                    <a:lnTo>
                      <a:pt x="f416" y="f402"/>
                    </a:lnTo>
                    <a:lnTo>
                      <a:pt x="f7" y="f356"/>
                    </a:lnTo>
                    <a:lnTo>
                      <a:pt x="f417" y="f190"/>
                    </a:lnTo>
                    <a:lnTo>
                      <a:pt x="f418" y="f369"/>
                    </a:lnTo>
                    <a:lnTo>
                      <a:pt x="f419" y="f367"/>
                    </a:lnTo>
                    <a:lnTo>
                      <a:pt x="f420" y="f376"/>
                    </a:lnTo>
                    <a:lnTo>
                      <a:pt x="f421" y="f362"/>
                    </a:lnTo>
                    <a:lnTo>
                      <a:pt x="f422" y="f384"/>
                    </a:lnTo>
                    <a:lnTo>
                      <a:pt x="f423" y="f386"/>
                    </a:lnTo>
                    <a:lnTo>
                      <a:pt x="f424" y="f250"/>
                    </a:lnTo>
                    <a:lnTo>
                      <a:pt x="f425" y="f402"/>
                    </a:lnTo>
                    <a:lnTo>
                      <a:pt x="f426" y="f356"/>
                    </a:lnTo>
                    <a:lnTo>
                      <a:pt x="f427" y="f191"/>
                    </a:lnTo>
                    <a:lnTo>
                      <a:pt x="f428" y="f362"/>
                    </a:lnTo>
                    <a:lnTo>
                      <a:pt x="f429" y="f360"/>
                    </a:lnTo>
                    <a:lnTo>
                      <a:pt x="f430" y="f382"/>
                    </a:lnTo>
                    <a:lnTo>
                      <a:pt x="f431" y="f384"/>
                    </a:lnTo>
                    <a:lnTo>
                      <a:pt x="f432" y="f433"/>
                    </a:lnTo>
                    <a:lnTo>
                      <a:pt x="f428" y="f434"/>
                    </a:lnTo>
                    <a:lnTo>
                      <a:pt x="f435" y="f436"/>
                    </a:lnTo>
                    <a:lnTo>
                      <a:pt x="f437" y="f438"/>
                    </a:lnTo>
                    <a:lnTo>
                      <a:pt x="f439" y="f440"/>
                    </a:lnTo>
                    <a:lnTo>
                      <a:pt x="f441" y="f442"/>
                    </a:lnTo>
                    <a:lnTo>
                      <a:pt x="f6" y="f443"/>
                    </a:lnTo>
                    <a:lnTo>
                      <a:pt x="f444" y="f445"/>
                    </a:lnTo>
                    <a:lnTo>
                      <a:pt x="f446" y="f447"/>
                    </a:lnTo>
                    <a:lnTo>
                      <a:pt x="f448" y="f447"/>
                    </a:lnTo>
                    <a:lnTo>
                      <a:pt x="f435" y="f445"/>
                    </a:lnTo>
                    <a:lnTo>
                      <a:pt x="f449" y="f450"/>
                    </a:lnTo>
                    <a:lnTo>
                      <a:pt x="f451" y="f263"/>
                    </a:lnTo>
                    <a:lnTo>
                      <a:pt x="f452" y="f450"/>
                    </a:lnTo>
                    <a:lnTo>
                      <a:pt x="f453" y="f447"/>
                    </a:lnTo>
                    <a:lnTo>
                      <a:pt x="f454" y="f268"/>
                    </a:lnTo>
                    <a:lnTo>
                      <a:pt x="f422" y="f455"/>
                    </a:lnTo>
                    <a:lnTo>
                      <a:pt x="f456" y="f341"/>
                    </a:lnTo>
                    <a:lnTo>
                      <a:pt x="f425" y="f331"/>
                    </a:lnTo>
                    <a:lnTo>
                      <a:pt x="f457" y="f291"/>
                    </a:lnTo>
                    <a:lnTo>
                      <a:pt x="f458" y="f459"/>
                    </a:lnTo>
                    <a:lnTo>
                      <a:pt x="f460" y="f461"/>
                    </a:lnTo>
                    <a:lnTo>
                      <a:pt x="f462" y="f311"/>
                    </a:lnTo>
                    <a:lnTo>
                      <a:pt x="f463" y="f464"/>
                    </a:lnTo>
                    <a:lnTo>
                      <a:pt x="f465" y="f466"/>
                    </a:lnTo>
                    <a:lnTo>
                      <a:pt x="f467" y="f349"/>
                    </a:lnTo>
                    <a:lnTo>
                      <a:pt x="f468" y="f469"/>
                    </a:lnTo>
                    <a:lnTo>
                      <a:pt x="f470" y="f352"/>
                    </a:lnTo>
                    <a:lnTo>
                      <a:pt x="f470" y="f471"/>
                    </a:lnTo>
                    <a:lnTo>
                      <a:pt x="f417" y="f472"/>
                    </a:lnTo>
                    <a:lnTo>
                      <a:pt x="f473" y="f474"/>
                    </a:lnTo>
                    <a:lnTo>
                      <a:pt x="f475" y="f476"/>
                    </a:lnTo>
                    <a:lnTo>
                      <a:pt x="f477" y="f478"/>
                    </a:lnTo>
                    <a:lnTo>
                      <a:pt x="f479" y="f480"/>
                    </a:lnTo>
                    <a:lnTo>
                      <a:pt x="f481" y="f482"/>
                    </a:lnTo>
                    <a:lnTo>
                      <a:pt x="f483" y="f484"/>
                    </a:lnTo>
                    <a:lnTo>
                      <a:pt x="f485" y="f486"/>
                    </a:lnTo>
                    <a:lnTo>
                      <a:pt x="f487" y="f371"/>
                    </a:lnTo>
                    <a:lnTo>
                      <a:pt x="f488" y="f489"/>
                    </a:lnTo>
                    <a:lnTo>
                      <a:pt x="f490" y="f372"/>
                    </a:lnTo>
                    <a:lnTo>
                      <a:pt x="f398" y="f491"/>
                    </a:lnTo>
                    <a:lnTo>
                      <a:pt x="f492" y="f493"/>
                    </a:lnTo>
                    <a:lnTo>
                      <a:pt x="f494" y="f495"/>
                    </a:lnTo>
                    <a:lnTo>
                      <a:pt x="f496" y="f493"/>
                    </a:lnTo>
                    <a:lnTo>
                      <a:pt x="f393" y="f493"/>
                    </a:lnTo>
                    <a:lnTo>
                      <a:pt x="f497" y="f498"/>
                    </a:lnTo>
                    <a:lnTo>
                      <a:pt x="f497" y="f491"/>
                    </a:lnTo>
                    <a:lnTo>
                      <a:pt x="f499" y="f500"/>
                    </a:lnTo>
                    <a:lnTo>
                      <a:pt x="f499" y="f501"/>
                    </a:lnTo>
                    <a:lnTo>
                      <a:pt x="f502" y="f503"/>
                    </a:lnTo>
                    <a:lnTo>
                      <a:pt x="f504" y="f503"/>
                    </a:lnTo>
                    <a:lnTo>
                      <a:pt x="f505" y="f506"/>
                    </a:lnTo>
                    <a:lnTo>
                      <a:pt x="f507" y="f508"/>
                    </a:lnTo>
                    <a:lnTo>
                      <a:pt x="f387" y="f509"/>
                    </a:lnTo>
                    <a:lnTo>
                      <a:pt x="f383" y="f484"/>
                    </a:lnTo>
                    <a:lnTo>
                      <a:pt x="f510" y="f511"/>
                    </a:lnTo>
                    <a:lnTo>
                      <a:pt x="f512" y="f513"/>
                    </a:lnTo>
                    <a:lnTo>
                      <a:pt x="f514" y="f480"/>
                    </a:lnTo>
                    <a:lnTo>
                      <a:pt x="f515" y="f516"/>
                    </a:lnTo>
                    <a:lnTo>
                      <a:pt x="f517" y="f518"/>
                    </a:lnTo>
                    <a:lnTo>
                      <a:pt x="f519" y="f520"/>
                    </a:lnTo>
                    <a:lnTo>
                      <a:pt x="f521" y="f364"/>
                    </a:lnTo>
                    <a:lnTo>
                      <a:pt x="f366" y="f364"/>
                    </a:lnTo>
                    <a:lnTo>
                      <a:pt x="f522" y="f520"/>
                    </a:lnTo>
                    <a:lnTo>
                      <a:pt x="f523" y="f524"/>
                    </a:lnTo>
                    <a:lnTo>
                      <a:pt x="f525" y="f480"/>
                    </a:lnTo>
                    <a:lnTo>
                      <a:pt x="f526" y="f482"/>
                    </a:lnTo>
                    <a:lnTo>
                      <a:pt x="f527" y="f528"/>
                    </a:lnTo>
                    <a:lnTo>
                      <a:pt x="f355" y="f529"/>
                    </a:lnTo>
                    <a:lnTo>
                      <a:pt x="f355" y="f372"/>
                    </a:lnTo>
                    <a:lnTo>
                      <a:pt x="f530" y="f531"/>
                    </a:lnTo>
                    <a:lnTo>
                      <a:pt x="f532" y="f373"/>
                    </a:lnTo>
                    <a:lnTo>
                      <a:pt x="f533" y="f534"/>
                    </a:lnTo>
                    <a:lnTo>
                      <a:pt x="f328" y="f535"/>
                    </a:lnTo>
                    <a:lnTo>
                      <a:pt x="f319" y="f510"/>
                    </a:lnTo>
                    <a:lnTo>
                      <a:pt x="f536" y="f537"/>
                    </a:lnTo>
                    <a:lnTo>
                      <a:pt x="f315" y="f538"/>
                    </a:lnTo>
                    <a:lnTo>
                      <a:pt x="f539" y="f385"/>
                    </a:lnTo>
                    <a:lnTo>
                      <a:pt x="f291" y="f540"/>
                    </a:lnTo>
                    <a:lnTo>
                      <a:pt x="f455" y="f387"/>
                    </a:lnTo>
                    <a:lnTo>
                      <a:pt x="f541" y="f542"/>
                    </a:lnTo>
                    <a:lnTo>
                      <a:pt x="f268" y="f543"/>
                    </a:lnTo>
                    <a:lnTo>
                      <a:pt x="f445" y="f544"/>
                    </a:lnTo>
                    <a:lnTo>
                      <a:pt x="f545" y="f546"/>
                    </a:lnTo>
                    <a:lnTo>
                      <a:pt x="f547" y="f548"/>
                    </a:lnTo>
                    <a:lnTo>
                      <a:pt x="f549" y="f550"/>
                    </a:lnTo>
                    <a:lnTo>
                      <a:pt x="f551" y="f552"/>
                    </a:lnTo>
                    <a:lnTo>
                      <a:pt x="f553" y="f554"/>
                    </a:lnTo>
                    <a:lnTo>
                      <a:pt x="f555" y="f556"/>
                    </a:lnTo>
                    <a:lnTo>
                      <a:pt x="f411" y="f557"/>
                    </a:lnTo>
                    <a:lnTo>
                      <a:pt x="f558" y="f559"/>
                    </a:lnTo>
                    <a:lnTo>
                      <a:pt x="f433" y="f559"/>
                    </a:lnTo>
                    <a:lnTo>
                      <a:pt x="f560" y="f561"/>
                    </a:lnTo>
                    <a:lnTo>
                      <a:pt x="f204" y="f401"/>
                    </a:lnTo>
                    <a:lnTo>
                      <a:pt x="f210" y="f554"/>
                    </a:lnTo>
                    <a:lnTo>
                      <a:pt x="f353" y="f562"/>
                    </a:lnTo>
                    <a:lnTo>
                      <a:pt x="f563" y="f564"/>
                    </a:lnTo>
                    <a:lnTo>
                      <a:pt x="f187" y="f565"/>
                    </a:lnTo>
                    <a:lnTo>
                      <a:pt x="f566" y="f492"/>
                    </a:lnTo>
                    <a:lnTo>
                      <a:pt x="f225" y="f567"/>
                    </a:lnTo>
                    <a:lnTo>
                      <a:pt x="f186" y="f400"/>
                    </a:lnTo>
                    <a:lnTo>
                      <a:pt x="f568" y="f556"/>
                    </a:lnTo>
                    <a:lnTo>
                      <a:pt x="f569" y="f570"/>
                    </a:lnTo>
                    <a:lnTo>
                      <a:pt x="f571" y="f572"/>
                    </a:lnTo>
                    <a:lnTo>
                      <a:pt x="f20" y="f572"/>
                    </a:lnTo>
                    <a:lnTo>
                      <a:pt x="f24" y="f573"/>
                    </a:lnTo>
                    <a:lnTo>
                      <a:pt x="f574" y="f488"/>
                    </a:lnTo>
                    <a:lnTo>
                      <a:pt x="f575" y="f576"/>
                    </a:lnTo>
                    <a:lnTo>
                      <a:pt x="f8" y="f577"/>
                    </a:lnTo>
                    <a:lnTo>
                      <a:pt x="f578" y="f579"/>
                    </a:lnTo>
                    <a:lnTo>
                      <a:pt x="f15" y="f407"/>
                    </a:lnTo>
                    <a:lnTo>
                      <a:pt x="f13" y="f580"/>
                    </a:lnTo>
                    <a:lnTo>
                      <a:pt x="f8" y="f581"/>
                    </a:lnTo>
                    <a:lnTo>
                      <a:pt x="f24" y="f410"/>
                    </a:lnTo>
                    <a:lnTo>
                      <a:pt x="f582" y="f583"/>
                    </a:lnTo>
                    <a:lnTo>
                      <a:pt x="f28" y="f584"/>
                    </a:lnTo>
                    <a:lnTo>
                      <a:pt x="f165" y="f585"/>
                    </a:lnTo>
                    <a:lnTo>
                      <a:pt x="f586" y="f585"/>
                    </a:lnTo>
                    <a:lnTo>
                      <a:pt x="f101" y="f587"/>
                    </a:lnTo>
                    <a:lnTo>
                      <a:pt x="f588" y="f589"/>
                    </a:lnTo>
                    <a:lnTo>
                      <a:pt x="f590" y="f591"/>
                    </a:lnTo>
                    <a:lnTo>
                      <a:pt x="f34" y="f581"/>
                    </a:lnTo>
                    <a:lnTo>
                      <a:pt x="f110" y="f592"/>
                    </a:lnTo>
                    <a:lnTo>
                      <a:pt x="f593" y="f410"/>
                    </a:lnTo>
                    <a:lnTo>
                      <a:pt x="f594" y="f592"/>
                    </a:lnTo>
                    <a:lnTo>
                      <a:pt x="f90" y="f589"/>
                    </a:lnTo>
                    <a:lnTo>
                      <a:pt x="f595" y="f589"/>
                    </a:lnTo>
                    <a:lnTo>
                      <a:pt x="f129" y="f410"/>
                    </a:lnTo>
                    <a:lnTo>
                      <a:pt x="f596" y="f583"/>
                    </a:lnTo>
                    <a:lnTo>
                      <a:pt x="f54" y="f584"/>
                    </a:lnTo>
                    <a:lnTo>
                      <a:pt x="f140" y="f597"/>
                    </a:lnTo>
                    <a:lnTo>
                      <a:pt x="f598" y="f599"/>
                    </a:lnTo>
                    <a:lnTo>
                      <a:pt x="f69" y="f600"/>
                    </a:lnTo>
                    <a:lnTo>
                      <a:pt x="f310" y="f601"/>
                    </a:lnTo>
                    <a:lnTo>
                      <a:pt x="f602" y="f603"/>
                    </a:lnTo>
                    <a:lnTo>
                      <a:pt x="f604" y="f605"/>
                    </a:lnTo>
                    <a:lnTo>
                      <a:pt x="f606" y="f607"/>
                    </a:lnTo>
                    <a:lnTo>
                      <a:pt x="f608" y="f609"/>
                    </a:lnTo>
                    <a:lnTo>
                      <a:pt x="f303" y="f479"/>
                    </a:lnTo>
                    <a:lnTo>
                      <a:pt x="f608" y="f610"/>
                    </a:lnTo>
                    <a:lnTo>
                      <a:pt x="f608" y="f587"/>
                    </a:lnTo>
                    <a:lnTo>
                      <a:pt x="f611" y="f612"/>
                    </a:lnTo>
                    <a:lnTo>
                      <a:pt x="f302" y="f612"/>
                    </a:lnTo>
                    <a:lnTo>
                      <a:pt x="f301" y="f587"/>
                    </a:lnTo>
                    <a:lnTo>
                      <a:pt x="f613" y="f614"/>
                    </a:lnTo>
                    <a:lnTo>
                      <a:pt x="f615" y="f616"/>
                    </a:lnTo>
                    <a:lnTo>
                      <a:pt x="f298" y="f610"/>
                    </a:lnTo>
                    <a:lnTo>
                      <a:pt x="f617" y="f618"/>
                    </a:lnTo>
                    <a:lnTo>
                      <a:pt x="f619" y="f620"/>
                    </a:lnTo>
                    <a:lnTo>
                      <a:pt x="f621" y="f605"/>
                    </a:lnTo>
                    <a:lnTo>
                      <a:pt x="f154" y="f622"/>
                    </a:lnTo>
                    <a:lnTo>
                      <a:pt x="f156" y="f623"/>
                    </a:lnTo>
                    <a:lnTo>
                      <a:pt x="f624" y="f625"/>
                    </a:lnTo>
                    <a:lnTo>
                      <a:pt x="f147" y="f7"/>
                    </a:lnTo>
                    <a:lnTo>
                      <a:pt x="f147" y="f609"/>
                    </a:lnTo>
                    <a:lnTo>
                      <a:pt x="f626" y="f610"/>
                    </a:lnTo>
                    <a:lnTo>
                      <a:pt x="f627" y="f483"/>
                    </a:lnTo>
                    <a:lnTo>
                      <a:pt x="f628" y="f585"/>
                    </a:lnTo>
                    <a:lnTo>
                      <a:pt x="f163" y="f412"/>
                    </a:lnTo>
                    <a:lnTo>
                      <a:pt x="f128" y="f629"/>
                    </a:lnTo>
                    <a:lnTo>
                      <a:pt x="f630" y="f631"/>
                    </a:lnTo>
                    <a:lnTo>
                      <a:pt x="f632" y="f633"/>
                    </a:lnTo>
                    <a:lnTo>
                      <a:pt x="f634" y="f635"/>
                    </a:lnTo>
                    <a:lnTo>
                      <a:pt x="f636" y="f637"/>
                    </a:lnTo>
                    <a:lnTo>
                      <a:pt x="f164" y="f557"/>
                    </a:lnTo>
                    <a:lnTo>
                      <a:pt x="f128" y="f556"/>
                    </a:lnTo>
                    <a:lnTo>
                      <a:pt x="f638" y="f639"/>
                    </a:lnTo>
                    <a:lnTo>
                      <a:pt x="f640" y="f641"/>
                    </a:lnTo>
                    <a:lnTo>
                      <a:pt x="f167" y="f400"/>
                    </a:lnTo>
                    <a:lnTo>
                      <a:pt x="f640" y="f562"/>
                    </a:lnTo>
                    <a:lnTo>
                      <a:pt x="f136" y="f492"/>
                    </a:lnTo>
                    <a:lnTo>
                      <a:pt x="f627" y="f642"/>
                    </a:lnTo>
                    <a:lnTo>
                      <a:pt x="f295" y="f548"/>
                    </a:lnTo>
                    <a:lnTo>
                      <a:pt x="f624" y="f643"/>
                    </a:lnTo>
                    <a:lnTo>
                      <a:pt x="f624" y="f644"/>
                    </a:lnTo>
                    <a:lnTo>
                      <a:pt x="f645" y="f383"/>
                    </a:lnTo>
                    <a:lnTo>
                      <a:pt x="f646" y="f537"/>
                    </a:lnTo>
                    <a:lnTo>
                      <a:pt x="f150" y="f647"/>
                    </a:lnTo>
                    <a:lnTo>
                      <a:pt x="f154" y="f534"/>
                    </a:lnTo>
                    <a:lnTo>
                      <a:pt x="f154" y="f648"/>
                    </a:lnTo>
                    <a:lnTo>
                      <a:pt x="f649" y="f508"/>
                    </a:lnTo>
                    <a:lnTo>
                      <a:pt x="f646" y="f370"/>
                    </a:lnTo>
                    <a:lnTo>
                      <a:pt x="f624" y="f650"/>
                    </a:lnTo>
                    <a:lnTo>
                      <a:pt x="f651" y="f652"/>
                    </a:lnTo>
                    <a:lnTo>
                      <a:pt x="f621" y="f653"/>
                    </a:lnTo>
                    <a:lnTo>
                      <a:pt x="f654" y="f655"/>
                    </a:lnTo>
                    <a:lnTo>
                      <a:pt x="f613" y="f472"/>
                    </a:lnTo>
                    <a:lnTo>
                      <a:pt x="f656" y="f657"/>
                    </a:lnTo>
                    <a:lnTo>
                      <a:pt x="f300" y="f657"/>
                    </a:lnTo>
                    <a:lnTo>
                      <a:pt x="f301" y="f658"/>
                    </a:lnTo>
                    <a:lnTo>
                      <a:pt x="f659" y="f471"/>
                    </a:lnTo>
                    <a:lnTo>
                      <a:pt x="f608" y="f660"/>
                    </a:lnTo>
                    <a:lnTo>
                      <a:pt x="f661" y="f471"/>
                    </a:lnTo>
                    <a:lnTo>
                      <a:pt x="f662" y="f527"/>
                    </a:lnTo>
                    <a:lnTo>
                      <a:pt x="f662" y="f352"/>
                    </a:lnTo>
                    <a:lnTo>
                      <a:pt x="f663" y="f664"/>
                    </a:lnTo>
                    <a:lnTo>
                      <a:pt x="f663" y="f665"/>
                    </a:lnTo>
                    <a:lnTo>
                      <a:pt x="f661" y="f666"/>
                    </a:lnTo>
                    <a:lnTo>
                      <a:pt x="f661" y="f459"/>
                    </a:lnTo>
                    <a:lnTo>
                      <a:pt x="f667" y="f290"/>
                    </a:lnTo>
                    <a:lnTo>
                      <a:pt x="f668" y="f290"/>
                    </a:lnTo>
                    <a:lnTo>
                      <a:pt x="f669" y="f287"/>
                    </a:lnTo>
                    <a:lnTo>
                      <a:pt x="f670" y="f671"/>
                    </a:lnTo>
                    <a:lnTo>
                      <a:pt x="f670" y="f672"/>
                    </a:lnTo>
                    <a:lnTo>
                      <a:pt x="f669" y="f673"/>
                    </a:lnTo>
                    <a:lnTo>
                      <a:pt x="f602" y="f293"/>
                    </a:lnTo>
                    <a:lnTo>
                      <a:pt x="f668" y="f337"/>
                    </a:lnTo>
                    <a:lnTo>
                      <a:pt x="f668" y="f674"/>
                    </a:lnTo>
                    <a:lnTo>
                      <a:pt x="f602" y="f339"/>
                    </a:lnTo>
                    <a:lnTo>
                      <a:pt x="f675" y="f339"/>
                    </a:lnTo>
                    <a:lnTo>
                      <a:pt x="f676" y="f677"/>
                    </a:lnTo>
                    <a:lnTo>
                      <a:pt x="f678" y="f293"/>
                    </a:lnTo>
                    <a:lnTo>
                      <a:pt x="f679" y="f331"/>
                    </a:lnTo>
                    <a:lnTo>
                      <a:pt x="f680" y="f672"/>
                    </a:lnTo>
                    <a:lnTo>
                      <a:pt x="f60" y="f296"/>
                    </a:lnTo>
                    <a:lnTo>
                      <a:pt x="f681" y="f304"/>
                    </a:lnTo>
                    <a:lnTo>
                      <a:pt x="f58" y="f292"/>
                    </a:lnTo>
                    <a:lnTo>
                      <a:pt x="f134" y="f339"/>
                    </a:lnTo>
                    <a:lnTo>
                      <a:pt x="f682" y="f683"/>
                    </a:lnTo>
                    <a:lnTo>
                      <a:pt x="f682" y="f684"/>
                    </a:lnTo>
                    <a:lnTo>
                      <a:pt x="f598" y="f445"/>
                    </a:lnTo>
                    <a:lnTo>
                      <a:pt x="f681" y="f685"/>
                    </a:lnTo>
                    <a:lnTo>
                      <a:pt x="f679" y="f686"/>
                    </a:lnTo>
                    <a:lnTo>
                      <a:pt x="f687" y="f442"/>
                    </a:lnTo>
                    <a:lnTo>
                      <a:pt x="f688" y="f689"/>
                    </a:lnTo>
                    <a:lnTo>
                      <a:pt x="f675" y="f690"/>
                    </a:lnTo>
                    <a:lnTo>
                      <a:pt x="f691" y="f440"/>
                    </a:lnTo>
                    <a:lnTo>
                      <a:pt x="f692" y="f693"/>
                    </a:lnTo>
                    <a:lnTo>
                      <a:pt x="f606" y="f551"/>
                    </a:lnTo>
                    <a:lnTo>
                      <a:pt x="f303" y="f694"/>
                    </a:lnTo>
                    <a:lnTo>
                      <a:pt x="f303" y="f695"/>
                    </a:lnTo>
                    <a:lnTo>
                      <a:pt x="f696" y="f697"/>
                    </a:lnTo>
                    <a:lnTo>
                      <a:pt x="f667" y="f256"/>
                    </a:lnTo>
                    <a:lnTo>
                      <a:pt x="f692" y="f698"/>
                    </a:lnTo>
                    <a:lnTo>
                      <a:pt x="f604" y="f413"/>
                    </a:lnTo>
                    <a:lnTo>
                      <a:pt x="f662" y="f699"/>
                    </a:lnTo>
                    <a:lnTo>
                      <a:pt x="f303" y="f386"/>
                    </a:lnTo>
                    <a:lnTo>
                      <a:pt x="f302" y="f380"/>
                    </a:lnTo>
                    <a:lnTo>
                      <a:pt x="f700" y="f192"/>
                    </a:lnTo>
                    <a:lnTo>
                      <a:pt x="f700" y="f356"/>
                    </a:lnTo>
                    <a:lnTo>
                      <a:pt x="f701" y="f190"/>
                    </a:lnTo>
                    <a:lnTo>
                      <a:pt x="f611" y="f702"/>
                    </a:lnTo>
                    <a:lnTo>
                      <a:pt x="f661" y="f703"/>
                    </a:lnTo>
                    <a:lnTo>
                      <a:pt x="f704" y="f705"/>
                    </a:lnTo>
                    <a:lnTo>
                      <a:pt x="f602" y="f706"/>
                    </a:lnTo>
                    <a:lnTo>
                      <a:pt x="f307" y="f707"/>
                    </a:lnTo>
                    <a:lnTo>
                      <a:pt x="f307" y="f708"/>
                    </a:lnTo>
                    <a:lnTo>
                      <a:pt x="f709" y="f346"/>
                    </a:lnTo>
                    <a:lnTo>
                      <a:pt x="f692" y="f235"/>
                    </a:lnTo>
                    <a:lnTo>
                      <a:pt x="f662" y="f710"/>
                    </a:lnTo>
                    <a:lnTo>
                      <a:pt x="f606" y="f711"/>
                    </a:lnTo>
                    <a:lnTo>
                      <a:pt x="f662" y="f178"/>
                    </a:lnTo>
                    <a:lnTo>
                      <a:pt x="f692" y="f342"/>
                    </a:lnTo>
                    <a:lnTo>
                      <a:pt x="f712" y="f713"/>
                    </a:lnTo>
                    <a:lnTo>
                      <a:pt x="f309" y="f714"/>
                    </a:lnTo>
                    <a:lnTo>
                      <a:pt x="f715" y="f716"/>
                    </a:lnTo>
                    <a:lnTo>
                      <a:pt x="f687" y="f710"/>
                    </a:lnTo>
                    <a:lnTo>
                      <a:pt x="f310" y="f717"/>
                    </a:lnTo>
                    <a:lnTo>
                      <a:pt x="f679" y="f718"/>
                    </a:lnTo>
                    <a:lnTo>
                      <a:pt x="f67" y="f719"/>
                    </a:lnTo>
                    <a:lnTo>
                      <a:pt x="f680" y="f719"/>
                    </a:lnTo>
                    <a:lnTo>
                      <a:pt x="f680" y="f720"/>
                    </a:lnTo>
                    <a:lnTo>
                      <a:pt x="f314" y="f711"/>
                    </a:lnTo>
                    <a:lnTo>
                      <a:pt x="f680" y="f721"/>
                    </a:lnTo>
                    <a:lnTo>
                      <a:pt x="f680" y="f8"/>
                    </a:lnTo>
                    <a:lnTo>
                      <a:pt x="f67" y="f722"/>
                    </a:lnTo>
                    <a:lnTo>
                      <a:pt x="f65" y="f171"/>
                    </a:lnTo>
                    <a:lnTo>
                      <a:pt x="f723" y="f724"/>
                    </a:lnTo>
                    <a:lnTo>
                      <a:pt x="f669" y="f725"/>
                    </a:lnTo>
                    <a:lnTo>
                      <a:pt x="f726" y="f725"/>
                    </a:lnTo>
                    <a:lnTo>
                      <a:pt x="f656" y="f582"/>
                    </a:lnTo>
                    <a:lnTo>
                      <a:pt x="f727" y="f728"/>
                    </a:lnTo>
                    <a:lnTo>
                      <a:pt x="f621" y="f729"/>
                    </a:lnTo>
                    <a:lnTo>
                      <a:pt x="f651" y="f730"/>
                    </a:lnTo>
                    <a:lnTo>
                      <a:pt x="f731" y="f732"/>
                    </a:lnTo>
                    <a:lnTo>
                      <a:pt x="f733" y="f165"/>
                    </a:lnTo>
                    <a:lnTo>
                      <a:pt x="f634" y="f734"/>
                    </a:lnTo>
                    <a:lnTo>
                      <a:pt x="f164" y="f586"/>
                    </a:lnTo>
                    <a:lnTo>
                      <a:pt x="f163" y="f107"/>
                    </a:lnTo>
                    <a:lnTo>
                      <a:pt x="f735" y="f34"/>
                    </a:lnTo>
                    <a:lnTo>
                      <a:pt x="f731" y="f36"/>
                    </a:lnTo>
                    <a:lnTo>
                      <a:pt x="f731" y="f38"/>
                    </a:lnTo>
                    <a:lnTo>
                      <a:pt x="f147" y="f153"/>
                    </a:lnTo>
                    <a:lnTo>
                      <a:pt x="f628" y="f151"/>
                    </a:lnTo>
                    <a:lnTo>
                      <a:pt x="f736" y="f88"/>
                    </a:lnTo>
                    <a:lnTo>
                      <a:pt x="f628" y="f737"/>
                    </a:lnTo>
                    <a:lnTo>
                      <a:pt x="f137" y="f738"/>
                    </a:lnTo>
                    <a:lnTo>
                      <a:pt x="f739" y="f327"/>
                    </a:lnTo>
                    <a:lnTo>
                      <a:pt x="f740" y="f81"/>
                    </a:lnTo>
                    <a:lnTo>
                      <a:pt x="f157" y="f77"/>
                    </a:lnTo>
                    <a:lnTo>
                      <a:pt x="f157" y="f138"/>
                    </a:lnTo>
                    <a:lnTo>
                      <a:pt x="f645" y="f741"/>
                    </a:lnTo>
                    <a:lnTo>
                      <a:pt x="f645" y="f314"/>
                    </a:lnTo>
                    <a:lnTo>
                      <a:pt x="f624" y="f67"/>
                    </a:lnTo>
                    <a:lnTo>
                      <a:pt x="f742" y="f67"/>
                    </a:lnTo>
                    <a:lnTo>
                      <a:pt x="f731" y="f314"/>
                    </a:lnTo>
                    <a:lnTo>
                      <a:pt x="f743" y="f69"/>
                    </a:lnTo>
                    <a:lnTo>
                      <a:pt x="f744" y="f745"/>
                    </a:lnTo>
                    <a:lnTo>
                      <a:pt x="f746" y="f747"/>
                    </a:lnTo>
                    <a:lnTo>
                      <a:pt x="f109" y="f138"/>
                    </a:lnTo>
                    <a:lnTo>
                      <a:pt x="f202" y="f140"/>
                    </a:lnTo>
                    <a:lnTo>
                      <a:pt x="f68" y="f748"/>
                    </a:lnTo>
                    <a:lnTo>
                      <a:pt x="f216" y="f140"/>
                    </a:lnTo>
                    <a:lnTo>
                      <a:pt x="f749" y="f138"/>
                    </a:lnTo>
                    <a:lnTo>
                      <a:pt x="f750" y="f134"/>
                    </a:lnTo>
                    <a:lnTo>
                      <a:pt x="f749" y="f58"/>
                    </a:lnTo>
                    <a:lnTo>
                      <a:pt x="f751" y="f741"/>
                    </a:lnTo>
                    <a:lnTo>
                      <a:pt x="f752" y="f314"/>
                    </a:lnTo>
                    <a:lnTo>
                      <a:pt x="f753" y="f320"/>
                    </a:lnTo>
                    <a:lnTo>
                      <a:pt x="f275" y="f754"/>
                    </a:lnTo>
                    <a:lnTo>
                      <a:pt x="f275" y="f602"/>
                    </a:lnTo>
                    <a:lnTo>
                      <a:pt x="f218" y="f662"/>
                    </a:lnTo>
                    <a:lnTo>
                      <a:pt x="f755" y="f756"/>
                    </a:lnTo>
                    <a:lnTo>
                      <a:pt x="f757" y="f758"/>
                    </a:lnTo>
                    <a:lnTo>
                      <a:pt x="f2" y="f759"/>
                    </a:lnTo>
                    <a:lnTo>
                      <a:pt x="f211" y="f760"/>
                    </a:lnTo>
                    <a:lnTo>
                      <a:pt x="f761" y="f762"/>
                    </a:lnTo>
                    <a:lnTo>
                      <a:pt x="f96" y="f763"/>
                    </a:lnTo>
                    <a:lnTo>
                      <a:pt x="f96" y="f617"/>
                    </a:lnTo>
                    <a:lnTo>
                      <a:pt x="f764" y="f155"/>
                    </a:lnTo>
                    <a:lnTo>
                      <a:pt x="f75" y="f645"/>
                    </a:lnTo>
                    <a:lnTo>
                      <a:pt x="f75" y="f141"/>
                    </a:lnTo>
                    <a:lnTo>
                      <a:pt x="f764" y="f159"/>
                    </a:lnTo>
                    <a:lnTo>
                      <a:pt x="f765" y="f147"/>
                    </a:lnTo>
                    <a:lnTo>
                      <a:pt x="f281" y="f136"/>
                    </a:lnTo>
                    <a:lnTo>
                      <a:pt x="f766" y="f767"/>
                    </a:lnTo>
                    <a:lnTo>
                      <a:pt x="f768" y="f135"/>
                    </a:lnTo>
                    <a:lnTo>
                      <a:pt x="f769" y="f640"/>
                    </a:lnTo>
                    <a:lnTo>
                      <a:pt x="f220" y="f770"/>
                    </a:lnTo>
                    <a:lnTo>
                      <a:pt x="f771" y="f772"/>
                    </a:lnTo>
                    <a:lnTo>
                      <a:pt x="f773" y="f770"/>
                    </a:lnTo>
                    <a:lnTo>
                      <a:pt x="f259" y="f167"/>
                    </a:lnTo>
                    <a:lnTo>
                      <a:pt x="f774" y="f127"/>
                    </a:lnTo>
                    <a:lnTo>
                      <a:pt x="f775" y="f135"/>
                    </a:lnTo>
                    <a:lnTo>
                      <a:pt x="f776" y="f130"/>
                    </a:lnTo>
                    <a:lnTo>
                      <a:pt x="f249" y="f636"/>
                    </a:lnTo>
                    <a:lnTo>
                      <a:pt x="f777" y="f136"/>
                    </a:lnTo>
                    <a:lnTo>
                      <a:pt x="f778" y="f144"/>
                    </a:lnTo>
                    <a:lnTo>
                      <a:pt x="f779" y="f627"/>
                    </a:lnTo>
                    <a:lnTo>
                      <a:pt x="f780" y="f159"/>
                    </a:lnTo>
                    <a:lnTo>
                      <a:pt x="f12" y="f159"/>
                    </a:lnTo>
                    <a:lnTo>
                      <a:pt x="f781" y="f782"/>
                    </a:lnTo>
                    <a:lnTo>
                      <a:pt x="f5" y="f162"/>
                    </a:lnTo>
                    <a:lnTo>
                      <a:pt x="f783" y="f632"/>
                    </a:lnTo>
                    <a:lnTo>
                      <a:pt x="f784" y="f167"/>
                    </a:lnTo>
                    <a:lnTo>
                      <a:pt x="f780" y="f785"/>
                    </a:lnTo>
                    <a:lnTo>
                      <a:pt x="f786" y="f116"/>
                    </a:lnTo>
                    <a:lnTo>
                      <a:pt x="f787" y="f788"/>
                    </a:lnTo>
                    <a:lnTo>
                      <a:pt x="f783" y="f789"/>
                    </a:lnTo>
                    <a:lnTo>
                      <a:pt x="f790" y="f174"/>
                    </a:lnTo>
                    <a:lnTo>
                      <a:pt x="f19" y="f185"/>
                    </a:lnTo>
                    <a:lnTo>
                      <a:pt x="f791" y="f181"/>
                    </a:lnTo>
                    <a:lnTo>
                      <a:pt x="f23" y="f104"/>
                    </a:lnTo>
                    <a:lnTo>
                      <a:pt x="f792" y="f76"/>
                    </a:lnTo>
                    <a:lnTo>
                      <a:pt x="f793" y="f208"/>
                    </a:lnTo>
                    <a:lnTo>
                      <a:pt x="f775" y="f764"/>
                    </a:lnTo>
                    <a:lnTo>
                      <a:pt x="f267" y="f96"/>
                    </a:lnTo>
                    <a:lnTo>
                      <a:pt x="f255" y="f764"/>
                    </a:lnTo>
                    <a:lnTo>
                      <a:pt x="f794" y="f283"/>
                    </a:lnTo>
                    <a:lnTo>
                      <a:pt x="f795" y="f75"/>
                    </a:lnTo>
                    <a:lnTo>
                      <a:pt x="f796" y="f91"/>
                    </a:lnTo>
                    <a:lnTo>
                      <a:pt x="f797" y="f761"/>
                    </a:lnTo>
                    <a:lnTo>
                      <a:pt x="f798" y="f211"/>
                    </a:lnTo>
                    <a:lnTo>
                      <a:pt x="f799" y="f213"/>
                    </a:lnTo>
                    <a:lnTo>
                      <a:pt x="f800" y="f801"/>
                    </a:lnTo>
                    <a:lnTo>
                      <a:pt x="f802" y="f801"/>
                    </a:lnTo>
                    <a:lnTo>
                      <a:pt x="f755" y="f281"/>
                    </a:lnTo>
                    <a:lnTo>
                      <a:pt x="f751" y="f801"/>
                    </a:lnTo>
                    <a:lnTo>
                      <a:pt x="f216" y="f803"/>
                    </a:lnTo>
                    <a:lnTo>
                      <a:pt x="f757" y="f751"/>
                    </a:lnTo>
                    <a:lnTo>
                      <a:pt x="f750" y="f804"/>
                    </a:lnTo>
                    <a:lnTo>
                      <a:pt x="f766" y="f224"/>
                    </a:lnTo>
                    <a:lnTo>
                      <a:pt x="f214" y="f805"/>
                    </a:lnTo>
                    <a:lnTo>
                      <a:pt x="f64" y="f806"/>
                    </a:lnTo>
                    <a:lnTo>
                      <a:pt x="f807" y="f796"/>
                    </a:lnTo>
                    <a:lnTo>
                      <a:pt x="f761" y="f806"/>
                    </a:lnTo>
                    <a:lnTo>
                      <a:pt x="f208" y="f797"/>
                    </a:lnTo>
                    <a:lnTo>
                      <a:pt x="f202" y="f797"/>
                    </a:lnTo>
                    <a:lnTo>
                      <a:pt x="f808" y="f229"/>
                    </a:lnTo>
                    <a:lnTo>
                      <a:pt x="f809" y="f810"/>
                    </a:lnTo>
                    <a:lnTo>
                      <a:pt x="f811" y="f270"/>
                    </a:lnTo>
                    <a:lnTo>
                      <a:pt x="f117" y="f795"/>
                    </a:lnTo>
                    <a:lnTo>
                      <a:pt x="f812" y="f43"/>
                    </a:lnTo>
                    <a:lnTo>
                      <a:pt x="f746" y="f813"/>
                    </a:lnTo>
                    <a:lnTo>
                      <a:pt x="f811" y="f774"/>
                    </a:lnTo>
                    <a:lnTo>
                      <a:pt x="f811" y="f264"/>
                    </a:lnTo>
                    <a:lnTo>
                      <a:pt x="f122" y="f240"/>
                    </a:lnTo>
                    <a:lnTo>
                      <a:pt x="f814" y="f815"/>
                    </a:lnTo>
                    <a:lnTo>
                      <a:pt x="f126" y="f816"/>
                    </a:lnTo>
                    <a:lnTo>
                      <a:pt x="f640" y="f817"/>
                    </a:lnTo>
                    <a:lnTo>
                      <a:pt x="f128" y="f791"/>
                    </a:lnTo>
                    <a:lnTo>
                      <a:pt x="f818" y="f21"/>
                    </a:lnTo>
                    <a:lnTo>
                      <a:pt x="f147" y="f817"/>
                    </a:lnTo>
                    <a:lnTo>
                      <a:pt x="f739" y="f819"/>
                    </a:lnTo>
                    <a:lnTo>
                      <a:pt x="f148" y="f23"/>
                    </a:lnTo>
                    <a:lnTo>
                      <a:pt x="f150" y="f820"/>
                    </a:lnTo>
                    <a:lnTo>
                      <a:pt x="f298" y="f27"/>
                    </a:lnTo>
                    <a:lnTo>
                      <a:pt x="f821" y="f822"/>
                    </a:lnTo>
                    <a:lnTo>
                      <a:pt x="f701" y="f822"/>
                    </a:lnTo>
                    <a:lnTo>
                      <a:pt x="f606" y="f25"/>
                    </a:lnTo>
                    <a:lnTo>
                      <a:pt x="f691" y="f816"/>
                    </a:lnTo>
                    <a:lnTo>
                      <a:pt x="f688" y="f778"/>
                    </a:lnTo>
                    <a:lnTo>
                      <a:pt x="f678" y="f823"/>
                    </a:lnTo>
                    <a:lnTo>
                      <a:pt x="f680" y="f824"/>
                    </a:lnTo>
                    <a:lnTo>
                      <a:pt x="f69" y="f825"/>
                    </a:lnTo>
                    <a:lnTo>
                      <a:pt x="f58" y="f826"/>
                    </a:lnTo>
                    <a:lnTo>
                      <a:pt x="f598" y="f827"/>
                    </a:lnTo>
                    <a:lnTo>
                      <a:pt x="f133" y="f827"/>
                    </a:lnTo>
                    <a:lnTo>
                      <a:pt x="f682" y="f828"/>
                    </a:lnTo>
                    <a:lnTo>
                      <a:pt x="f682" y="f829"/>
                    </a:lnTo>
                    <a:lnTo>
                      <a:pt x="f138" y="f16"/>
                    </a:lnTo>
                    <a:lnTo>
                      <a:pt x="f138" y="f830"/>
                    </a:lnTo>
                    <a:lnTo>
                      <a:pt x="f71" y="f830"/>
                    </a:lnTo>
                    <a:lnTo>
                      <a:pt x="f831" y="f790"/>
                    </a:lnTo>
                    <a:lnTo>
                      <a:pt x="f54" y="f790"/>
                    </a:lnTo>
                    <a:lnTo>
                      <a:pt x="f832" y="f17"/>
                    </a:lnTo>
                    <a:lnTo>
                      <a:pt x="f46" y="f833"/>
                    </a:lnTo>
                    <a:lnTo>
                      <a:pt x="f834" y="f835"/>
                    </a:lnTo>
                    <a:lnTo>
                      <a:pt x="f836" y="f824"/>
                    </a:lnTo>
                    <a:lnTo>
                      <a:pt x="f837" y="f19"/>
                    </a:lnTo>
                    <a:lnTo>
                      <a:pt x="f107" y="f838"/>
                    </a:lnTo>
                    <a:lnTo>
                      <a:pt x="f334" y="f791"/>
                    </a:lnTo>
                    <a:lnTo>
                      <a:pt x="f839" y="f778"/>
                    </a:lnTo>
                    <a:lnTo>
                      <a:pt x="f840" y="f824"/>
                    </a:lnTo>
                    <a:lnTo>
                      <a:pt x="f173" y="f16"/>
                    </a:lnTo>
                    <a:lnTo>
                      <a:pt x="f22" y="f10"/>
                    </a:lnTo>
                    <a:lnTo>
                      <a:pt x="f22" y="f841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49" name="Freeform 11">
                <a:extLst>
                  <a:ext uri="{FF2B5EF4-FFF2-40B4-BE49-F238E27FC236}">
                    <a16:creationId xmlns:a16="http://schemas.microsoft.com/office/drawing/2014/main" id="{48132A65-D931-434D-A06F-78F88929D6F9}"/>
                  </a:ext>
                </a:extLst>
              </p:cNvPr>
              <p:cNvSpPr/>
              <p:nvPr/>
            </p:nvSpPr>
            <p:spPr>
              <a:xfrm>
                <a:off x="4286158" y="2801410"/>
                <a:ext cx="285823" cy="183611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723"/>
                  <a:gd name="f7" fmla="val 1128"/>
                  <a:gd name="f8" fmla="val 1658"/>
                  <a:gd name="f9" fmla="val 1666"/>
                  <a:gd name="f10" fmla="val 11"/>
                  <a:gd name="f11" fmla="val 1672"/>
                  <a:gd name="f12" fmla="val 22"/>
                  <a:gd name="f13" fmla="val 1673"/>
                  <a:gd name="f14" fmla="val 32"/>
                  <a:gd name="f15" fmla="val 1670"/>
                  <a:gd name="f16" fmla="val 44"/>
                  <a:gd name="f17" fmla="val 1662"/>
                  <a:gd name="f18" fmla="val 69"/>
                  <a:gd name="f19" fmla="val 1652"/>
                  <a:gd name="f20" fmla="val 89"/>
                  <a:gd name="f21" fmla="val 1651"/>
                  <a:gd name="f22" fmla="val 96"/>
                  <a:gd name="f23" fmla="val 105"/>
                  <a:gd name="f24" fmla="val 1657"/>
                  <a:gd name="f25" fmla="val 118"/>
                  <a:gd name="f26" fmla="val 1668"/>
                  <a:gd name="f27" fmla="val 140"/>
                  <a:gd name="f28" fmla="val 150"/>
                  <a:gd name="f29" fmla="val 1680"/>
                  <a:gd name="f30" fmla="val 157"/>
                  <a:gd name="f31" fmla="val 1691"/>
                  <a:gd name="f32" fmla="val 164"/>
                  <a:gd name="f33" fmla="val 1706"/>
                  <a:gd name="f34" fmla="val 172"/>
                  <a:gd name="f35" fmla="val 179"/>
                  <a:gd name="f36" fmla="val 1717"/>
                  <a:gd name="f37" fmla="val 187"/>
                  <a:gd name="f38" fmla="val 1712"/>
                  <a:gd name="f39" fmla="val 197"/>
                  <a:gd name="f40" fmla="val 1704"/>
                  <a:gd name="f41" fmla="val 209"/>
                  <a:gd name="f42" fmla="val 1690"/>
                  <a:gd name="f43" fmla="val 222"/>
                  <a:gd name="f44" fmla="val 1679"/>
                  <a:gd name="f45" fmla="val 230"/>
                  <a:gd name="f46" fmla="val 1669"/>
                  <a:gd name="f47" fmla="val 233"/>
                  <a:gd name="f48" fmla="val 232"/>
                  <a:gd name="f49" fmla="val 1655"/>
                  <a:gd name="f50" fmla="val 229"/>
                  <a:gd name="f51" fmla="val 1650"/>
                  <a:gd name="f52" fmla="val 227"/>
                  <a:gd name="f53" fmla="val 1643"/>
                  <a:gd name="f54" fmla="val 1637"/>
                  <a:gd name="f55" fmla="val 1634"/>
                  <a:gd name="f56" fmla="val 239"/>
                  <a:gd name="f57" fmla="val 1636"/>
                  <a:gd name="f58" fmla="val 245"/>
                  <a:gd name="f59" fmla="val 1639"/>
                  <a:gd name="f60" fmla="val 252"/>
                  <a:gd name="f61" fmla="val 258"/>
                  <a:gd name="f62" fmla="val 265"/>
                  <a:gd name="f63" fmla="val 277"/>
                  <a:gd name="f64" fmla="val 1629"/>
                  <a:gd name="f65" fmla="val 291"/>
                  <a:gd name="f66" fmla="val 1621"/>
                  <a:gd name="f67" fmla="val 293"/>
                  <a:gd name="f68" fmla="val 1614"/>
                  <a:gd name="f69" fmla="val 1604"/>
                  <a:gd name="f70" fmla="val 295"/>
                  <a:gd name="f71" fmla="val 1593"/>
                  <a:gd name="f72" fmla="val 302"/>
                  <a:gd name="f73" fmla="val 1582"/>
                  <a:gd name="f74" fmla="val 311"/>
                  <a:gd name="f75" fmla="val 1571"/>
                  <a:gd name="f76" fmla="val 320"/>
                  <a:gd name="f77" fmla="val 1561"/>
                  <a:gd name="f78" fmla="val 327"/>
                  <a:gd name="f79" fmla="val 1553"/>
                  <a:gd name="f80" fmla="val 333"/>
                  <a:gd name="f81" fmla="val 1547"/>
                  <a:gd name="f82" fmla="val 337"/>
                  <a:gd name="f83" fmla="val 1546"/>
                  <a:gd name="f84" fmla="val 343"/>
                  <a:gd name="f85" fmla="val 350"/>
                  <a:gd name="f86" fmla="val 1552"/>
                  <a:gd name="f87" fmla="val 356"/>
                  <a:gd name="f88" fmla="val 1557"/>
                  <a:gd name="f89" fmla="val 362"/>
                  <a:gd name="f90" fmla="val 1559"/>
                  <a:gd name="f91" fmla="val 369"/>
                  <a:gd name="f92" fmla="val 1556"/>
                  <a:gd name="f93" fmla="val 380"/>
                  <a:gd name="f94" fmla="val 1549"/>
                  <a:gd name="f95" fmla="val 391"/>
                  <a:gd name="f96" fmla="val 1539"/>
                  <a:gd name="f97" fmla="val 401"/>
                  <a:gd name="f98" fmla="val 1528"/>
                  <a:gd name="f99" fmla="val 409"/>
                  <a:gd name="f100" fmla="val 1521"/>
                  <a:gd name="f101" fmla="val 416"/>
                  <a:gd name="f102" fmla="val 1517"/>
                  <a:gd name="f103" fmla="val 423"/>
                  <a:gd name="f104" fmla="val 1513"/>
                  <a:gd name="f105" fmla="val 431"/>
                  <a:gd name="f106" fmla="val 1510"/>
                  <a:gd name="f107" fmla="val 438"/>
                  <a:gd name="f108" fmla="val 1506"/>
                  <a:gd name="f109" fmla="val 444"/>
                  <a:gd name="f110" fmla="val 1498"/>
                  <a:gd name="f111" fmla="val 445"/>
                  <a:gd name="f112" fmla="val 1488"/>
                  <a:gd name="f113" fmla="val 449"/>
                  <a:gd name="f114" fmla="val 1477"/>
                  <a:gd name="f115" fmla="val 459"/>
                  <a:gd name="f116" fmla="val 1467"/>
                  <a:gd name="f117" fmla="val 473"/>
                  <a:gd name="f118" fmla="val 1456"/>
                  <a:gd name="f119" fmla="val 487"/>
                  <a:gd name="f120" fmla="val 1447"/>
                  <a:gd name="f121" fmla="val 498"/>
                  <a:gd name="f122" fmla="val 1440"/>
                  <a:gd name="f123" fmla="val 505"/>
                  <a:gd name="f124" fmla="val 1426"/>
                  <a:gd name="f125" fmla="val 512"/>
                  <a:gd name="f126" fmla="val 1411"/>
                  <a:gd name="f127" fmla="val 516"/>
                  <a:gd name="f128" fmla="val 1395"/>
                  <a:gd name="f129" fmla="val 515"/>
                  <a:gd name="f130" fmla="val 1389"/>
                  <a:gd name="f131" fmla="val 1379"/>
                  <a:gd name="f132" fmla="val 520"/>
                  <a:gd name="f133" fmla="val 1366"/>
                  <a:gd name="f134" fmla="val 528"/>
                  <a:gd name="f135" fmla="val 1355"/>
                  <a:gd name="f136" fmla="val 540"/>
                  <a:gd name="f137" fmla="val 1344"/>
                  <a:gd name="f138" fmla="val 549"/>
                  <a:gd name="f139" fmla="val 1337"/>
                  <a:gd name="f140" fmla="val 560"/>
                  <a:gd name="f141" fmla="val 1333"/>
                  <a:gd name="f142" fmla="val 569"/>
                  <a:gd name="f143" fmla="val 1336"/>
                  <a:gd name="f144" fmla="val 576"/>
                  <a:gd name="f145" fmla="val 585"/>
                  <a:gd name="f146" fmla="val 1351"/>
                  <a:gd name="f147" fmla="val 596"/>
                  <a:gd name="f148" fmla="val 1360"/>
                  <a:gd name="f149" fmla="val 607"/>
                  <a:gd name="f150" fmla="val 1368"/>
                  <a:gd name="f151" fmla="val 617"/>
                  <a:gd name="f152" fmla="val 1376"/>
                  <a:gd name="f153" fmla="val 621"/>
                  <a:gd name="f154" fmla="val 1383"/>
                  <a:gd name="f155" fmla="val 626"/>
                  <a:gd name="f156" fmla="val 1391"/>
                  <a:gd name="f157" fmla="val 637"/>
                  <a:gd name="f158" fmla="val 1398"/>
                  <a:gd name="f159" fmla="val 650"/>
                  <a:gd name="f160" fmla="val 1402"/>
                  <a:gd name="f161" fmla="val 664"/>
                  <a:gd name="f162" fmla="val 1405"/>
                  <a:gd name="f163" fmla="val 678"/>
                  <a:gd name="f164" fmla="val 1404"/>
                  <a:gd name="f165" fmla="val 688"/>
                  <a:gd name="f166" fmla="val 695"/>
                  <a:gd name="f167" fmla="val 1401"/>
                  <a:gd name="f168" fmla="val 706"/>
                  <a:gd name="f169" fmla="val 728"/>
                  <a:gd name="f170" fmla="val 738"/>
                  <a:gd name="f171" fmla="val 1394"/>
                  <a:gd name="f172" fmla="val 745"/>
                  <a:gd name="f173" fmla="val 1386"/>
                  <a:gd name="f174" fmla="val 748"/>
                  <a:gd name="f175" fmla="val 1375"/>
                  <a:gd name="f176" fmla="val 752"/>
                  <a:gd name="f177" fmla="val 1364"/>
                  <a:gd name="f178" fmla="val 760"/>
                  <a:gd name="f179" fmla="val 1347"/>
                  <a:gd name="f180" fmla="val 782"/>
                  <a:gd name="f181" fmla="val 1339"/>
                  <a:gd name="f182" fmla="val 791"/>
                  <a:gd name="f183" fmla="val 1331"/>
                  <a:gd name="f184" fmla="val 796"/>
                  <a:gd name="f185" fmla="val 1322"/>
                  <a:gd name="f186" fmla="val 798"/>
                  <a:gd name="f187" fmla="val 1313"/>
                  <a:gd name="f188" fmla="val 1302"/>
                  <a:gd name="f189" fmla="val 1293"/>
                  <a:gd name="f190" fmla="val 795"/>
                  <a:gd name="f191" fmla="val 1286"/>
                  <a:gd name="f192" fmla="val 1282"/>
                  <a:gd name="f193" fmla="val 800"/>
                  <a:gd name="f194" fmla="val 1279"/>
                  <a:gd name="f195" fmla="val 810"/>
                  <a:gd name="f196" fmla="val 1275"/>
                  <a:gd name="f197" fmla="val 824"/>
                  <a:gd name="f198" fmla="val 1271"/>
                  <a:gd name="f199" fmla="val 839"/>
                  <a:gd name="f200" fmla="val 1270"/>
                  <a:gd name="f201" fmla="val 853"/>
                  <a:gd name="f202" fmla="val 861"/>
                  <a:gd name="f203" fmla="val 1274"/>
                  <a:gd name="f204" fmla="val 868"/>
                  <a:gd name="f205" fmla="val 875"/>
                  <a:gd name="f206" fmla="val 881"/>
                  <a:gd name="f207" fmla="val 1278"/>
                  <a:gd name="f208" fmla="val 888"/>
                  <a:gd name="f209" fmla="val 896"/>
                  <a:gd name="f210" fmla="val 1261"/>
                  <a:gd name="f211" fmla="val 903"/>
                  <a:gd name="f212" fmla="val 1255"/>
                  <a:gd name="f213" fmla="val 917"/>
                  <a:gd name="f214" fmla="val 1253"/>
                  <a:gd name="f215" fmla="val 922"/>
                  <a:gd name="f216" fmla="val 1250"/>
                  <a:gd name="f217" fmla="val 931"/>
                  <a:gd name="f218" fmla="val 1246"/>
                  <a:gd name="f219" fmla="val 942"/>
                  <a:gd name="f220" fmla="val 1238"/>
                  <a:gd name="f221" fmla="val 950"/>
                  <a:gd name="f222" fmla="val 1228"/>
                  <a:gd name="f223" fmla="val 958"/>
                  <a:gd name="f224" fmla="val 1214"/>
                  <a:gd name="f225" fmla="val 961"/>
                  <a:gd name="f226" fmla="val 1192"/>
                  <a:gd name="f227" fmla="val 1174"/>
                  <a:gd name="f228" fmla="val 963"/>
                  <a:gd name="f229" fmla="val 1159"/>
                  <a:gd name="f230" fmla="val 1148"/>
                  <a:gd name="f231" fmla="val 967"/>
                  <a:gd name="f232" fmla="val 1140"/>
                  <a:gd name="f233" fmla="val 975"/>
                  <a:gd name="f234" fmla="val 1132"/>
                  <a:gd name="f235" fmla="val 988"/>
                  <a:gd name="f236" fmla="val 1118"/>
                  <a:gd name="f237" fmla="val 1018"/>
                  <a:gd name="f238" fmla="val 1114"/>
                  <a:gd name="f239" fmla="val 1031"/>
                  <a:gd name="f240" fmla="val 1112"/>
                  <a:gd name="f241" fmla="val 1039"/>
                  <a:gd name="f242" fmla="val 1058"/>
                  <a:gd name="f243" fmla="val 1111"/>
                  <a:gd name="f244" fmla="val 1067"/>
                  <a:gd name="f245" fmla="val 1107"/>
                  <a:gd name="f246" fmla="val 1072"/>
                  <a:gd name="f247" fmla="val 1100"/>
                  <a:gd name="f248" fmla="val 1074"/>
                  <a:gd name="f249" fmla="val 1093"/>
                  <a:gd name="f250" fmla="val 1071"/>
                  <a:gd name="f251" fmla="val 1089"/>
                  <a:gd name="f252" fmla="val 1068"/>
                  <a:gd name="f253" fmla="val 1086"/>
                  <a:gd name="f254" fmla="val 1064"/>
                  <a:gd name="f255" fmla="val 1085"/>
                  <a:gd name="f256" fmla="val 1061"/>
                  <a:gd name="f257" fmla="val 1080"/>
                  <a:gd name="f258" fmla="val 1060"/>
                  <a:gd name="f259" fmla="val 1062"/>
                  <a:gd name="f260" fmla="val 1050"/>
                  <a:gd name="f261" fmla="val 1040"/>
                  <a:gd name="f262" fmla="val 1076"/>
                  <a:gd name="f263" fmla="val 1078"/>
                  <a:gd name="f264" fmla="val 1024"/>
                  <a:gd name="f265" fmla="val 1075"/>
                  <a:gd name="f266" fmla="val 1020"/>
                  <a:gd name="f267" fmla="val 1016"/>
                  <a:gd name="f268" fmla="val 1014"/>
                  <a:gd name="f269" fmla="val 1051"/>
                  <a:gd name="f270" fmla="val 1011"/>
                  <a:gd name="f271" fmla="val 1043"/>
                  <a:gd name="f272" fmla="val 1007"/>
                  <a:gd name="f273" fmla="val 1037"/>
                  <a:gd name="f274" fmla="val 1000"/>
                  <a:gd name="f275" fmla="val 991"/>
                  <a:gd name="f276" fmla="val 1042"/>
                  <a:gd name="f277" fmla="val 981"/>
                  <a:gd name="f278" fmla="val 1049"/>
                  <a:gd name="f279" fmla="val 971"/>
                  <a:gd name="f280" fmla="val 1054"/>
                  <a:gd name="f281" fmla="val 1057"/>
                  <a:gd name="f282" fmla="val 955"/>
                  <a:gd name="f283" fmla="val 949"/>
                  <a:gd name="f284" fmla="val 1047"/>
                  <a:gd name="f285" fmla="val 946"/>
                  <a:gd name="f286" fmla="val 945"/>
                  <a:gd name="f287" fmla="val 1032"/>
                  <a:gd name="f288" fmla="val 1025"/>
                  <a:gd name="f289" fmla="val 937"/>
                  <a:gd name="f290" fmla="val 1021"/>
                  <a:gd name="f291" fmla="val 924"/>
                  <a:gd name="f292" fmla="val 1015"/>
                  <a:gd name="f293" fmla="val 911"/>
                  <a:gd name="f294" fmla="val 898"/>
                  <a:gd name="f295" fmla="val 997"/>
                  <a:gd name="f296" fmla="val 891"/>
                  <a:gd name="f297" fmla="val 989"/>
                  <a:gd name="f298" fmla="val 886"/>
                  <a:gd name="f299" fmla="val 986"/>
                  <a:gd name="f300" fmla="val 876"/>
                  <a:gd name="f301" fmla="val 985"/>
                  <a:gd name="f302" fmla="val 864"/>
                  <a:gd name="f303" fmla="val 850"/>
                  <a:gd name="f304" fmla="val 836"/>
                  <a:gd name="f305" fmla="val 825"/>
                  <a:gd name="f306" fmla="val 983"/>
                  <a:gd name="f307" fmla="val 812"/>
                  <a:gd name="f308" fmla="val 978"/>
                  <a:gd name="f309" fmla="val 803"/>
                  <a:gd name="f310" fmla="val 972"/>
                  <a:gd name="f311" fmla="val 968"/>
                  <a:gd name="f312" fmla="val 786"/>
                  <a:gd name="f313" fmla="val 779"/>
                  <a:gd name="f314" fmla="val 974"/>
                  <a:gd name="f315" fmla="val 774"/>
                  <a:gd name="f316" fmla="val 770"/>
                  <a:gd name="f317" fmla="val 765"/>
                  <a:gd name="f318" fmla="val 732"/>
                  <a:gd name="f319" fmla="val 719"/>
                  <a:gd name="f320" fmla="val 1017"/>
                  <a:gd name="f321" fmla="val 713"/>
                  <a:gd name="f322" fmla="val 1019"/>
                  <a:gd name="f323" fmla="val 703"/>
                  <a:gd name="f324" fmla="val 1026"/>
                  <a:gd name="f325" fmla="val 691"/>
                  <a:gd name="f326" fmla="val 1035"/>
                  <a:gd name="f327" fmla="val 676"/>
                  <a:gd name="f328" fmla="val 1044"/>
                  <a:gd name="f329" fmla="val 662"/>
                  <a:gd name="f330" fmla="val 1056"/>
                  <a:gd name="f331" fmla="val 647"/>
                  <a:gd name="f332" fmla="val 634"/>
                  <a:gd name="f333" fmla="val 625"/>
                  <a:gd name="f334" fmla="val 618"/>
                  <a:gd name="f335" fmla="val 1079"/>
                  <a:gd name="f336" fmla="val 586"/>
                  <a:gd name="f337" fmla="val 579"/>
                  <a:gd name="f338" fmla="val 568"/>
                  <a:gd name="f339" fmla="val 1065"/>
                  <a:gd name="f340" fmla="val 538"/>
                  <a:gd name="f341" fmla="val 525"/>
                  <a:gd name="f342" fmla="val 517"/>
                  <a:gd name="f343" fmla="val 509"/>
                  <a:gd name="f344" fmla="val 497"/>
                  <a:gd name="f345" fmla="val 488"/>
                  <a:gd name="f346" fmla="val 1094"/>
                  <a:gd name="f347" fmla="val 478"/>
                  <a:gd name="f348" fmla="val 1099"/>
                  <a:gd name="f349" fmla="val 466"/>
                  <a:gd name="f350" fmla="val 1101"/>
                  <a:gd name="f351" fmla="val 450"/>
                  <a:gd name="f352" fmla="val 1108"/>
                  <a:gd name="f353" fmla="val 434"/>
                  <a:gd name="f354" fmla="val 417"/>
                  <a:gd name="f355" fmla="val 1126"/>
                  <a:gd name="f356" fmla="val 1125"/>
                  <a:gd name="f357" fmla="val 394"/>
                  <a:gd name="f358" fmla="val 1119"/>
                  <a:gd name="f359" fmla="val 386"/>
                  <a:gd name="f360" fmla="val 1117"/>
                  <a:gd name="f361" fmla="val 376"/>
                  <a:gd name="f362" fmla="val 365"/>
                  <a:gd name="f363" fmla="val 1121"/>
                  <a:gd name="f364" fmla="val 355"/>
                  <a:gd name="f365" fmla="val 345"/>
                  <a:gd name="f366" fmla="val 336"/>
                  <a:gd name="f367" fmla="val 325"/>
                  <a:gd name="f368" fmla="val 314"/>
                  <a:gd name="f369" fmla="val 303"/>
                  <a:gd name="f370" fmla="val 1097"/>
                  <a:gd name="f371" fmla="val 290"/>
                  <a:gd name="f372" fmla="val 1083"/>
                  <a:gd name="f373" fmla="val 268"/>
                  <a:gd name="f374" fmla="val 261"/>
                  <a:gd name="f375" fmla="val 257"/>
                  <a:gd name="f376" fmla="val 267"/>
                  <a:gd name="f377" fmla="val 1008"/>
                  <a:gd name="f378" fmla="val 993"/>
                  <a:gd name="f379" fmla="val 242"/>
                  <a:gd name="f380" fmla="val 234"/>
                  <a:gd name="f381" fmla="val 228"/>
                  <a:gd name="f382" fmla="val 970"/>
                  <a:gd name="f383" fmla="val 240"/>
                  <a:gd name="f384" fmla="val 960"/>
                  <a:gd name="f385" fmla="val 243"/>
                  <a:gd name="f386" fmla="val 957"/>
                  <a:gd name="f387" fmla="val 954"/>
                  <a:gd name="f388" fmla="val 951"/>
                  <a:gd name="f389" fmla="val 210"/>
                  <a:gd name="f390" fmla="val 185"/>
                  <a:gd name="f391" fmla="val 174"/>
                  <a:gd name="f392" fmla="val 882"/>
                  <a:gd name="f393" fmla="val 163"/>
                  <a:gd name="f394" fmla="val 870"/>
                  <a:gd name="f395" fmla="val 156"/>
                  <a:gd name="f396" fmla="val 860"/>
                  <a:gd name="f397" fmla="val 153"/>
                  <a:gd name="f398" fmla="val 854"/>
                  <a:gd name="f399" fmla="val 149"/>
                  <a:gd name="f400" fmla="val 142"/>
                  <a:gd name="f401" fmla="val 133"/>
                  <a:gd name="f402" fmla="val 857"/>
                  <a:gd name="f403" fmla="val 111"/>
                  <a:gd name="f404" fmla="val 865"/>
                  <a:gd name="f405" fmla="val 101"/>
                  <a:gd name="f406" fmla="val 867"/>
                  <a:gd name="f407" fmla="val 93"/>
                  <a:gd name="f408" fmla="val 843"/>
                  <a:gd name="f409" fmla="val 97"/>
                  <a:gd name="f410" fmla="val 838"/>
                  <a:gd name="f411" fmla="val 102"/>
                  <a:gd name="f412" fmla="val 835"/>
                  <a:gd name="f413" fmla="val 829"/>
                  <a:gd name="f414" fmla="val 95"/>
                  <a:gd name="f415" fmla="val 814"/>
                  <a:gd name="f416" fmla="val 91"/>
                  <a:gd name="f417" fmla="val 807"/>
                  <a:gd name="f418" fmla="val 104"/>
                  <a:gd name="f419" fmla="val 792"/>
                  <a:gd name="f420" fmla="val 109"/>
                  <a:gd name="f421" fmla="val 784"/>
                  <a:gd name="f422" fmla="val 113"/>
                  <a:gd name="f423" fmla="val 775"/>
                  <a:gd name="f424" fmla="val 112"/>
                  <a:gd name="f425" fmla="val 767"/>
                  <a:gd name="f426" fmla="val 761"/>
                  <a:gd name="f427" fmla="val 757"/>
                  <a:gd name="f428" fmla="val 77"/>
                  <a:gd name="f429" fmla="val 753"/>
                  <a:gd name="f430" fmla="val 65"/>
                  <a:gd name="f431" fmla="val 750"/>
                  <a:gd name="f432" fmla="val 57"/>
                  <a:gd name="f433" fmla="val 51"/>
                  <a:gd name="f434" fmla="val 741"/>
                  <a:gd name="f435" fmla="val 43"/>
                  <a:gd name="f436" fmla="val 33"/>
                  <a:gd name="f437" fmla="val 736"/>
                  <a:gd name="f438" fmla="val 17"/>
                  <a:gd name="f439" fmla="val 731"/>
                  <a:gd name="f440" fmla="val 725"/>
                  <a:gd name="f441" fmla="val 10"/>
                  <a:gd name="f442" fmla="val 717"/>
                  <a:gd name="f443" fmla="val 13"/>
                  <a:gd name="f444" fmla="val 21"/>
                  <a:gd name="f445" fmla="val 685"/>
                  <a:gd name="f446" fmla="val 24"/>
                  <a:gd name="f447" fmla="val 673"/>
                  <a:gd name="f448" fmla="val 657"/>
                  <a:gd name="f449" fmla="val 28"/>
                  <a:gd name="f450" fmla="val 36"/>
                  <a:gd name="f451" fmla="val 601"/>
                  <a:gd name="f452" fmla="val 46"/>
                  <a:gd name="f453" fmla="val 587"/>
                  <a:gd name="f454" fmla="val 567"/>
                  <a:gd name="f455" fmla="val 72"/>
                  <a:gd name="f456" fmla="val 556"/>
                  <a:gd name="f457" fmla="val 75"/>
                  <a:gd name="f458" fmla="val 544"/>
                  <a:gd name="f459" fmla="val 535"/>
                  <a:gd name="f460" fmla="val 66"/>
                  <a:gd name="f461" fmla="val 521"/>
                  <a:gd name="f462" fmla="val 506"/>
                  <a:gd name="f463" fmla="val 470"/>
                  <a:gd name="f464" fmla="val 452"/>
                  <a:gd name="f465" fmla="val 437"/>
                  <a:gd name="f466" fmla="val 4"/>
                  <a:gd name="f467" fmla="val 426"/>
                  <a:gd name="f468" fmla="val 419"/>
                  <a:gd name="f469" fmla="val 415"/>
                  <a:gd name="f470" fmla="val 6"/>
                  <a:gd name="f471" fmla="val 412"/>
                  <a:gd name="f472" fmla="val 411"/>
                  <a:gd name="f473" fmla="val 408"/>
                  <a:gd name="f474" fmla="val 30"/>
                  <a:gd name="f475" fmla="val 402"/>
                  <a:gd name="f476" fmla="val 37"/>
                  <a:gd name="f477" fmla="val 395"/>
                  <a:gd name="f478" fmla="val 40"/>
                  <a:gd name="f479" fmla="val 384"/>
                  <a:gd name="f480" fmla="val 42"/>
                  <a:gd name="f481" fmla="val 348"/>
                  <a:gd name="f482" fmla="val 61"/>
                  <a:gd name="f483" fmla="val 76"/>
                  <a:gd name="f484" fmla="val 359"/>
                  <a:gd name="f485" fmla="val 84"/>
                  <a:gd name="f486" fmla="val 363"/>
                  <a:gd name="f487" fmla="val 372"/>
                  <a:gd name="f488" fmla="val 122"/>
                  <a:gd name="f489" fmla="val 383"/>
                  <a:gd name="f490" fmla="val 127"/>
                  <a:gd name="f491" fmla="val 129"/>
                  <a:gd name="f492" fmla="val 398"/>
                  <a:gd name="f493" fmla="val 405"/>
                  <a:gd name="f494" fmla="val 126"/>
                  <a:gd name="f495" fmla="val 124"/>
                  <a:gd name="f496" fmla="val 123"/>
                  <a:gd name="f497" fmla="val 436"/>
                  <a:gd name="f498" fmla="val 447"/>
                  <a:gd name="f499" fmla="val 158"/>
                  <a:gd name="f500" fmla="val 165"/>
                  <a:gd name="f501" fmla="val 169"/>
                  <a:gd name="f502" fmla="val 456"/>
                  <a:gd name="f503" fmla="val 167"/>
                  <a:gd name="f504" fmla="val 479"/>
                  <a:gd name="f505" fmla="val 490"/>
                  <a:gd name="f506" fmla="val 501"/>
                  <a:gd name="f507" fmla="val 510"/>
                  <a:gd name="f508" fmla="val 182"/>
                  <a:gd name="f509" fmla="val 191"/>
                  <a:gd name="f510" fmla="val 537"/>
                  <a:gd name="f511" fmla="val 198"/>
                  <a:gd name="f512" fmla="val 551"/>
                  <a:gd name="f513" fmla="val 206"/>
                  <a:gd name="f514" fmla="val 213"/>
                  <a:gd name="f515" fmla="val 221"/>
                  <a:gd name="f516" fmla="val 580"/>
                  <a:gd name="f517" fmla="val 592"/>
                  <a:gd name="f518" fmla="val 238"/>
                  <a:gd name="f519" fmla="val 612"/>
                  <a:gd name="f520" fmla="val 619"/>
                  <a:gd name="f521" fmla="val 630"/>
                  <a:gd name="f522" fmla="val 249"/>
                  <a:gd name="f523" fmla="val 642"/>
                  <a:gd name="f524" fmla="val 256"/>
                  <a:gd name="f525" fmla="val 653"/>
                  <a:gd name="f526" fmla="val 263"/>
                  <a:gd name="f527" fmla="val 660"/>
                  <a:gd name="f528" fmla="val 270"/>
                  <a:gd name="f529" fmla="val 663"/>
                  <a:gd name="f530" fmla="val 278"/>
                  <a:gd name="f531" fmla="val 655"/>
                  <a:gd name="f532" fmla="val 304"/>
                  <a:gd name="f533" fmla="val 646"/>
                  <a:gd name="f534" fmla="val 321"/>
                  <a:gd name="f535" fmla="val 334"/>
                  <a:gd name="f536" fmla="val 627"/>
                  <a:gd name="f537" fmla="val 358"/>
                  <a:gd name="f538" fmla="val 610"/>
                  <a:gd name="f539" fmla="val 605"/>
                  <a:gd name="f540" fmla="val 595"/>
                  <a:gd name="f541" fmla="val 399"/>
                  <a:gd name="f542" fmla="val 577"/>
                  <a:gd name="f543" fmla="val 410"/>
                  <a:gd name="f544" fmla="val 570"/>
                  <a:gd name="f545" fmla="val 563"/>
                  <a:gd name="f546" fmla="val 553"/>
                  <a:gd name="f547" fmla="val 428"/>
                  <a:gd name="f548" fmla="val 542"/>
                  <a:gd name="f549" fmla="val 530"/>
                  <a:gd name="f550" fmla="val 513"/>
                  <a:gd name="f551" fmla="val 435"/>
                  <a:gd name="f552" fmla="val 424"/>
                  <a:gd name="f553" fmla="val 499"/>
                  <a:gd name="f554" fmla="val 427"/>
                  <a:gd name="f555" fmla="val 495"/>
                  <a:gd name="f556" fmla="val 492"/>
                  <a:gd name="f557" fmla="val 441"/>
                  <a:gd name="f558" fmla="val 483"/>
                  <a:gd name="f559" fmla="val 457"/>
                  <a:gd name="f560" fmla="val 476"/>
                  <a:gd name="f561" fmla="val 462"/>
                  <a:gd name="f562" fmla="val 467"/>
                  <a:gd name="f563" fmla="val 477"/>
                  <a:gd name="f564" fmla="val 491"/>
                  <a:gd name="f565" fmla="val 463"/>
                  <a:gd name="f566" fmla="val 458"/>
                  <a:gd name="f567" fmla="val 502"/>
                  <a:gd name="f568" fmla="val 504"/>
                  <a:gd name="f569" fmla="val 514"/>
                  <a:gd name="f570" fmla="val 550"/>
                  <a:gd name="f571" fmla="val 429"/>
                  <a:gd name="f572" fmla="val 557"/>
                  <a:gd name="f573" fmla="val 564"/>
                  <a:gd name="f574" fmla="val 573"/>
                  <a:gd name="f575" fmla="val 598"/>
                  <a:gd name="f576" fmla="val 433"/>
                  <a:gd name="f577" fmla="val 641"/>
                  <a:gd name="f578" fmla="val 649"/>
                  <a:gd name="f579" fmla="val 397"/>
                  <a:gd name="f580" fmla="val 393"/>
                  <a:gd name="f581" fmla="val 677"/>
                  <a:gd name="f582" fmla="val 390"/>
                  <a:gd name="f583" fmla="val 690"/>
                  <a:gd name="f584" fmla="val 698"/>
                  <a:gd name="f585" fmla="val 705"/>
                  <a:gd name="f586" fmla="val 723"/>
                  <a:gd name="f587" fmla="val 387"/>
                  <a:gd name="f588" fmla="val 727"/>
                  <a:gd name="f589" fmla="val 730"/>
                  <a:gd name="f590" fmla="val 735"/>
                  <a:gd name="f591" fmla="val 739"/>
                  <a:gd name="f592" fmla="val 764"/>
                  <a:gd name="f593" fmla="val 777"/>
                  <a:gd name="f594" fmla="val 788"/>
                  <a:gd name="f595" fmla="val 381"/>
                  <a:gd name="f596" fmla="val 799"/>
                  <a:gd name="f597" fmla="val 377"/>
                  <a:gd name="f598" fmla="val 368"/>
                  <a:gd name="f599" fmla="val 772"/>
                  <a:gd name="f600" fmla="val 352"/>
                  <a:gd name="f601" fmla="val 344"/>
                  <a:gd name="f602" fmla="val 841"/>
                  <a:gd name="f603" fmla="val 340"/>
                  <a:gd name="f604" fmla="val 848"/>
                  <a:gd name="f605" fmla="val 330"/>
                  <a:gd name="f606" fmla="val 319"/>
                  <a:gd name="f607" fmla="val 858"/>
                  <a:gd name="f608" fmla="val 308"/>
                  <a:gd name="f609" fmla="val 862"/>
                  <a:gd name="f610" fmla="val 301"/>
                  <a:gd name="f611" fmla="val 887"/>
                  <a:gd name="f612" fmla="val 307"/>
                  <a:gd name="f613" fmla="val 904"/>
                  <a:gd name="f614" fmla="val 315"/>
                  <a:gd name="f615" fmla="val 913"/>
                  <a:gd name="f616" fmla="val 926"/>
                  <a:gd name="f617" fmla="val 338"/>
                  <a:gd name="f618" fmla="val 959"/>
                  <a:gd name="f619" fmla="val 341"/>
                  <a:gd name="f620" fmla="val 966"/>
                  <a:gd name="f621" fmla="val 309"/>
                  <a:gd name="f622" fmla="val 1022"/>
                  <a:gd name="f623" fmla="val 297"/>
                  <a:gd name="f624" fmla="val 286"/>
                  <a:gd name="f625" fmla="val 275"/>
                  <a:gd name="f626" fmla="val 255"/>
                  <a:gd name="f627" fmla="val 254"/>
                  <a:gd name="f628" fmla="val 1133"/>
                  <a:gd name="f629" fmla="val 248"/>
                  <a:gd name="f630" fmla="val 244"/>
                  <a:gd name="f631" fmla="val 237"/>
                  <a:gd name="f632" fmla="val 1168"/>
                  <a:gd name="f633" fmla="val 1177"/>
                  <a:gd name="f634" fmla="val 218"/>
                  <a:gd name="f635" fmla="val 1188"/>
                  <a:gd name="f636" fmla="val 208"/>
                  <a:gd name="f637" fmla="val 1199"/>
                  <a:gd name="f638" fmla="val 201"/>
                  <a:gd name="f639" fmla="val 1208"/>
                  <a:gd name="f640" fmla="val 1212"/>
                  <a:gd name="f641" fmla="val 193"/>
                  <a:gd name="f642" fmla="val 1213"/>
                  <a:gd name="f643" fmla="val 186"/>
                  <a:gd name="f644" fmla="val 168"/>
                  <a:gd name="f645" fmla="val 159"/>
                  <a:gd name="f646" fmla="val 1219"/>
                  <a:gd name="f647" fmla="val 1230"/>
                  <a:gd name="f648" fmla="val 146"/>
                  <a:gd name="f649" fmla="val 1242"/>
                  <a:gd name="f650" fmla="val 139"/>
                  <a:gd name="f651" fmla="val 130"/>
                  <a:gd name="f652" fmla="val 1268"/>
                  <a:gd name="f653" fmla="val 1281"/>
                  <a:gd name="f654" fmla="val 1295"/>
                  <a:gd name="f655" fmla="val 137"/>
                  <a:gd name="f656" fmla="val 1310"/>
                  <a:gd name="f657" fmla="val 141"/>
                  <a:gd name="f658" fmla="val 1324"/>
                  <a:gd name="f659" fmla="val 1343"/>
                  <a:gd name="f660" fmla="val 151"/>
                  <a:gd name="f661" fmla="val 1393"/>
                  <a:gd name="f662" fmla="val 171"/>
                  <a:gd name="f663" fmla="val 175"/>
                  <a:gd name="f664" fmla="val 1412"/>
                  <a:gd name="f665" fmla="val 176"/>
                  <a:gd name="f666" fmla="val 1413"/>
                  <a:gd name="f667" fmla="val 1415"/>
                  <a:gd name="f668" fmla="val 178"/>
                  <a:gd name="f669" fmla="val 1416"/>
                  <a:gd name="f670" fmla="val 190"/>
                  <a:gd name="f671" fmla="val 1418"/>
                  <a:gd name="f672" fmla="val 194"/>
                  <a:gd name="f673" fmla="val 1420"/>
                  <a:gd name="f674" fmla="val 1423"/>
                  <a:gd name="f675" fmla="val 196"/>
                  <a:gd name="f676" fmla="val 1427"/>
                  <a:gd name="f677" fmla="val 1438"/>
                  <a:gd name="f678" fmla="val 1499"/>
                  <a:gd name="f679" fmla="val 1520"/>
                  <a:gd name="f680" fmla="val 1536"/>
                  <a:gd name="f681" fmla="val 1554"/>
                  <a:gd name="f682" fmla="val 1579"/>
                  <a:gd name="f683" fmla="val 1590"/>
                  <a:gd name="f684" fmla="val 1600"/>
                  <a:gd name="f685" fmla="val 110"/>
                  <a:gd name="f686" fmla="val 1605"/>
                  <a:gd name="f687" fmla="val 1608"/>
                  <a:gd name="f688" fmla="val 73"/>
                  <a:gd name="f689" fmla="val 1610"/>
                  <a:gd name="f690" fmla="val 64"/>
                  <a:gd name="f691" fmla="val 58"/>
                  <a:gd name="f692" fmla="val 1617"/>
                  <a:gd name="f693" fmla="val 1619"/>
                  <a:gd name="f694" fmla="val 1623"/>
                  <a:gd name="f695" fmla="val 25"/>
                  <a:gd name="f696" fmla="val 15"/>
                  <a:gd name="f697" fmla="val 1647"/>
                  <a:gd name="f698" fmla="val 8"/>
                  <a:gd name="f699" fmla="+- 0 0 -90"/>
                  <a:gd name="f700" fmla="*/ f3 1 1723"/>
                  <a:gd name="f701" fmla="*/ f4 1 1128"/>
                  <a:gd name="f702" fmla="+- f7 0 f5"/>
                  <a:gd name="f703" fmla="+- f6 0 f5"/>
                  <a:gd name="f704" fmla="*/ f699 f0 1"/>
                  <a:gd name="f705" fmla="*/ f703 1 1723"/>
                  <a:gd name="f706" fmla="*/ f702 1 1128"/>
                  <a:gd name="f707" fmla="*/ f704 1 f2"/>
                  <a:gd name="f708" fmla="*/ 1651 1 f705"/>
                  <a:gd name="f709" fmla="*/ 96 1 f706"/>
                  <a:gd name="f710" fmla="*/ 1723 1 f705"/>
                  <a:gd name="f711" fmla="*/ 179 1 f706"/>
                  <a:gd name="f712" fmla="*/ 1655 1 f705"/>
                  <a:gd name="f713" fmla="*/ 229 1 f706"/>
                  <a:gd name="f714" fmla="*/ 1637 1 f705"/>
                  <a:gd name="f715" fmla="*/ 265 1 f706"/>
                  <a:gd name="f716" fmla="*/ 1571 1 f705"/>
                  <a:gd name="f717" fmla="*/ 320 1 f706"/>
                  <a:gd name="f718" fmla="*/ 1559 1 f705"/>
                  <a:gd name="f719" fmla="*/ 369 1 f706"/>
                  <a:gd name="f720" fmla="*/ 1510 1 f705"/>
                  <a:gd name="f721" fmla="*/ 438 1 f706"/>
                  <a:gd name="f722" fmla="*/ 1440 1 f705"/>
                  <a:gd name="f723" fmla="*/ 505 1 f706"/>
                  <a:gd name="f724" fmla="*/ 1344 1 f705"/>
                  <a:gd name="f725" fmla="*/ 549 1 f706"/>
                  <a:gd name="f726" fmla="*/ 1376 1 f705"/>
                  <a:gd name="f727" fmla="*/ 621 1 f706"/>
                  <a:gd name="f728" fmla="*/ 1401 1 f705"/>
                  <a:gd name="f729" fmla="*/ 706 1 f706"/>
                  <a:gd name="f730" fmla="*/ 1339 1 f705"/>
                  <a:gd name="f731" fmla="*/ 791 1 f706"/>
                  <a:gd name="f732" fmla="*/ 1279 1 f705"/>
                  <a:gd name="f733" fmla="*/ 810 1 f706"/>
                  <a:gd name="f734" fmla="*/ 1278 1 f705"/>
                  <a:gd name="f735" fmla="*/ 888 1 f706"/>
                  <a:gd name="f736" fmla="*/ 1228 1 f705"/>
                  <a:gd name="f737" fmla="*/ 958 1 f706"/>
                  <a:gd name="f738" fmla="*/ 1118 1 f705"/>
                  <a:gd name="f739" fmla="*/ 1018 1 f706"/>
                  <a:gd name="f740" fmla="*/ 1089 1 f705"/>
                  <a:gd name="f741" fmla="*/ 1068 1 f706"/>
                  <a:gd name="f742" fmla="*/ 1031 1 f705"/>
                  <a:gd name="f743" fmla="*/ 1078 1 f706"/>
                  <a:gd name="f744" fmla="*/ 991 1 f705"/>
                  <a:gd name="f745" fmla="*/ 1042 1 f706"/>
                  <a:gd name="f746" fmla="*/ 942 1 f705"/>
                  <a:gd name="f747" fmla="*/ 1025 1 f706"/>
                  <a:gd name="f748" fmla="*/ 864 1 f705"/>
                  <a:gd name="f749" fmla="*/ 985 1 f706"/>
                  <a:gd name="f750" fmla="*/ 779 1 f705"/>
                  <a:gd name="f751" fmla="*/ 974 1 f706"/>
                  <a:gd name="f752" fmla="*/ 703 1 f705"/>
                  <a:gd name="f753" fmla="*/ 1026 1 f706"/>
                  <a:gd name="f754" fmla="*/ 607 1 f705"/>
                  <a:gd name="f755" fmla="*/ 1076 1 f706"/>
                  <a:gd name="f756" fmla="*/ 509 1 f705"/>
                  <a:gd name="f757" fmla="*/ 409 1 f705"/>
                  <a:gd name="f758" fmla="*/ 1128 1 f706"/>
                  <a:gd name="f759" fmla="*/ 336 1 f705"/>
                  <a:gd name="f760" fmla="*/ 1125 1 f706"/>
                  <a:gd name="f761" fmla="*/ 257 1 f705"/>
                  <a:gd name="f762" fmla="*/ 1035 1 f706"/>
                  <a:gd name="f763" fmla="*/ 228 1 f705"/>
                  <a:gd name="f764" fmla="*/ 978 1 f706"/>
                  <a:gd name="f765" fmla="*/ 242 1 f705"/>
                  <a:gd name="f766" fmla="*/ 954 1 f706"/>
                  <a:gd name="f767" fmla="*/ 153 1 f705"/>
                  <a:gd name="f768" fmla="*/ 854 1 f706"/>
                  <a:gd name="f769" fmla="*/ 89 1 f705"/>
                  <a:gd name="f770" fmla="*/ 850 1 f706"/>
                  <a:gd name="f771" fmla="*/ 91 1 f705"/>
                  <a:gd name="f772" fmla="*/ 803 1 f706"/>
                  <a:gd name="f773" fmla="*/ 77 1 f705"/>
                  <a:gd name="f774" fmla="*/ 753 1 f706"/>
                  <a:gd name="f775" fmla="*/ 10 1 f705"/>
                  <a:gd name="f776" fmla="*/ 717 1 f706"/>
                  <a:gd name="f777" fmla="*/ 36 1 f705"/>
                  <a:gd name="f778" fmla="*/ 601 1 f706"/>
                  <a:gd name="f779" fmla="*/ 46 1 f705"/>
                  <a:gd name="f780" fmla="*/ 488 1 f706"/>
                  <a:gd name="f781" fmla="*/ 13 1 f705"/>
                  <a:gd name="f782" fmla="*/ 411 1 f706"/>
                  <a:gd name="f783" fmla="*/ 76 1 f705"/>
                  <a:gd name="f784" fmla="*/ 359 1 f706"/>
                  <a:gd name="f785" fmla="*/ 127 1 f705"/>
                  <a:gd name="f786" fmla="*/ 391 1 f706"/>
                  <a:gd name="f787" fmla="*/ 158 1 f705"/>
                  <a:gd name="f788" fmla="*/ 447 1 f706"/>
                  <a:gd name="f789" fmla="*/ 182 1 f705"/>
                  <a:gd name="f790" fmla="*/ 521 1 f706"/>
                  <a:gd name="f791" fmla="*/ 240 1 f705"/>
                  <a:gd name="f792" fmla="*/ 619 1 f706"/>
                  <a:gd name="f793" fmla="*/ 304 1 f705"/>
                  <a:gd name="f794" fmla="*/ 646 1 f706"/>
                  <a:gd name="f795" fmla="*/ 399 1 f705"/>
                  <a:gd name="f796" fmla="*/ 577 1 f706"/>
                  <a:gd name="f797" fmla="*/ 435 1 f705"/>
                  <a:gd name="f798" fmla="*/ 510 1 f706"/>
                  <a:gd name="f799" fmla="*/ 462 1 f705"/>
                  <a:gd name="f800" fmla="*/ 467 1 f706"/>
                  <a:gd name="f801" fmla="*/ 514 1 f705"/>
                  <a:gd name="f802" fmla="*/ 412 1 f706"/>
                  <a:gd name="f803" fmla="*/ 553 1 f705"/>
                  <a:gd name="f804" fmla="*/ 437 1 f706"/>
                  <a:gd name="f805" fmla="*/ 641 1 f705"/>
                  <a:gd name="f806" fmla="*/ 402 1 f706"/>
                  <a:gd name="f807" fmla="*/ 723 1 f705"/>
                  <a:gd name="f808" fmla="*/ 387 1 f706"/>
                  <a:gd name="f809" fmla="*/ 777 1 f705"/>
                  <a:gd name="f810" fmla="*/ 393 1 f706"/>
                  <a:gd name="f811" fmla="*/ 348 1 f706"/>
                  <a:gd name="f812" fmla="*/ 868 1 f705"/>
                  <a:gd name="f813" fmla="*/ 301 1 f706"/>
                  <a:gd name="f814" fmla="*/ 971 1 f705"/>
                  <a:gd name="f815" fmla="*/ 337 1 f706"/>
                  <a:gd name="f816" fmla="*/ 1078 1 f705"/>
                  <a:gd name="f817" fmla="*/ 258 1 f706"/>
                  <a:gd name="f818" fmla="*/ 1188 1 f705"/>
                  <a:gd name="f819" fmla="*/ 208 1 f706"/>
                  <a:gd name="f820" fmla="*/ 1230 1 f705"/>
                  <a:gd name="f821" fmla="*/ 146 1 f706"/>
                  <a:gd name="f822" fmla="*/ 1324 1 f705"/>
                  <a:gd name="f823" fmla="*/ 1413 1 f705"/>
                  <a:gd name="f824" fmla="*/ 176 1 f706"/>
                  <a:gd name="f825" fmla="*/ 1427 1 f705"/>
                  <a:gd name="f826" fmla="*/ 194 1 f706"/>
                  <a:gd name="f827" fmla="*/ 1554 1 f705"/>
                  <a:gd name="f828" fmla="*/ 1614 1 f705"/>
                  <a:gd name="f829" fmla="*/ 58 1 f706"/>
                  <a:gd name="f830" fmla="*/ 0 1 f705"/>
                  <a:gd name="f831" fmla="*/ f6 1 f705"/>
                  <a:gd name="f832" fmla="*/ 0 1 f706"/>
                  <a:gd name="f833" fmla="*/ f7 1 f706"/>
                  <a:gd name="f834" fmla="+- f707 0 f1"/>
                  <a:gd name="f835" fmla="*/ f830 f700 1"/>
                  <a:gd name="f836" fmla="*/ f831 f700 1"/>
                  <a:gd name="f837" fmla="*/ f833 f701 1"/>
                  <a:gd name="f838" fmla="*/ f832 f701 1"/>
                  <a:gd name="f839" fmla="*/ f708 f700 1"/>
                  <a:gd name="f840" fmla="*/ f709 f701 1"/>
                  <a:gd name="f841" fmla="*/ f710 f700 1"/>
                  <a:gd name="f842" fmla="*/ f711 f701 1"/>
                  <a:gd name="f843" fmla="*/ f712 f700 1"/>
                  <a:gd name="f844" fmla="*/ f713 f701 1"/>
                  <a:gd name="f845" fmla="*/ f714 f700 1"/>
                  <a:gd name="f846" fmla="*/ f715 f701 1"/>
                  <a:gd name="f847" fmla="*/ f716 f700 1"/>
                  <a:gd name="f848" fmla="*/ f717 f701 1"/>
                  <a:gd name="f849" fmla="*/ f718 f700 1"/>
                  <a:gd name="f850" fmla="*/ f719 f701 1"/>
                  <a:gd name="f851" fmla="*/ f720 f700 1"/>
                  <a:gd name="f852" fmla="*/ f721 f701 1"/>
                  <a:gd name="f853" fmla="*/ f722 f700 1"/>
                  <a:gd name="f854" fmla="*/ f723 f701 1"/>
                  <a:gd name="f855" fmla="*/ f724 f700 1"/>
                  <a:gd name="f856" fmla="*/ f725 f701 1"/>
                  <a:gd name="f857" fmla="*/ f726 f700 1"/>
                  <a:gd name="f858" fmla="*/ f727 f701 1"/>
                  <a:gd name="f859" fmla="*/ f728 f700 1"/>
                  <a:gd name="f860" fmla="*/ f729 f701 1"/>
                  <a:gd name="f861" fmla="*/ f730 f700 1"/>
                  <a:gd name="f862" fmla="*/ f731 f701 1"/>
                  <a:gd name="f863" fmla="*/ f732 f700 1"/>
                  <a:gd name="f864" fmla="*/ f733 f701 1"/>
                  <a:gd name="f865" fmla="*/ f734 f700 1"/>
                  <a:gd name="f866" fmla="*/ f735 f701 1"/>
                  <a:gd name="f867" fmla="*/ f736 f700 1"/>
                  <a:gd name="f868" fmla="*/ f737 f701 1"/>
                  <a:gd name="f869" fmla="*/ f738 f700 1"/>
                  <a:gd name="f870" fmla="*/ f739 f701 1"/>
                  <a:gd name="f871" fmla="*/ f740 f700 1"/>
                  <a:gd name="f872" fmla="*/ f741 f701 1"/>
                  <a:gd name="f873" fmla="*/ f742 f700 1"/>
                  <a:gd name="f874" fmla="*/ f743 f701 1"/>
                  <a:gd name="f875" fmla="*/ f744 f700 1"/>
                  <a:gd name="f876" fmla="*/ f745 f701 1"/>
                  <a:gd name="f877" fmla="*/ f746 f700 1"/>
                  <a:gd name="f878" fmla="*/ f747 f701 1"/>
                  <a:gd name="f879" fmla="*/ f748 f700 1"/>
                  <a:gd name="f880" fmla="*/ f749 f701 1"/>
                  <a:gd name="f881" fmla="*/ f750 f700 1"/>
                  <a:gd name="f882" fmla="*/ f751 f701 1"/>
                  <a:gd name="f883" fmla="*/ f752 f700 1"/>
                  <a:gd name="f884" fmla="*/ f753 f701 1"/>
                  <a:gd name="f885" fmla="*/ f754 f700 1"/>
                  <a:gd name="f886" fmla="*/ f755 f701 1"/>
                  <a:gd name="f887" fmla="*/ f756 f700 1"/>
                  <a:gd name="f888" fmla="*/ f757 f700 1"/>
                  <a:gd name="f889" fmla="*/ f758 f701 1"/>
                  <a:gd name="f890" fmla="*/ f759 f700 1"/>
                  <a:gd name="f891" fmla="*/ f760 f701 1"/>
                  <a:gd name="f892" fmla="*/ f761 f700 1"/>
                  <a:gd name="f893" fmla="*/ f762 f701 1"/>
                  <a:gd name="f894" fmla="*/ f763 f700 1"/>
                  <a:gd name="f895" fmla="*/ f764 f701 1"/>
                  <a:gd name="f896" fmla="*/ f765 f700 1"/>
                  <a:gd name="f897" fmla="*/ f766 f701 1"/>
                  <a:gd name="f898" fmla="*/ f767 f700 1"/>
                  <a:gd name="f899" fmla="*/ f768 f701 1"/>
                  <a:gd name="f900" fmla="*/ f769 f700 1"/>
                  <a:gd name="f901" fmla="*/ f770 f701 1"/>
                  <a:gd name="f902" fmla="*/ f771 f700 1"/>
                  <a:gd name="f903" fmla="*/ f772 f701 1"/>
                  <a:gd name="f904" fmla="*/ f773 f700 1"/>
                  <a:gd name="f905" fmla="*/ f774 f701 1"/>
                  <a:gd name="f906" fmla="*/ f775 f700 1"/>
                  <a:gd name="f907" fmla="*/ f776 f701 1"/>
                  <a:gd name="f908" fmla="*/ f777 f700 1"/>
                  <a:gd name="f909" fmla="*/ f778 f701 1"/>
                  <a:gd name="f910" fmla="*/ f779 f700 1"/>
                  <a:gd name="f911" fmla="*/ f780 f701 1"/>
                  <a:gd name="f912" fmla="*/ f781 f700 1"/>
                  <a:gd name="f913" fmla="*/ f782 f701 1"/>
                  <a:gd name="f914" fmla="*/ f783 f700 1"/>
                  <a:gd name="f915" fmla="*/ f784 f701 1"/>
                  <a:gd name="f916" fmla="*/ f785 f700 1"/>
                  <a:gd name="f917" fmla="*/ f786 f701 1"/>
                  <a:gd name="f918" fmla="*/ f787 f700 1"/>
                  <a:gd name="f919" fmla="*/ f788 f701 1"/>
                  <a:gd name="f920" fmla="*/ f789 f700 1"/>
                  <a:gd name="f921" fmla="*/ f790 f701 1"/>
                  <a:gd name="f922" fmla="*/ f791 f700 1"/>
                  <a:gd name="f923" fmla="*/ f792 f701 1"/>
                  <a:gd name="f924" fmla="*/ f793 f700 1"/>
                  <a:gd name="f925" fmla="*/ f794 f701 1"/>
                  <a:gd name="f926" fmla="*/ f795 f700 1"/>
                  <a:gd name="f927" fmla="*/ f796 f701 1"/>
                  <a:gd name="f928" fmla="*/ f797 f700 1"/>
                  <a:gd name="f929" fmla="*/ f798 f701 1"/>
                  <a:gd name="f930" fmla="*/ f799 f700 1"/>
                  <a:gd name="f931" fmla="*/ f800 f701 1"/>
                  <a:gd name="f932" fmla="*/ f801 f700 1"/>
                  <a:gd name="f933" fmla="*/ f802 f701 1"/>
                  <a:gd name="f934" fmla="*/ f803 f700 1"/>
                  <a:gd name="f935" fmla="*/ f804 f701 1"/>
                  <a:gd name="f936" fmla="*/ f805 f700 1"/>
                  <a:gd name="f937" fmla="*/ f806 f701 1"/>
                  <a:gd name="f938" fmla="*/ f807 f700 1"/>
                  <a:gd name="f939" fmla="*/ f808 f701 1"/>
                  <a:gd name="f940" fmla="*/ f809 f700 1"/>
                  <a:gd name="f941" fmla="*/ f810 f701 1"/>
                  <a:gd name="f942" fmla="*/ f811 f701 1"/>
                  <a:gd name="f943" fmla="*/ f812 f700 1"/>
                  <a:gd name="f944" fmla="*/ f813 f701 1"/>
                  <a:gd name="f945" fmla="*/ f814 f700 1"/>
                  <a:gd name="f946" fmla="*/ f815 f701 1"/>
                  <a:gd name="f947" fmla="*/ f816 f700 1"/>
                  <a:gd name="f948" fmla="*/ f817 f701 1"/>
                  <a:gd name="f949" fmla="*/ f818 f700 1"/>
                  <a:gd name="f950" fmla="*/ f819 f701 1"/>
                  <a:gd name="f951" fmla="*/ f820 f700 1"/>
                  <a:gd name="f952" fmla="*/ f821 f701 1"/>
                  <a:gd name="f953" fmla="*/ f822 f700 1"/>
                  <a:gd name="f954" fmla="*/ f823 f700 1"/>
                  <a:gd name="f955" fmla="*/ f824 f701 1"/>
                  <a:gd name="f956" fmla="*/ f825 f700 1"/>
                  <a:gd name="f957" fmla="*/ f826 f701 1"/>
                  <a:gd name="f958" fmla="*/ f827 f700 1"/>
                  <a:gd name="f959" fmla="*/ f828 f700 1"/>
                  <a:gd name="f960" fmla="*/ f829 f70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834">
                    <a:pos x="f839" y="f840"/>
                  </a:cxn>
                  <a:cxn ang="f834">
                    <a:pos x="f841" y="f842"/>
                  </a:cxn>
                  <a:cxn ang="f834">
                    <a:pos x="f843" y="f844"/>
                  </a:cxn>
                  <a:cxn ang="f834">
                    <a:pos x="f845" y="f846"/>
                  </a:cxn>
                  <a:cxn ang="f834">
                    <a:pos x="f847" y="f848"/>
                  </a:cxn>
                  <a:cxn ang="f834">
                    <a:pos x="f849" y="f850"/>
                  </a:cxn>
                  <a:cxn ang="f834">
                    <a:pos x="f851" y="f852"/>
                  </a:cxn>
                  <a:cxn ang="f834">
                    <a:pos x="f853" y="f854"/>
                  </a:cxn>
                  <a:cxn ang="f834">
                    <a:pos x="f855" y="f856"/>
                  </a:cxn>
                  <a:cxn ang="f834">
                    <a:pos x="f857" y="f858"/>
                  </a:cxn>
                  <a:cxn ang="f834">
                    <a:pos x="f859" y="f860"/>
                  </a:cxn>
                  <a:cxn ang="f834">
                    <a:pos x="f861" y="f862"/>
                  </a:cxn>
                  <a:cxn ang="f834">
                    <a:pos x="f863" y="f864"/>
                  </a:cxn>
                  <a:cxn ang="f834">
                    <a:pos x="f865" y="f866"/>
                  </a:cxn>
                  <a:cxn ang="f834">
                    <a:pos x="f867" y="f868"/>
                  </a:cxn>
                  <a:cxn ang="f834">
                    <a:pos x="f869" y="f870"/>
                  </a:cxn>
                  <a:cxn ang="f834">
                    <a:pos x="f871" y="f872"/>
                  </a:cxn>
                  <a:cxn ang="f834">
                    <a:pos x="f873" y="f874"/>
                  </a:cxn>
                  <a:cxn ang="f834">
                    <a:pos x="f875" y="f876"/>
                  </a:cxn>
                  <a:cxn ang="f834">
                    <a:pos x="f877" y="f878"/>
                  </a:cxn>
                  <a:cxn ang="f834">
                    <a:pos x="f879" y="f880"/>
                  </a:cxn>
                  <a:cxn ang="f834">
                    <a:pos x="f881" y="f882"/>
                  </a:cxn>
                  <a:cxn ang="f834">
                    <a:pos x="f883" y="f884"/>
                  </a:cxn>
                  <a:cxn ang="f834">
                    <a:pos x="f885" y="f886"/>
                  </a:cxn>
                  <a:cxn ang="f834">
                    <a:pos x="f887" y="f886"/>
                  </a:cxn>
                  <a:cxn ang="f834">
                    <a:pos x="f888" y="f889"/>
                  </a:cxn>
                  <a:cxn ang="f834">
                    <a:pos x="f890" y="f891"/>
                  </a:cxn>
                  <a:cxn ang="f834">
                    <a:pos x="f892" y="f893"/>
                  </a:cxn>
                  <a:cxn ang="f834">
                    <a:pos x="f894" y="f895"/>
                  </a:cxn>
                  <a:cxn ang="f834">
                    <a:pos x="f896" y="f897"/>
                  </a:cxn>
                  <a:cxn ang="f834">
                    <a:pos x="f898" y="f899"/>
                  </a:cxn>
                  <a:cxn ang="f834">
                    <a:pos x="f900" y="f901"/>
                  </a:cxn>
                  <a:cxn ang="f834">
                    <a:pos x="f902" y="f903"/>
                  </a:cxn>
                  <a:cxn ang="f834">
                    <a:pos x="f904" y="f905"/>
                  </a:cxn>
                  <a:cxn ang="f834">
                    <a:pos x="f906" y="f907"/>
                  </a:cxn>
                  <a:cxn ang="f834">
                    <a:pos x="f908" y="f909"/>
                  </a:cxn>
                  <a:cxn ang="f834">
                    <a:pos x="f910" y="f911"/>
                  </a:cxn>
                  <a:cxn ang="f834">
                    <a:pos x="f912" y="f913"/>
                  </a:cxn>
                  <a:cxn ang="f834">
                    <a:pos x="f914" y="f915"/>
                  </a:cxn>
                  <a:cxn ang="f834">
                    <a:pos x="f916" y="f917"/>
                  </a:cxn>
                  <a:cxn ang="f834">
                    <a:pos x="f918" y="f919"/>
                  </a:cxn>
                  <a:cxn ang="f834">
                    <a:pos x="f920" y="f921"/>
                  </a:cxn>
                  <a:cxn ang="f834">
                    <a:pos x="f922" y="f923"/>
                  </a:cxn>
                  <a:cxn ang="f834">
                    <a:pos x="f924" y="f925"/>
                  </a:cxn>
                  <a:cxn ang="f834">
                    <a:pos x="f926" y="f927"/>
                  </a:cxn>
                  <a:cxn ang="f834">
                    <a:pos x="f928" y="f929"/>
                  </a:cxn>
                  <a:cxn ang="f834">
                    <a:pos x="f930" y="f931"/>
                  </a:cxn>
                  <a:cxn ang="f834">
                    <a:pos x="f932" y="f933"/>
                  </a:cxn>
                  <a:cxn ang="f834">
                    <a:pos x="f934" y="f935"/>
                  </a:cxn>
                  <a:cxn ang="f834">
                    <a:pos x="f936" y="f937"/>
                  </a:cxn>
                  <a:cxn ang="f834">
                    <a:pos x="f938" y="f939"/>
                  </a:cxn>
                  <a:cxn ang="f834">
                    <a:pos x="f940" y="f941"/>
                  </a:cxn>
                  <a:cxn ang="f834">
                    <a:pos x="f940" y="f942"/>
                  </a:cxn>
                  <a:cxn ang="f834">
                    <a:pos x="f943" y="f944"/>
                  </a:cxn>
                  <a:cxn ang="f834">
                    <a:pos x="f945" y="f946"/>
                  </a:cxn>
                  <a:cxn ang="f834">
                    <a:pos x="f947" y="f948"/>
                  </a:cxn>
                  <a:cxn ang="f834">
                    <a:pos x="f949" y="f950"/>
                  </a:cxn>
                  <a:cxn ang="f834">
                    <a:pos x="f951" y="f952"/>
                  </a:cxn>
                  <a:cxn ang="f834">
                    <a:pos x="f953" y="f952"/>
                  </a:cxn>
                  <a:cxn ang="f834">
                    <a:pos x="f954" y="f955"/>
                  </a:cxn>
                  <a:cxn ang="f834">
                    <a:pos x="f956" y="f957"/>
                  </a:cxn>
                  <a:cxn ang="f834">
                    <a:pos x="f958" y="f952"/>
                  </a:cxn>
                  <a:cxn ang="f834">
                    <a:pos x="f959" y="f960"/>
                  </a:cxn>
                </a:cxnLst>
                <a:rect l="f835" t="f838" r="f836" b="f837"/>
                <a:pathLst>
                  <a:path w="1723" h="1128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19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13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6" y="f35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17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0"/>
                    </a:lnTo>
                    <a:lnTo>
                      <a:pt x="f54" y="f47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59" y="f61"/>
                    </a:lnTo>
                    <a:lnTo>
                      <a:pt x="f54" y="f62"/>
                    </a:lnTo>
                    <a:lnTo>
                      <a:pt x="f55" y="f63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67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1" y="f8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128" y="f129"/>
                    </a:lnTo>
                    <a:lnTo>
                      <a:pt x="f130" y="f127"/>
                    </a:ln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37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8" y="f159"/>
                    </a:lnTo>
                    <a:lnTo>
                      <a:pt x="f160" y="f161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0" y="f166"/>
                    </a:lnTo>
                    <a:lnTo>
                      <a:pt x="f167" y="f168"/>
                    </a:lnTo>
                    <a:lnTo>
                      <a:pt x="f167" y="f169"/>
                    </a:lnTo>
                    <a:lnTo>
                      <a:pt x="f158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lnTo>
                      <a:pt x="f177" y="f178"/>
                    </a:lnTo>
                    <a:lnTo>
                      <a:pt x="f179" y="f180"/>
                    </a:lnTo>
                    <a:lnTo>
                      <a:pt x="f181" y="f182"/>
                    </a:lnTo>
                    <a:lnTo>
                      <a:pt x="f183" y="f184"/>
                    </a:lnTo>
                    <a:lnTo>
                      <a:pt x="f185" y="f186"/>
                    </a:lnTo>
                    <a:lnTo>
                      <a:pt x="f187" y="f184"/>
                    </a:lnTo>
                    <a:lnTo>
                      <a:pt x="f188" y="f184"/>
                    </a:lnTo>
                    <a:lnTo>
                      <a:pt x="f189" y="f190"/>
                    </a:lnTo>
                    <a:lnTo>
                      <a:pt x="f191" y="f184"/>
                    </a:lnTo>
                    <a:lnTo>
                      <a:pt x="f192" y="f193"/>
                    </a:lnTo>
                    <a:lnTo>
                      <a:pt x="f194" y="f195"/>
                    </a:lnTo>
                    <a:lnTo>
                      <a:pt x="f196" y="f197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200" y="f202"/>
                    </a:lnTo>
                    <a:lnTo>
                      <a:pt x="f203" y="f204"/>
                    </a:lnTo>
                    <a:lnTo>
                      <a:pt x="f194" y="f205"/>
                    </a:lnTo>
                    <a:lnTo>
                      <a:pt x="f192" y="f206"/>
                    </a:lnTo>
                    <a:lnTo>
                      <a:pt x="f207" y="f208"/>
                    </a:lnTo>
                    <a:lnTo>
                      <a:pt x="f200" y="f209"/>
                    </a:lnTo>
                    <a:lnTo>
                      <a:pt x="f210" y="f211"/>
                    </a:lnTo>
                    <a:lnTo>
                      <a:pt x="f212" y="f213"/>
                    </a:lnTo>
                    <a:lnTo>
                      <a:pt x="f214" y="f215"/>
                    </a:lnTo>
                    <a:lnTo>
                      <a:pt x="f216" y="f217"/>
                    </a:lnTo>
                    <a:lnTo>
                      <a:pt x="f218" y="f219"/>
                    </a:lnTo>
                    <a:lnTo>
                      <a:pt x="f220" y="f221"/>
                    </a:lnTo>
                    <a:lnTo>
                      <a:pt x="f222" y="f223"/>
                    </a:lnTo>
                    <a:lnTo>
                      <a:pt x="f224" y="f225"/>
                    </a:lnTo>
                    <a:lnTo>
                      <a:pt x="f226" y="f225"/>
                    </a:lnTo>
                    <a:lnTo>
                      <a:pt x="f227" y="f228"/>
                    </a:lnTo>
                    <a:lnTo>
                      <a:pt x="f229" y="f228"/>
                    </a:lnTo>
                    <a:lnTo>
                      <a:pt x="f230" y="f231"/>
                    </a:lnTo>
                    <a:lnTo>
                      <a:pt x="f232" y="f233"/>
                    </a:lnTo>
                    <a:lnTo>
                      <a:pt x="f234" y="f235"/>
                    </a:lnTo>
                    <a:lnTo>
                      <a:pt x="f236" y="f237"/>
                    </a:lnTo>
                    <a:lnTo>
                      <a:pt x="f238" y="f239"/>
                    </a:lnTo>
                    <a:lnTo>
                      <a:pt x="f240" y="f241"/>
                    </a:lnTo>
                    <a:lnTo>
                      <a:pt x="f240" y="f242"/>
                    </a:lnTo>
                    <a:lnTo>
                      <a:pt x="f243" y="f244"/>
                    </a:lnTo>
                    <a:lnTo>
                      <a:pt x="f245" y="f246"/>
                    </a:lnTo>
                    <a:lnTo>
                      <a:pt x="f247" y="f248"/>
                    </a:lnTo>
                    <a:lnTo>
                      <a:pt x="f249" y="f250"/>
                    </a:lnTo>
                    <a:lnTo>
                      <a:pt x="f251" y="f252"/>
                    </a:lnTo>
                    <a:lnTo>
                      <a:pt x="f253" y="f254"/>
                    </a:lnTo>
                    <a:lnTo>
                      <a:pt x="f255" y="f256"/>
                    </a:lnTo>
                    <a:lnTo>
                      <a:pt x="f257" y="f258"/>
                    </a:lnTo>
                    <a:lnTo>
                      <a:pt x="f246" y="f259"/>
                    </a:lnTo>
                    <a:lnTo>
                      <a:pt x="f256" y="f252"/>
                    </a:lnTo>
                    <a:lnTo>
                      <a:pt x="f260" y="f246"/>
                    </a:lnTo>
                    <a:lnTo>
                      <a:pt x="f261" y="f262"/>
                    </a:lnTo>
                    <a:lnTo>
                      <a:pt x="f239" y="f263"/>
                    </a:lnTo>
                    <a:lnTo>
                      <a:pt x="f264" y="f265"/>
                    </a:lnTo>
                    <a:lnTo>
                      <a:pt x="f266" y="f252"/>
                    </a:lnTo>
                    <a:lnTo>
                      <a:pt x="f267" y="f258"/>
                    </a:lnTo>
                    <a:lnTo>
                      <a:pt x="f268" y="f269"/>
                    </a:lnTo>
                    <a:lnTo>
                      <a:pt x="f270" y="f271"/>
                    </a:lnTo>
                    <a:lnTo>
                      <a:pt x="f272" y="f273"/>
                    </a:lnTo>
                    <a:lnTo>
                      <a:pt x="f274" y="f273"/>
                    </a:lnTo>
                    <a:lnTo>
                      <a:pt x="f275" y="f276"/>
                    </a:lnTo>
                    <a:lnTo>
                      <a:pt x="f277" y="f278"/>
                    </a:lnTo>
                    <a:lnTo>
                      <a:pt x="f279" y="f280"/>
                    </a:lnTo>
                    <a:lnTo>
                      <a:pt x="f228" y="f281"/>
                    </a:lnTo>
                    <a:lnTo>
                      <a:pt x="f282" y="f280"/>
                    </a:lnTo>
                    <a:lnTo>
                      <a:pt x="f283" y="f284"/>
                    </a:lnTo>
                    <a:lnTo>
                      <a:pt x="f285" y="f241"/>
                    </a:lnTo>
                    <a:lnTo>
                      <a:pt x="f286" y="f287"/>
                    </a:lnTo>
                    <a:lnTo>
                      <a:pt x="f219" y="f288"/>
                    </a:lnTo>
                    <a:lnTo>
                      <a:pt x="f289" y="f290"/>
                    </a:lnTo>
                    <a:lnTo>
                      <a:pt x="f291" y="f292"/>
                    </a:lnTo>
                    <a:lnTo>
                      <a:pt x="f293" y="f272"/>
                    </a:lnTo>
                    <a:lnTo>
                      <a:pt x="f294" y="f295"/>
                    </a:lnTo>
                    <a:lnTo>
                      <a:pt x="f296" y="f297"/>
                    </a:lnTo>
                    <a:lnTo>
                      <a:pt x="f298" y="f299"/>
                    </a:lnTo>
                    <a:lnTo>
                      <a:pt x="f300" y="f301"/>
                    </a:lnTo>
                    <a:lnTo>
                      <a:pt x="f302" y="f301"/>
                    </a:lnTo>
                    <a:lnTo>
                      <a:pt x="f303" y="f299"/>
                    </a:lnTo>
                    <a:lnTo>
                      <a:pt x="f304" y="f299"/>
                    </a:lnTo>
                    <a:lnTo>
                      <a:pt x="f305" y="f306"/>
                    </a:lnTo>
                    <a:lnTo>
                      <a:pt x="f307" y="f308"/>
                    </a:lnTo>
                    <a:lnTo>
                      <a:pt x="f309" y="f310"/>
                    </a:lnTo>
                    <a:lnTo>
                      <a:pt x="f190" y="f311"/>
                    </a:lnTo>
                    <a:lnTo>
                      <a:pt x="f312" y="f311"/>
                    </a:lnTo>
                    <a:lnTo>
                      <a:pt x="f313" y="f314"/>
                    </a:lnTo>
                    <a:lnTo>
                      <a:pt x="f315" y="f301"/>
                    </a:lnTo>
                    <a:lnTo>
                      <a:pt x="f316" y="f295"/>
                    </a:lnTo>
                    <a:lnTo>
                      <a:pt x="f317" y="f272"/>
                    </a:lnTo>
                    <a:lnTo>
                      <a:pt x="f178" y="f270"/>
                    </a:lnTo>
                    <a:lnTo>
                      <a:pt x="f318" y="f268"/>
                    </a:lnTo>
                    <a:lnTo>
                      <a:pt x="f319" y="f320"/>
                    </a:lnTo>
                    <a:lnTo>
                      <a:pt x="f321" y="f322"/>
                    </a:lnTo>
                    <a:lnTo>
                      <a:pt x="f323" y="f324"/>
                    </a:lnTo>
                    <a:lnTo>
                      <a:pt x="f325" y="f326"/>
                    </a:lnTo>
                    <a:lnTo>
                      <a:pt x="f327" y="f328"/>
                    </a:lnTo>
                    <a:lnTo>
                      <a:pt x="f329" y="f330"/>
                    </a:lnTo>
                    <a:lnTo>
                      <a:pt x="f331" y="f254"/>
                    </a:lnTo>
                    <a:lnTo>
                      <a:pt x="f332" y="f246"/>
                    </a:lnTo>
                    <a:lnTo>
                      <a:pt x="f333" y="f263"/>
                    </a:lnTo>
                    <a:lnTo>
                      <a:pt x="f334" y="f335"/>
                    </a:lnTo>
                    <a:lnTo>
                      <a:pt x="f149" y="f262"/>
                    </a:lnTo>
                    <a:lnTo>
                      <a:pt x="f147" y="f246"/>
                    </a:lnTo>
                    <a:lnTo>
                      <a:pt x="f336" y="f252"/>
                    </a:lnTo>
                    <a:lnTo>
                      <a:pt x="f337" y="f244"/>
                    </a:lnTo>
                    <a:lnTo>
                      <a:pt x="f338" y="f339"/>
                    </a:lnTo>
                    <a:lnTo>
                      <a:pt x="f340" y="f259"/>
                    </a:lnTo>
                    <a:lnTo>
                      <a:pt x="f341" y="f259"/>
                    </a:lnTo>
                    <a:lnTo>
                      <a:pt x="f342" y="f244"/>
                    </a:lnTo>
                    <a:lnTo>
                      <a:pt x="f343" y="f262"/>
                    </a:lnTo>
                    <a:lnTo>
                      <a:pt x="f344" y="f253"/>
                    </a:lnTo>
                    <a:lnTo>
                      <a:pt x="f345" y="f346"/>
                    </a:lnTo>
                    <a:lnTo>
                      <a:pt x="f347" y="f348"/>
                    </a:lnTo>
                    <a:lnTo>
                      <a:pt x="f349" y="f350"/>
                    </a:lnTo>
                    <a:lnTo>
                      <a:pt x="f351" y="f352"/>
                    </a:lnTo>
                    <a:lnTo>
                      <a:pt x="f353" y="f236"/>
                    </a:lnTo>
                    <a:lnTo>
                      <a:pt x="f354" y="f355"/>
                    </a:lnTo>
                    <a:lnTo>
                      <a:pt x="f99" y="f7"/>
                    </a:lnTo>
                    <a:lnTo>
                      <a:pt x="f97" y="f356"/>
                    </a:lnTo>
                    <a:lnTo>
                      <a:pt x="f357" y="f358"/>
                    </a:lnTo>
                    <a:lnTo>
                      <a:pt x="f359" y="f360"/>
                    </a:lnTo>
                    <a:lnTo>
                      <a:pt x="f361" y="f360"/>
                    </a:lnTo>
                    <a:lnTo>
                      <a:pt x="f362" y="f363"/>
                    </a:lnTo>
                    <a:lnTo>
                      <a:pt x="f364" y="f356"/>
                    </a:lnTo>
                    <a:lnTo>
                      <a:pt x="f365" y="f355"/>
                    </a:lnTo>
                    <a:lnTo>
                      <a:pt x="f366" y="f356"/>
                    </a:lnTo>
                    <a:lnTo>
                      <a:pt x="f367" y="f236"/>
                    </a:lnTo>
                    <a:lnTo>
                      <a:pt x="f368" y="f352"/>
                    </a:lnTo>
                    <a:lnTo>
                      <a:pt x="f369" y="f370"/>
                    </a:lnTo>
                    <a:lnTo>
                      <a:pt x="f371" y="f372"/>
                    </a:lnTo>
                    <a:lnTo>
                      <a:pt x="f373" y="f242"/>
                    </a:lnTo>
                    <a:lnTo>
                      <a:pt x="f374" y="f278"/>
                    </a:lnTo>
                    <a:lnTo>
                      <a:pt x="f375" y="f276"/>
                    </a:lnTo>
                    <a:lnTo>
                      <a:pt x="f375" y="f326"/>
                    </a:lnTo>
                    <a:lnTo>
                      <a:pt x="f374" y="f324"/>
                    </a:lnTo>
                    <a:lnTo>
                      <a:pt x="f62" y="f320"/>
                    </a:lnTo>
                    <a:lnTo>
                      <a:pt x="f376" y="f377"/>
                    </a:lnTo>
                    <a:lnTo>
                      <a:pt x="f374" y="f274"/>
                    </a:lnTo>
                    <a:lnTo>
                      <a:pt x="f60" y="f378"/>
                    </a:lnTo>
                    <a:lnTo>
                      <a:pt x="f379" y="f235"/>
                    </a:lnTo>
                    <a:lnTo>
                      <a:pt x="f380" y="f306"/>
                    </a:lnTo>
                    <a:lnTo>
                      <a:pt x="f381" y="f308"/>
                    </a:lnTo>
                    <a:lnTo>
                      <a:pt x="f381" y="f310"/>
                    </a:lnTo>
                    <a:lnTo>
                      <a:pt x="f50" y="f382"/>
                    </a:lnTo>
                    <a:lnTo>
                      <a:pt x="f48" y="f231"/>
                    </a:lnTo>
                    <a:lnTo>
                      <a:pt x="f383" y="f228"/>
                    </a:lnTo>
                    <a:lnTo>
                      <a:pt x="f379" y="f384"/>
                    </a:lnTo>
                    <a:lnTo>
                      <a:pt x="f385" y="f223"/>
                    </a:lnTo>
                    <a:lnTo>
                      <a:pt x="f385" y="f386"/>
                    </a:lnTo>
                    <a:lnTo>
                      <a:pt x="f379" y="f387"/>
                    </a:lnTo>
                    <a:lnTo>
                      <a:pt x="f56" y="f388"/>
                    </a:lnTo>
                    <a:lnTo>
                      <a:pt x="f48" y="f285"/>
                    </a:lnTo>
                    <a:lnTo>
                      <a:pt x="f389" y="f291"/>
                    </a:lnTo>
                    <a:lnTo>
                      <a:pt x="f390" y="f209"/>
                    </a:lnTo>
                    <a:lnTo>
                      <a:pt x="f391" y="f392"/>
                    </a:lnTo>
                    <a:lnTo>
                      <a:pt x="f393" y="f394"/>
                    </a:lnTo>
                    <a:lnTo>
                      <a:pt x="f395" y="f396"/>
                    </a:lnTo>
                    <a:lnTo>
                      <a:pt x="f397" y="f398"/>
                    </a:lnTo>
                    <a:lnTo>
                      <a:pt x="f399" y="f201"/>
                    </a:lnTo>
                    <a:lnTo>
                      <a:pt x="f400" y="f398"/>
                    </a:lnTo>
                    <a:lnTo>
                      <a:pt x="f401" y="f402"/>
                    </a:lnTo>
                    <a:lnTo>
                      <a:pt x="f403" y="f404"/>
                    </a:lnTo>
                    <a:lnTo>
                      <a:pt x="f405" y="f406"/>
                    </a:lnTo>
                    <a:lnTo>
                      <a:pt x="f407" y="f404"/>
                    </a:lnTo>
                    <a:lnTo>
                      <a:pt x="f20" y="f396"/>
                    </a:lnTo>
                    <a:lnTo>
                      <a:pt x="f20" y="f303"/>
                    </a:lnTo>
                    <a:lnTo>
                      <a:pt x="f407" y="f408"/>
                    </a:lnTo>
                    <a:lnTo>
                      <a:pt x="f409" y="f410"/>
                    </a:lnTo>
                    <a:lnTo>
                      <a:pt x="f411" y="f412"/>
                    </a:lnTo>
                    <a:lnTo>
                      <a:pt x="f23" y="f413"/>
                    </a:lnTo>
                    <a:lnTo>
                      <a:pt x="f411" y="f197"/>
                    </a:lnTo>
                    <a:lnTo>
                      <a:pt x="f414" y="f415"/>
                    </a:lnTo>
                    <a:lnTo>
                      <a:pt x="f416" y="f417"/>
                    </a:lnTo>
                    <a:lnTo>
                      <a:pt x="f416" y="f309"/>
                    </a:lnTo>
                    <a:lnTo>
                      <a:pt x="f414" y="f186"/>
                    </a:lnTo>
                    <a:lnTo>
                      <a:pt x="f418" y="f419"/>
                    </a:lnTo>
                    <a:lnTo>
                      <a:pt x="f420" y="f421"/>
                    </a:lnTo>
                    <a:lnTo>
                      <a:pt x="f422" y="f423"/>
                    </a:lnTo>
                    <a:lnTo>
                      <a:pt x="f424" y="f425"/>
                    </a:lnTo>
                    <a:lnTo>
                      <a:pt x="f418" y="f426"/>
                    </a:lnTo>
                    <a:lnTo>
                      <a:pt x="f416" y="f427"/>
                    </a:lnTo>
                    <a:lnTo>
                      <a:pt x="f428" y="f429"/>
                    </a:lnTo>
                    <a:lnTo>
                      <a:pt x="f430" y="f431"/>
                    </a:lnTo>
                    <a:lnTo>
                      <a:pt x="f432" y="f172"/>
                    </a:lnTo>
                    <a:lnTo>
                      <a:pt x="f433" y="f434"/>
                    </a:lnTo>
                    <a:lnTo>
                      <a:pt x="f435" y="f170"/>
                    </a:lnTo>
                    <a:lnTo>
                      <a:pt x="f436" y="f437"/>
                    </a:lnTo>
                    <a:lnTo>
                      <a:pt x="f438" y="f439"/>
                    </a:lnTo>
                    <a:lnTo>
                      <a:pt x="f10" y="f440"/>
                    </a:lnTo>
                    <a:lnTo>
                      <a:pt x="f441" y="f442"/>
                    </a:lnTo>
                    <a:lnTo>
                      <a:pt x="f443" y="f168"/>
                    </a:lnTo>
                    <a:lnTo>
                      <a:pt x="f438" y="f166"/>
                    </a:lnTo>
                    <a:lnTo>
                      <a:pt x="f444" y="f445"/>
                    </a:lnTo>
                    <a:lnTo>
                      <a:pt x="f446" y="f447"/>
                    </a:lnTo>
                    <a:lnTo>
                      <a:pt x="f12" y="f448"/>
                    </a:lnTo>
                    <a:lnTo>
                      <a:pt x="f12" y="f157"/>
                    </a:lnTo>
                    <a:lnTo>
                      <a:pt x="f449" y="f151"/>
                    </a:lnTo>
                    <a:lnTo>
                      <a:pt x="f450" y="f451"/>
                    </a:lnTo>
                    <a:lnTo>
                      <a:pt x="f452" y="f453"/>
                    </a:lnTo>
                    <a:lnTo>
                      <a:pt x="f430" y="f454"/>
                    </a:lnTo>
                    <a:lnTo>
                      <a:pt x="f455" y="f456"/>
                    </a:lnTo>
                    <a:lnTo>
                      <a:pt x="f457" y="f458"/>
                    </a:lnTo>
                    <a:lnTo>
                      <a:pt x="f455" y="f459"/>
                    </a:lnTo>
                    <a:lnTo>
                      <a:pt x="f460" y="f461"/>
                    </a:lnTo>
                    <a:lnTo>
                      <a:pt x="f432" y="f462"/>
                    </a:lnTo>
                    <a:lnTo>
                      <a:pt x="f452" y="f345"/>
                    </a:lnTo>
                    <a:lnTo>
                      <a:pt x="f436" y="f463"/>
                    </a:lnTo>
                    <a:lnTo>
                      <a:pt x="f12" y="f464"/>
                    </a:lnTo>
                    <a:lnTo>
                      <a:pt x="f10" y="f465"/>
                    </a:lnTo>
                    <a:lnTo>
                      <a:pt x="f466" y="f467"/>
                    </a:lnTo>
                    <a:lnTo>
                      <a:pt x="f5" y="f468"/>
                    </a:lnTo>
                    <a:lnTo>
                      <a:pt x="f5" y="f469"/>
                    </a:lnTo>
                    <a:lnTo>
                      <a:pt x="f470" y="f471"/>
                    </a:lnTo>
                    <a:lnTo>
                      <a:pt x="f443" y="f472"/>
                    </a:lnTo>
                    <a:lnTo>
                      <a:pt x="f12" y="f473"/>
                    </a:lnTo>
                    <a:lnTo>
                      <a:pt x="f474" y="f475"/>
                    </a:lnTo>
                    <a:lnTo>
                      <a:pt x="f476" y="f477"/>
                    </a:lnTo>
                    <a:lnTo>
                      <a:pt x="f478" y="f479"/>
                    </a:lnTo>
                    <a:lnTo>
                      <a:pt x="f478" y="f362"/>
                    </a:lnTo>
                    <a:lnTo>
                      <a:pt x="f480" y="f481"/>
                    </a:lnTo>
                    <a:lnTo>
                      <a:pt x="f482" y="f364"/>
                    </a:lnTo>
                    <a:lnTo>
                      <a:pt x="f483" y="f484"/>
                    </a:lnTo>
                    <a:lnTo>
                      <a:pt x="f485" y="f486"/>
                    </a:lnTo>
                    <a:lnTo>
                      <a:pt x="f20" y="f362"/>
                    </a:lnTo>
                    <a:lnTo>
                      <a:pt x="f407" y="f486"/>
                    </a:lnTo>
                    <a:lnTo>
                      <a:pt x="f414" y="f89"/>
                    </a:lnTo>
                    <a:lnTo>
                      <a:pt x="f405" y="f87"/>
                    </a:lnTo>
                    <a:lnTo>
                      <a:pt x="f422" y="f487"/>
                    </a:lnTo>
                    <a:lnTo>
                      <a:pt x="f488" y="f489"/>
                    </a:lnTo>
                    <a:lnTo>
                      <a:pt x="f490" y="f95"/>
                    </a:lnTo>
                    <a:lnTo>
                      <a:pt x="f491" y="f492"/>
                    </a:lnTo>
                    <a:lnTo>
                      <a:pt x="f490" y="f493"/>
                    </a:lnTo>
                    <a:lnTo>
                      <a:pt x="f494" y="f469"/>
                    </a:lnTo>
                    <a:lnTo>
                      <a:pt x="f495" y="f467"/>
                    </a:lnTo>
                    <a:lnTo>
                      <a:pt x="f496" y="f497"/>
                    </a:lnTo>
                    <a:lnTo>
                      <a:pt x="f495" y="f109"/>
                    </a:lnTo>
                    <a:lnTo>
                      <a:pt x="f491" y="f498"/>
                    </a:lnTo>
                    <a:lnTo>
                      <a:pt x="f499" y="f498"/>
                    </a:lnTo>
                    <a:lnTo>
                      <a:pt x="f500" y="f113"/>
                    </a:lnTo>
                    <a:lnTo>
                      <a:pt x="f501" y="f502"/>
                    </a:lnTo>
                    <a:lnTo>
                      <a:pt x="f501" y="f349"/>
                    </a:lnTo>
                    <a:lnTo>
                      <a:pt x="f503" y="f504"/>
                    </a:lnTo>
                    <a:lnTo>
                      <a:pt x="f503" y="f505"/>
                    </a:lnTo>
                    <a:lnTo>
                      <a:pt x="f501" y="f506"/>
                    </a:lnTo>
                    <a:lnTo>
                      <a:pt x="f391" y="f507"/>
                    </a:lnTo>
                    <a:lnTo>
                      <a:pt x="f508" y="f461"/>
                    </a:lnTo>
                    <a:lnTo>
                      <a:pt x="f509" y="f510"/>
                    </a:lnTo>
                    <a:lnTo>
                      <a:pt x="f511" y="f512"/>
                    </a:lnTo>
                    <a:lnTo>
                      <a:pt x="f513" y="f140"/>
                    </a:lnTo>
                    <a:lnTo>
                      <a:pt x="f514" y="f454"/>
                    </a:lnTo>
                    <a:lnTo>
                      <a:pt x="f515" y="f516"/>
                    </a:lnTo>
                    <a:lnTo>
                      <a:pt x="f381" y="f517"/>
                    </a:lnTo>
                    <a:lnTo>
                      <a:pt x="f518" y="f519"/>
                    </a:lnTo>
                    <a:lnTo>
                      <a:pt x="f383" y="f520"/>
                    </a:lnTo>
                    <a:lnTo>
                      <a:pt x="f385" y="f521"/>
                    </a:lnTo>
                    <a:lnTo>
                      <a:pt x="f522" y="f523"/>
                    </a:lnTo>
                    <a:lnTo>
                      <a:pt x="f524" y="f525"/>
                    </a:lnTo>
                    <a:lnTo>
                      <a:pt x="f526" y="f527"/>
                    </a:lnTo>
                    <a:lnTo>
                      <a:pt x="f528" y="f529"/>
                    </a:lnTo>
                    <a:lnTo>
                      <a:pt x="f530" y="f527"/>
                    </a:lnTo>
                    <a:lnTo>
                      <a:pt x="f371" y="f531"/>
                    </a:lnTo>
                    <a:lnTo>
                      <a:pt x="f532" y="f533"/>
                    </a:lnTo>
                    <a:lnTo>
                      <a:pt x="f534" y="f157"/>
                    </a:lnTo>
                    <a:lnTo>
                      <a:pt x="f535" y="f536"/>
                    </a:lnTo>
                    <a:lnTo>
                      <a:pt x="f481" y="f520"/>
                    </a:lnTo>
                    <a:lnTo>
                      <a:pt x="f537" y="f538"/>
                    </a:lnTo>
                    <a:lnTo>
                      <a:pt x="f486" y="f539"/>
                    </a:lnTo>
                    <a:lnTo>
                      <a:pt x="f487" y="f540"/>
                    </a:lnTo>
                    <a:lnTo>
                      <a:pt x="f479" y="f145"/>
                    </a:lnTo>
                    <a:lnTo>
                      <a:pt x="f541" y="f542"/>
                    </a:lnTo>
                    <a:lnTo>
                      <a:pt x="f543" y="f544"/>
                    </a:lnTo>
                    <a:lnTo>
                      <a:pt x="f101" y="f545"/>
                    </a:lnTo>
                    <a:lnTo>
                      <a:pt x="f103" y="f546"/>
                    </a:lnTo>
                    <a:lnTo>
                      <a:pt x="f547" y="f548"/>
                    </a:lnTo>
                    <a:lnTo>
                      <a:pt x="f353" y="f549"/>
                    </a:lnTo>
                    <a:lnTo>
                      <a:pt x="f465" y="f132"/>
                    </a:lnTo>
                    <a:lnTo>
                      <a:pt x="f465" y="f550"/>
                    </a:lnTo>
                    <a:lnTo>
                      <a:pt x="f551" y="f507"/>
                    </a:lnTo>
                    <a:lnTo>
                      <a:pt x="f552" y="f553"/>
                    </a:lnTo>
                    <a:lnTo>
                      <a:pt x="f467" y="f344"/>
                    </a:lnTo>
                    <a:lnTo>
                      <a:pt x="f554" y="f555"/>
                    </a:lnTo>
                    <a:lnTo>
                      <a:pt x="f105" y="f556"/>
                    </a:lnTo>
                    <a:lnTo>
                      <a:pt x="f557" y="f119"/>
                    </a:lnTo>
                    <a:lnTo>
                      <a:pt x="f351" y="f558"/>
                    </a:lnTo>
                    <a:lnTo>
                      <a:pt x="f559" y="f560"/>
                    </a:lnTo>
                    <a:lnTo>
                      <a:pt x="f561" y="f562"/>
                    </a:lnTo>
                    <a:lnTo>
                      <a:pt x="f563" y="f349"/>
                    </a:lnTo>
                    <a:lnTo>
                      <a:pt x="f564" y="f565"/>
                    </a:lnTo>
                    <a:lnTo>
                      <a:pt x="f344" y="f566"/>
                    </a:lnTo>
                    <a:lnTo>
                      <a:pt x="f567" y="f498"/>
                    </a:lnTo>
                    <a:lnTo>
                      <a:pt x="f568" y="f497"/>
                    </a:lnTo>
                    <a:lnTo>
                      <a:pt x="f462" y="f467"/>
                    </a:lnTo>
                    <a:lnTo>
                      <a:pt x="f343" y="f354"/>
                    </a:lnTo>
                    <a:lnTo>
                      <a:pt x="f569" y="f471"/>
                    </a:lnTo>
                    <a:lnTo>
                      <a:pt x="f461" y="f99"/>
                    </a:lnTo>
                    <a:lnTo>
                      <a:pt x="f340" y="f97"/>
                    </a:lnTo>
                    <a:lnTo>
                      <a:pt x="f458" y="f492"/>
                    </a:lnTo>
                    <a:lnTo>
                      <a:pt x="f570" y="f492"/>
                    </a:lnTo>
                    <a:lnTo>
                      <a:pt x="f546" y="f97"/>
                    </a:lnTo>
                    <a:lnTo>
                      <a:pt x="f546" y="f354"/>
                    </a:lnTo>
                    <a:lnTo>
                      <a:pt x="f512" y="f571"/>
                    </a:lnTo>
                    <a:lnTo>
                      <a:pt x="f546" y="f465"/>
                    </a:lnTo>
                    <a:lnTo>
                      <a:pt x="f572" y="f109"/>
                    </a:lnTo>
                    <a:lnTo>
                      <a:pt x="f573" y="f498"/>
                    </a:lnTo>
                    <a:lnTo>
                      <a:pt x="f574" y="f111"/>
                    </a:lnTo>
                    <a:lnTo>
                      <a:pt x="f575" y="f576"/>
                    </a:lnTo>
                    <a:lnTo>
                      <a:pt x="f519" y="f552"/>
                    </a:lnTo>
                    <a:lnTo>
                      <a:pt x="f333" y="f101"/>
                    </a:lnTo>
                    <a:lnTo>
                      <a:pt x="f332" y="f473"/>
                    </a:lnTo>
                    <a:lnTo>
                      <a:pt x="f577" y="f475"/>
                    </a:lnTo>
                    <a:lnTo>
                      <a:pt x="f578" y="f579"/>
                    </a:lnTo>
                    <a:lnTo>
                      <a:pt x="f329" y="f580"/>
                    </a:lnTo>
                    <a:lnTo>
                      <a:pt x="f581" y="f582"/>
                    </a:lnTo>
                    <a:lnTo>
                      <a:pt x="f583" y="f582"/>
                    </a:lnTo>
                    <a:lnTo>
                      <a:pt x="f584" y="f95"/>
                    </a:lnTo>
                    <a:lnTo>
                      <a:pt x="f585" y="f580"/>
                    </a:lnTo>
                    <a:lnTo>
                      <a:pt x="f321" y="f95"/>
                    </a:lnTo>
                    <a:lnTo>
                      <a:pt x="f586" y="f587"/>
                    </a:lnTo>
                    <a:lnTo>
                      <a:pt x="f588" y="f359"/>
                    </a:lnTo>
                    <a:lnTo>
                      <a:pt x="f589" y="f582"/>
                    </a:lnTo>
                    <a:lnTo>
                      <a:pt x="f590" y="f97"/>
                    </a:lnTo>
                    <a:lnTo>
                      <a:pt x="f591" y="f493"/>
                    </a:lnTo>
                    <a:lnTo>
                      <a:pt x="f172" y="f493"/>
                    </a:lnTo>
                    <a:lnTo>
                      <a:pt x="f429" y="f475"/>
                    </a:lnTo>
                    <a:lnTo>
                      <a:pt x="f592" y="f579"/>
                    </a:lnTo>
                    <a:lnTo>
                      <a:pt x="f593" y="f580"/>
                    </a:lnTo>
                    <a:lnTo>
                      <a:pt x="f594" y="f587"/>
                    </a:lnTo>
                    <a:lnTo>
                      <a:pt x="f184" y="f595"/>
                    </a:lnTo>
                    <a:lnTo>
                      <a:pt x="f596" y="f597"/>
                    </a:lnTo>
                    <a:lnTo>
                      <a:pt x="f190" y="f487"/>
                    </a:lnTo>
                    <a:lnTo>
                      <a:pt x="f594" y="f598"/>
                    </a:lnTo>
                    <a:lnTo>
                      <a:pt x="f315" y="f87"/>
                    </a:lnTo>
                    <a:lnTo>
                      <a:pt x="f599" y="f600"/>
                    </a:lnTo>
                    <a:lnTo>
                      <a:pt x="f593" y="f481"/>
                    </a:lnTo>
                    <a:lnTo>
                      <a:pt x="f419" y="f601"/>
                    </a:lnTo>
                    <a:lnTo>
                      <a:pt x="f412" y="f601"/>
                    </a:lnTo>
                    <a:lnTo>
                      <a:pt x="f602" y="f603"/>
                    </a:lnTo>
                    <a:lnTo>
                      <a:pt x="f604" y="f605"/>
                    </a:lnTo>
                    <a:lnTo>
                      <a:pt x="f398" y="f606"/>
                    </a:lnTo>
                    <a:lnTo>
                      <a:pt x="f607" y="f608"/>
                    </a:lnTo>
                    <a:lnTo>
                      <a:pt x="f609" y="f72"/>
                    </a:lnTo>
                    <a:lnTo>
                      <a:pt x="f204" y="f610"/>
                    </a:lnTo>
                    <a:lnTo>
                      <a:pt x="f611" y="f612"/>
                    </a:lnTo>
                    <a:lnTo>
                      <a:pt x="f613" y="f614"/>
                    </a:lnTo>
                    <a:lnTo>
                      <a:pt x="f615" y="f76"/>
                    </a:lnTo>
                    <a:lnTo>
                      <a:pt x="f616" y="f78"/>
                    </a:lnTo>
                    <a:lnTo>
                      <a:pt x="f388" y="f617"/>
                    </a:lnTo>
                    <a:lnTo>
                      <a:pt x="f618" y="f619"/>
                    </a:lnTo>
                    <a:lnTo>
                      <a:pt x="f620" y="f619"/>
                    </a:lnTo>
                    <a:lnTo>
                      <a:pt x="f279" y="f82"/>
                    </a:lnTo>
                    <a:lnTo>
                      <a:pt x="f277" y="f605"/>
                    </a:lnTo>
                    <a:lnTo>
                      <a:pt x="f378" y="f76"/>
                    </a:lnTo>
                    <a:lnTo>
                      <a:pt x="f272" y="f621"/>
                    </a:lnTo>
                    <a:lnTo>
                      <a:pt x="f622" y="f623"/>
                    </a:lnTo>
                    <a:lnTo>
                      <a:pt x="f241" y="f624"/>
                    </a:lnTo>
                    <a:lnTo>
                      <a:pt x="f280" y="f625"/>
                    </a:lnTo>
                    <a:lnTo>
                      <a:pt x="f252" y="f62"/>
                    </a:lnTo>
                    <a:lnTo>
                      <a:pt x="f263" y="f61"/>
                    </a:lnTo>
                    <a:lnTo>
                      <a:pt x="f255" y="f626"/>
                    </a:lnTo>
                    <a:lnTo>
                      <a:pt x="f370" y="f627"/>
                    </a:lnTo>
                    <a:lnTo>
                      <a:pt x="f628" y="f629"/>
                    </a:lnTo>
                    <a:lnTo>
                      <a:pt x="f230" y="f630"/>
                    </a:lnTo>
                    <a:lnTo>
                      <a:pt x="f229" y="f631"/>
                    </a:lnTo>
                    <a:lnTo>
                      <a:pt x="f632" y="f50"/>
                    </a:lnTo>
                    <a:lnTo>
                      <a:pt x="f633" y="f634"/>
                    </a:lnTo>
                    <a:lnTo>
                      <a:pt x="f635" y="f636"/>
                    </a:lnTo>
                    <a:lnTo>
                      <a:pt x="f637" y="f638"/>
                    </a:lnTo>
                    <a:lnTo>
                      <a:pt x="f639" y="f39"/>
                    </a:lnTo>
                    <a:lnTo>
                      <a:pt x="f640" y="f641"/>
                    </a:lnTo>
                    <a:lnTo>
                      <a:pt x="f642" y="f643"/>
                    </a:lnTo>
                    <a:lnTo>
                      <a:pt x="f642" y="f644"/>
                    </a:lnTo>
                    <a:lnTo>
                      <a:pt x="f224" y="f645"/>
                    </a:lnTo>
                    <a:lnTo>
                      <a:pt x="f646" y="f397"/>
                    </a:lnTo>
                    <a:lnTo>
                      <a:pt x="f647" y="f648"/>
                    </a:lnTo>
                    <a:lnTo>
                      <a:pt x="f649" y="f650"/>
                    </a:lnTo>
                    <a:lnTo>
                      <a:pt x="f214" y="f401"/>
                    </a:lnTo>
                    <a:lnTo>
                      <a:pt x="f210" y="f651"/>
                    </a:lnTo>
                    <a:lnTo>
                      <a:pt x="f652" y="f651"/>
                    </a:lnTo>
                    <a:lnTo>
                      <a:pt x="f653" y="f401"/>
                    </a:lnTo>
                    <a:lnTo>
                      <a:pt x="f654" y="f655"/>
                    </a:lnTo>
                    <a:lnTo>
                      <a:pt x="f656" y="f657"/>
                    </a:lnTo>
                    <a:lnTo>
                      <a:pt x="f658" y="f648"/>
                    </a:lnTo>
                    <a:lnTo>
                      <a:pt x="f143" y="f28"/>
                    </a:lnTo>
                    <a:lnTo>
                      <a:pt x="f659" y="f660"/>
                    </a:lnTo>
                    <a:lnTo>
                      <a:pt x="f177" y="f499"/>
                    </a:lnTo>
                    <a:lnTo>
                      <a:pt x="f131" y="f32"/>
                    </a:lnTo>
                    <a:lnTo>
                      <a:pt x="f661" y="f662"/>
                    </a:lnTo>
                    <a:lnTo>
                      <a:pt x="f162" y="f663"/>
                    </a:lnTo>
                    <a:lnTo>
                      <a:pt x="f664" y="f665"/>
                    </a:lnTo>
                    <a:lnTo>
                      <a:pt x="f666" y="f665"/>
                    </a:lnTo>
                    <a:lnTo>
                      <a:pt x="f667" y="f668"/>
                    </a:lnTo>
                    <a:lnTo>
                      <a:pt x="f667" y="f37"/>
                    </a:lnTo>
                    <a:lnTo>
                      <a:pt x="f669" y="f670"/>
                    </a:lnTo>
                    <a:lnTo>
                      <a:pt x="f669" y="f509"/>
                    </a:lnTo>
                    <a:lnTo>
                      <a:pt x="f671" y="f672"/>
                    </a:lnTo>
                    <a:lnTo>
                      <a:pt x="f673" y="f672"/>
                    </a:lnTo>
                    <a:lnTo>
                      <a:pt x="f674" y="f675"/>
                    </a:lnTo>
                    <a:lnTo>
                      <a:pt x="f676" y="f672"/>
                    </a:lnTo>
                    <a:lnTo>
                      <a:pt x="f677" y="f670"/>
                    </a:lnTo>
                    <a:lnTo>
                      <a:pt x="f118" y="f643"/>
                    </a:lnTo>
                    <a:lnTo>
                      <a:pt x="f114" y="f35"/>
                    </a:lnTo>
                    <a:lnTo>
                      <a:pt x="f678" y="f34"/>
                    </a:lnTo>
                    <a:lnTo>
                      <a:pt x="f679" y="f500"/>
                    </a:lnTo>
                    <a:lnTo>
                      <a:pt x="f680" y="f499"/>
                    </a:lnTo>
                    <a:lnTo>
                      <a:pt x="f83" y="f397"/>
                    </a:lnTo>
                    <a:lnTo>
                      <a:pt x="f681" y="f648"/>
                    </a:lnTo>
                    <a:lnTo>
                      <a:pt x="f682" y="f494"/>
                    </a:lnTo>
                    <a:lnTo>
                      <a:pt x="f683" y="f25"/>
                    </a:lnTo>
                    <a:lnTo>
                      <a:pt x="f684" y="f685"/>
                    </a:lnTo>
                    <a:lnTo>
                      <a:pt x="f686" y="f418"/>
                    </a:lnTo>
                    <a:lnTo>
                      <a:pt x="f687" y="f22"/>
                    </a:lnTo>
                    <a:lnTo>
                      <a:pt x="f687" y="f688"/>
                    </a:lnTo>
                    <a:lnTo>
                      <a:pt x="f689" y="f690"/>
                    </a:lnTo>
                    <a:lnTo>
                      <a:pt x="f68" y="f691"/>
                    </a:lnTo>
                    <a:lnTo>
                      <a:pt x="f692" y="f433"/>
                    </a:lnTo>
                    <a:lnTo>
                      <a:pt x="f693" y="f14"/>
                    </a:lnTo>
                    <a:lnTo>
                      <a:pt x="f694" y="f695"/>
                    </a:lnTo>
                    <a:lnTo>
                      <a:pt x="f64" y="f444"/>
                    </a:lnTo>
                    <a:lnTo>
                      <a:pt x="f54" y="f696"/>
                    </a:lnTo>
                    <a:lnTo>
                      <a:pt x="f697" y="f698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50" name="Freeform 12">
                <a:extLst>
                  <a:ext uri="{FF2B5EF4-FFF2-40B4-BE49-F238E27FC236}">
                    <a16:creationId xmlns:a16="http://schemas.microsoft.com/office/drawing/2014/main" id="{61E7D75B-4BD5-4B91-A28D-65A93CA26684}"/>
                  </a:ext>
                </a:extLst>
              </p:cNvPr>
              <p:cNvSpPr/>
              <p:nvPr/>
            </p:nvSpPr>
            <p:spPr>
              <a:xfrm>
                <a:off x="4410580" y="2579056"/>
                <a:ext cx="76974" cy="5779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64"/>
                  <a:gd name="f7" fmla="val 355"/>
                  <a:gd name="f8" fmla="val 87"/>
                  <a:gd name="f9" fmla="val 83"/>
                  <a:gd name="f10" fmla="val 16"/>
                  <a:gd name="f11" fmla="val 80"/>
                  <a:gd name="f12" fmla="val 32"/>
                  <a:gd name="f13" fmla="val 78"/>
                  <a:gd name="f14" fmla="val 41"/>
                  <a:gd name="f15" fmla="val 75"/>
                  <a:gd name="f16" fmla="val 52"/>
                  <a:gd name="f17" fmla="val 71"/>
                  <a:gd name="f18" fmla="val 62"/>
                  <a:gd name="f19" fmla="val 70"/>
                  <a:gd name="f20" fmla="val 72"/>
                  <a:gd name="f21" fmla="val 73"/>
                  <a:gd name="f22" fmla="val 85"/>
                  <a:gd name="f23" fmla="val 68"/>
                  <a:gd name="f24" fmla="val 97"/>
                  <a:gd name="f25" fmla="val 55"/>
                  <a:gd name="f26" fmla="val 103"/>
                  <a:gd name="f27" fmla="val 51"/>
                  <a:gd name="f28" fmla="val 107"/>
                  <a:gd name="f29" fmla="val 109"/>
                  <a:gd name="f30" fmla="val 59"/>
                  <a:gd name="f31" fmla="val 112"/>
                  <a:gd name="f32" fmla="val 116"/>
                  <a:gd name="f33" fmla="val 77"/>
                  <a:gd name="f34" fmla="val 122"/>
                  <a:gd name="f35" fmla="val 84"/>
                  <a:gd name="f36" fmla="val 126"/>
                  <a:gd name="f37" fmla="val 133"/>
                  <a:gd name="f38" fmla="val 141"/>
                  <a:gd name="f39" fmla="val 76"/>
                  <a:gd name="f40" fmla="val 148"/>
                  <a:gd name="f41" fmla="val 64"/>
                  <a:gd name="f42" fmla="val 156"/>
                  <a:gd name="f43" fmla="val 50"/>
                  <a:gd name="f44" fmla="val 169"/>
                  <a:gd name="f45" fmla="val 181"/>
                  <a:gd name="f46" fmla="val 57"/>
                  <a:gd name="f47" fmla="val 195"/>
                  <a:gd name="f48" fmla="val 213"/>
                  <a:gd name="f49" fmla="val 54"/>
                  <a:gd name="f50" fmla="val 232"/>
                  <a:gd name="f51" fmla="val 248"/>
                  <a:gd name="f52" fmla="val 263"/>
                  <a:gd name="f53" fmla="val 274"/>
                  <a:gd name="f54" fmla="val 279"/>
                  <a:gd name="f55" fmla="val 281"/>
                  <a:gd name="f56" fmla="val 82"/>
                  <a:gd name="f57" fmla="val 89"/>
                  <a:gd name="f58" fmla="val 95"/>
                  <a:gd name="f59" fmla="val 102"/>
                  <a:gd name="f60" fmla="val 286"/>
                  <a:gd name="f61" fmla="val 295"/>
                  <a:gd name="f62" fmla="val 304"/>
                  <a:gd name="f63" fmla="val 100"/>
                  <a:gd name="f64" fmla="val 311"/>
                  <a:gd name="f65" fmla="val 90"/>
                  <a:gd name="f66" fmla="val 318"/>
                  <a:gd name="f67" fmla="val 324"/>
                  <a:gd name="f68" fmla="val 65"/>
                  <a:gd name="f69" fmla="val 325"/>
                  <a:gd name="f70" fmla="val 326"/>
                  <a:gd name="f71" fmla="val 332"/>
                  <a:gd name="f72" fmla="val 46"/>
                  <a:gd name="f73" fmla="val 337"/>
                  <a:gd name="f74" fmla="val 44"/>
                  <a:gd name="f75" fmla="val 343"/>
                  <a:gd name="f76" fmla="val 47"/>
                  <a:gd name="f77" fmla="val 348"/>
                  <a:gd name="f78" fmla="val 364"/>
                  <a:gd name="f79" fmla="val 376"/>
                  <a:gd name="f80" fmla="val 383"/>
                  <a:gd name="f81" fmla="val 387"/>
                  <a:gd name="f82" fmla="val 113"/>
                  <a:gd name="f83" fmla="val 390"/>
                  <a:gd name="f84" fmla="val 130"/>
                  <a:gd name="f85" fmla="val 395"/>
                  <a:gd name="f86" fmla="val 144"/>
                  <a:gd name="f87" fmla="val 402"/>
                  <a:gd name="f88" fmla="val 151"/>
                  <a:gd name="f89" fmla="val 411"/>
                  <a:gd name="f90" fmla="val 154"/>
                  <a:gd name="f91" fmla="val 419"/>
                  <a:gd name="f92" fmla="val 152"/>
                  <a:gd name="f93" fmla="val 437"/>
                  <a:gd name="f94" fmla="val 441"/>
                  <a:gd name="f95" fmla="val 444"/>
                  <a:gd name="f96" fmla="val 442"/>
                  <a:gd name="f97" fmla="val 159"/>
                  <a:gd name="f98" fmla="val 162"/>
                  <a:gd name="f99" fmla="val 163"/>
                  <a:gd name="f100" fmla="val 440"/>
                  <a:gd name="f101" fmla="val 168"/>
                  <a:gd name="f102" fmla="val 173"/>
                  <a:gd name="f103" fmla="val 177"/>
                  <a:gd name="f104" fmla="val 179"/>
                  <a:gd name="f105" fmla="val 445"/>
                  <a:gd name="f106" fmla="val 448"/>
                  <a:gd name="f107" fmla="val 451"/>
                  <a:gd name="f108" fmla="val 455"/>
                  <a:gd name="f109" fmla="val 463"/>
                  <a:gd name="f110" fmla="val 186"/>
                  <a:gd name="f111" fmla="val 187"/>
                  <a:gd name="f112" fmla="val 190"/>
                  <a:gd name="f113" fmla="val 462"/>
                  <a:gd name="f114" fmla="val 191"/>
                  <a:gd name="f115" fmla="val 456"/>
                  <a:gd name="f116" fmla="val 194"/>
                  <a:gd name="f117" fmla="val 452"/>
                  <a:gd name="f118" fmla="val 197"/>
                  <a:gd name="f119" fmla="val 198"/>
                  <a:gd name="f120" fmla="val 201"/>
                  <a:gd name="f121" fmla="val 209"/>
                  <a:gd name="f122" fmla="val 219"/>
                  <a:gd name="f123" fmla="val 229"/>
                  <a:gd name="f124" fmla="val 237"/>
                  <a:gd name="f125" fmla="val 247"/>
                  <a:gd name="f126" fmla="val 431"/>
                  <a:gd name="f127" fmla="val 256"/>
                  <a:gd name="f128" fmla="val 266"/>
                  <a:gd name="f129" fmla="val 409"/>
                  <a:gd name="f130" fmla="val 269"/>
                  <a:gd name="f131" fmla="val 401"/>
                  <a:gd name="f132" fmla="val 391"/>
                  <a:gd name="f133" fmla="val 267"/>
                  <a:gd name="f134" fmla="val 379"/>
                  <a:gd name="f135" fmla="val 373"/>
                  <a:gd name="f136" fmla="val 371"/>
                  <a:gd name="f137" fmla="val 369"/>
                  <a:gd name="f138" fmla="val 368"/>
                  <a:gd name="f139" fmla="val 272"/>
                  <a:gd name="f140" fmla="val 287"/>
                  <a:gd name="f141" fmla="val 366"/>
                  <a:gd name="f142" fmla="val 292"/>
                  <a:gd name="f143" fmla="val 358"/>
                  <a:gd name="f144" fmla="val 298"/>
                  <a:gd name="f145" fmla="val 347"/>
                  <a:gd name="f146" fmla="val 305"/>
                  <a:gd name="f147" fmla="val 335"/>
                  <a:gd name="f148" fmla="val 310"/>
                  <a:gd name="f149" fmla="val 321"/>
                  <a:gd name="f150" fmla="val 316"/>
                  <a:gd name="f151" fmla="val 319"/>
                  <a:gd name="f152" fmla="val 300"/>
                  <a:gd name="f153" fmla="val 323"/>
                  <a:gd name="f154" fmla="val 296"/>
                  <a:gd name="f155" fmla="val 328"/>
                  <a:gd name="f156" fmla="val 288"/>
                  <a:gd name="f157" fmla="val 346"/>
                  <a:gd name="f158" fmla="val 353"/>
                  <a:gd name="f159" fmla="val 261"/>
                  <a:gd name="f160" fmla="val 352"/>
                  <a:gd name="f161" fmla="val 249"/>
                  <a:gd name="f162" fmla="val 344"/>
                  <a:gd name="f163" fmla="val 238"/>
                  <a:gd name="f164" fmla="val 227"/>
                  <a:gd name="f165" fmla="val 217"/>
                  <a:gd name="f166" fmla="val 317"/>
                  <a:gd name="f167" fmla="val 206"/>
                  <a:gd name="f168" fmla="val 308"/>
                  <a:gd name="f169" fmla="val 309"/>
                  <a:gd name="f170" fmla="val 167"/>
                  <a:gd name="f171" fmla="val 150"/>
                  <a:gd name="f172" fmla="val 145"/>
                  <a:gd name="f173" fmla="val 301"/>
                  <a:gd name="f174" fmla="val 143"/>
                  <a:gd name="f175" fmla="val 262"/>
                  <a:gd name="f176" fmla="val 147"/>
                  <a:gd name="f177" fmla="val 254"/>
                  <a:gd name="f178" fmla="val 252"/>
                  <a:gd name="f179" fmla="val 166"/>
                  <a:gd name="f180" fmla="val 234"/>
                  <a:gd name="f181" fmla="val 222"/>
                  <a:gd name="f182" fmla="val 212"/>
                  <a:gd name="f183" fmla="val 204"/>
                  <a:gd name="f184" fmla="val 203"/>
                  <a:gd name="f185" fmla="val 172"/>
                  <a:gd name="f186" fmla="val 210"/>
                  <a:gd name="f187" fmla="val 205"/>
                  <a:gd name="f188" fmla="val 132"/>
                  <a:gd name="f189" fmla="val 115"/>
                  <a:gd name="f190" fmla="val 98"/>
                  <a:gd name="f191" fmla="val 86"/>
                  <a:gd name="f192" fmla="val 188"/>
                  <a:gd name="f193" fmla="val 193"/>
                  <a:gd name="f194" fmla="val 69"/>
                  <a:gd name="f195" fmla="val 61"/>
                  <a:gd name="f196" fmla="val 56"/>
                  <a:gd name="f197" fmla="val 175"/>
                  <a:gd name="f198" fmla="val 49"/>
                  <a:gd name="f199" fmla="val 170"/>
                  <a:gd name="f200" fmla="val 40"/>
                  <a:gd name="f201" fmla="val 158"/>
                  <a:gd name="f202" fmla="val 42"/>
                  <a:gd name="f203" fmla="val 39"/>
                  <a:gd name="f204" fmla="val 140"/>
                  <a:gd name="f205" fmla="val 29"/>
                  <a:gd name="f206" fmla="val 18"/>
                  <a:gd name="f207" fmla="val 127"/>
                  <a:gd name="f208" fmla="val 6"/>
                  <a:gd name="f209" fmla="val 7"/>
                  <a:gd name="f210" fmla="val 119"/>
                  <a:gd name="f211" fmla="val 9"/>
                  <a:gd name="f212" fmla="val 105"/>
                  <a:gd name="f213" fmla="val 2"/>
                  <a:gd name="f214" fmla="val 93"/>
                  <a:gd name="f215" fmla="val 3"/>
                  <a:gd name="f216" fmla="val 10"/>
                  <a:gd name="f217" fmla="val 27"/>
                  <a:gd name="f218" fmla="val 35"/>
                  <a:gd name="f219" fmla="val 25"/>
                  <a:gd name="f220" fmla="val 66"/>
                  <a:gd name="f221" fmla="val 15"/>
                  <a:gd name="f222" fmla="val 48"/>
                  <a:gd name="f223" fmla="val 22"/>
                  <a:gd name="f224" fmla="val 31"/>
                  <a:gd name="f225" fmla="val 37"/>
                  <a:gd name="f226" fmla="val 30"/>
                  <a:gd name="f227" fmla="val 12"/>
                  <a:gd name="f228" fmla="val 5"/>
                  <a:gd name="f229" fmla="val 79"/>
                  <a:gd name="f230" fmla="val 4"/>
                  <a:gd name="f231" fmla="+- 0 0 -90"/>
                  <a:gd name="f232" fmla="*/ f3 1 464"/>
                  <a:gd name="f233" fmla="*/ f4 1 355"/>
                  <a:gd name="f234" fmla="+- f7 0 f5"/>
                  <a:gd name="f235" fmla="+- f6 0 f5"/>
                  <a:gd name="f236" fmla="*/ f231 f0 1"/>
                  <a:gd name="f237" fmla="*/ f235 1 464"/>
                  <a:gd name="f238" fmla="*/ f234 1 355"/>
                  <a:gd name="f239" fmla="*/ f236 1 f2"/>
                  <a:gd name="f240" fmla="*/ 78 1 f237"/>
                  <a:gd name="f241" fmla="*/ 41 1 f238"/>
                  <a:gd name="f242" fmla="*/ 72 1 f237"/>
                  <a:gd name="f243" fmla="*/ 73 1 f238"/>
                  <a:gd name="f244" fmla="*/ 103 1 f237"/>
                  <a:gd name="f245" fmla="*/ 51 1 f238"/>
                  <a:gd name="f246" fmla="*/ 116 1 f237"/>
                  <a:gd name="f247" fmla="*/ 77 1 f238"/>
                  <a:gd name="f248" fmla="*/ 141 1 f237"/>
                  <a:gd name="f249" fmla="*/ 76 1 f238"/>
                  <a:gd name="f250" fmla="*/ 181 1 f237"/>
                  <a:gd name="f251" fmla="*/ 57 1 f238"/>
                  <a:gd name="f252" fmla="*/ 248 1 f237"/>
                  <a:gd name="f253" fmla="*/ 62 1 f238"/>
                  <a:gd name="f254" fmla="*/ 281 1 f237"/>
                  <a:gd name="f255" fmla="*/ 82 1 f238"/>
                  <a:gd name="f256" fmla="*/ 286 1 f237"/>
                  <a:gd name="f257" fmla="*/ 107 1 f238"/>
                  <a:gd name="f258" fmla="*/ 318 1 f237"/>
                  <a:gd name="f259" fmla="*/ 332 1 f237"/>
                  <a:gd name="f260" fmla="*/ 46 1 f238"/>
                  <a:gd name="f261" fmla="*/ 355 1 f237"/>
                  <a:gd name="f262" fmla="*/ 64 1 f238"/>
                  <a:gd name="f263" fmla="*/ 387 1 f237"/>
                  <a:gd name="f264" fmla="*/ 113 1 f238"/>
                  <a:gd name="f265" fmla="*/ 411 1 f237"/>
                  <a:gd name="f266" fmla="*/ 154 1 f238"/>
                  <a:gd name="f267" fmla="*/ 444 1 f237"/>
                  <a:gd name="f268" fmla="*/ 156 1 f238"/>
                  <a:gd name="f269" fmla="*/ 440 1 f237"/>
                  <a:gd name="f270" fmla="*/ 168 1 f238"/>
                  <a:gd name="f271" fmla="*/ 445 1 f237"/>
                  <a:gd name="f272" fmla="*/ 180 1 f238"/>
                  <a:gd name="f273" fmla="*/ 463 1 f237"/>
                  <a:gd name="f274" fmla="*/ 186 1 f238"/>
                  <a:gd name="f275" fmla="*/ 456 1 f237"/>
                  <a:gd name="f276" fmla="*/ 194 1 f238"/>
                  <a:gd name="f277" fmla="*/ 441 1 f237"/>
                  <a:gd name="f278" fmla="*/ 209 1 f238"/>
                  <a:gd name="f279" fmla="*/ 247 1 f238"/>
                  <a:gd name="f280" fmla="*/ 401 1 f237"/>
                  <a:gd name="f281" fmla="*/ 269 1 f238"/>
                  <a:gd name="f282" fmla="*/ 371 1 f237"/>
                  <a:gd name="f283" fmla="*/ 267 1 f238"/>
                  <a:gd name="f284" fmla="*/ 369 1 f237"/>
                  <a:gd name="f285" fmla="*/ 281 1 f238"/>
                  <a:gd name="f286" fmla="*/ 347 1 f237"/>
                  <a:gd name="f287" fmla="*/ 305 1 f238"/>
                  <a:gd name="f288" fmla="*/ 300 1 f237"/>
                  <a:gd name="f289" fmla="*/ 323 1 f238"/>
                  <a:gd name="f290" fmla="*/ 353 1 f238"/>
                  <a:gd name="f291" fmla="*/ 238 1 f237"/>
                  <a:gd name="f292" fmla="*/ 335 1 f238"/>
                  <a:gd name="f293" fmla="*/ 194 1 f237"/>
                  <a:gd name="f294" fmla="*/ 308 1 f238"/>
                  <a:gd name="f295" fmla="*/ 150 1 f237"/>
                  <a:gd name="f296" fmla="*/ 262 1 f238"/>
                  <a:gd name="f297" fmla="*/ 159 1 f237"/>
                  <a:gd name="f298" fmla="*/ 254 1 f238"/>
                  <a:gd name="f299" fmla="*/ 180 1 f237"/>
                  <a:gd name="f300" fmla="*/ 222 1 f238"/>
                  <a:gd name="f301" fmla="*/ 203 1 f237"/>
                  <a:gd name="f302" fmla="*/ 172 1 f238"/>
                  <a:gd name="f303" fmla="*/ 147 1 f238"/>
                  <a:gd name="f304" fmla="*/ 144 1 f237"/>
                  <a:gd name="f305" fmla="*/ 141 1 f238"/>
                  <a:gd name="f306" fmla="*/ 98 1 f237"/>
                  <a:gd name="f307" fmla="*/ 163 1 f238"/>
                  <a:gd name="f308" fmla="*/ 76 1 f237"/>
                  <a:gd name="f309" fmla="*/ 191 1 f238"/>
                  <a:gd name="f310" fmla="*/ 49 1 f237"/>
                  <a:gd name="f311" fmla="*/ 170 1 f238"/>
                  <a:gd name="f312" fmla="*/ 42 1 f237"/>
                  <a:gd name="f313" fmla="*/ 148 1 f238"/>
                  <a:gd name="f314" fmla="*/ 6 1 f237"/>
                  <a:gd name="f315" fmla="*/ 122 1 f238"/>
                  <a:gd name="f316" fmla="*/ 105 1 f238"/>
                  <a:gd name="f317" fmla="*/ 10 1 f237"/>
                  <a:gd name="f318" fmla="*/ 87 1 f238"/>
                  <a:gd name="f319" fmla="*/ 35 1 f237"/>
                  <a:gd name="f320" fmla="*/ 80 1 f238"/>
                  <a:gd name="f321" fmla="*/ 9 1 f237"/>
                  <a:gd name="f322" fmla="*/ 22 1 f237"/>
                  <a:gd name="f323" fmla="*/ 62 1 f237"/>
                  <a:gd name="f324" fmla="*/ 22 1 f238"/>
                  <a:gd name="f325" fmla="*/ 87 1 f237"/>
                  <a:gd name="f326" fmla="*/ 0 1 f238"/>
                  <a:gd name="f327" fmla="*/ 0 1 f237"/>
                  <a:gd name="f328" fmla="*/ f6 1 f237"/>
                  <a:gd name="f329" fmla="*/ f7 1 f238"/>
                  <a:gd name="f330" fmla="+- f239 0 f1"/>
                  <a:gd name="f331" fmla="*/ f327 f232 1"/>
                  <a:gd name="f332" fmla="*/ f328 f232 1"/>
                  <a:gd name="f333" fmla="*/ f329 f233 1"/>
                  <a:gd name="f334" fmla="*/ f326 f233 1"/>
                  <a:gd name="f335" fmla="*/ f240 f232 1"/>
                  <a:gd name="f336" fmla="*/ f241 f233 1"/>
                  <a:gd name="f337" fmla="*/ f242 f232 1"/>
                  <a:gd name="f338" fmla="*/ f243 f233 1"/>
                  <a:gd name="f339" fmla="*/ f244 f232 1"/>
                  <a:gd name="f340" fmla="*/ f245 f233 1"/>
                  <a:gd name="f341" fmla="*/ f246 f232 1"/>
                  <a:gd name="f342" fmla="*/ f247 f233 1"/>
                  <a:gd name="f343" fmla="*/ f248 f232 1"/>
                  <a:gd name="f344" fmla="*/ f249 f233 1"/>
                  <a:gd name="f345" fmla="*/ f250 f232 1"/>
                  <a:gd name="f346" fmla="*/ f251 f233 1"/>
                  <a:gd name="f347" fmla="*/ f252 f232 1"/>
                  <a:gd name="f348" fmla="*/ f253 f233 1"/>
                  <a:gd name="f349" fmla="*/ f254 f232 1"/>
                  <a:gd name="f350" fmla="*/ f255 f233 1"/>
                  <a:gd name="f351" fmla="*/ f256 f232 1"/>
                  <a:gd name="f352" fmla="*/ f257 f233 1"/>
                  <a:gd name="f353" fmla="*/ f258 f232 1"/>
                  <a:gd name="f354" fmla="*/ f259 f232 1"/>
                  <a:gd name="f355" fmla="*/ f260 f233 1"/>
                  <a:gd name="f356" fmla="*/ f261 f232 1"/>
                  <a:gd name="f357" fmla="*/ f262 f233 1"/>
                  <a:gd name="f358" fmla="*/ f263 f232 1"/>
                  <a:gd name="f359" fmla="*/ f264 f233 1"/>
                  <a:gd name="f360" fmla="*/ f265 f232 1"/>
                  <a:gd name="f361" fmla="*/ f266 f233 1"/>
                  <a:gd name="f362" fmla="*/ f267 f232 1"/>
                  <a:gd name="f363" fmla="*/ f268 f233 1"/>
                  <a:gd name="f364" fmla="*/ f269 f232 1"/>
                  <a:gd name="f365" fmla="*/ f270 f233 1"/>
                  <a:gd name="f366" fmla="*/ f271 f232 1"/>
                  <a:gd name="f367" fmla="*/ f272 f233 1"/>
                  <a:gd name="f368" fmla="*/ f273 f232 1"/>
                  <a:gd name="f369" fmla="*/ f274 f233 1"/>
                  <a:gd name="f370" fmla="*/ f275 f232 1"/>
                  <a:gd name="f371" fmla="*/ f276 f233 1"/>
                  <a:gd name="f372" fmla="*/ f277 f232 1"/>
                  <a:gd name="f373" fmla="*/ f278 f233 1"/>
                  <a:gd name="f374" fmla="*/ f279 f233 1"/>
                  <a:gd name="f375" fmla="*/ f280 f232 1"/>
                  <a:gd name="f376" fmla="*/ f281 f233 1"/>
                  <a:gd name="f377" fmla="*/ f282 f232 1"/>
                  <a:gd name="f378" fmla="*/ f283 f233 1"/>
                  <a:gd name="f379" fmla="*/ f284 f232 1"/>
                  <a:gd name="f380" fmla="*/ f285 f233 1"/>
                  <a:gd name="f381" fmla="*/ f286 f232 1"/>
                  <a:gd name="f382" fmla="*/ f287 f233 1"/>
                  <a:gd name="f383" fmla="*/ f288 f232 1"/>
                  <a:gd name="f384" fmla="*/ f289 f233 1"/>
                  <a:gd name="f385" fmla="*/ f290 f233 1"/>
                  <a:gd name="f386" fmla="*/ f291 f232 1"/>
                  <a:gd name="f387" fmla="*/ f292 f233 1"/>
                  <a:gd name="f388" fmla="*/ f293 f232 1"/>
                  <a:gd name="f389" fmla="*/ f294 f233 1"/>
                  <a:gd name="f390" fmla="*/ f295 f232 1"/>
                  <a:gd name="f391" fmla="*/ f296 f233 1"/>
                  <a:gd name="f392" fmla="*/ f297 f232 1"/>
                  <a:gd name="f393" fmla="*/ f298 f233 1"/>
                  <a:gd name="f394" fmla="*/ f299 f232 1"/>
                  <a:gd name="f395" fmla="*/ f300 f233 1"/>
                  <a:gd name="f396" fmla="*/ f301 f232 1"/>
                  <a:gd name="f397" fmla="*/ f302 f233 1"/>
                  <a:gd name="f398" fmla="*/ f303 f233 1"/>
                  <a:gd name="f399" fmla="*/ f304 f232 1"/>
                  <a:gd name="f400" fmla="*/ f305 f233 1"/>
                  <a:gd name="f401" fmla="*/ f306 f232 1"/>
                  <a:gd name="f402" fmla="*/ f307 f233 1"/>
                  <a:gd name="f403" fmla="*/ f308 f232 1"/>
                  <a:gd name="f404" fmla="*/ f309 f233 1"/>
                  <a:gd name="f405" fmla="*/ f310 f232 1"/>
                  <a:gd name="f406" fmla="*/ f311 f233 1"/>
                  <a:gd name="f407" fmla="*/ f312 f232 1"/>
                  <a:gd name="f408" fmla="*/ f313 f233 1"/>
                  <a:gd name="f409" fmla="*/ f314 f232 1"/>
                  <a:gd name="f410" fmla="*/ f315 f233 1"/>
                  <a:gd name="f411" fmla="*/ f316 f233 1"/>
                  <a:gd name="f412" fmla="*/ f317 f232 1"/>
                  <a:gd name="f413" fmla="*/ f318 f233 1"/>
                  <a:gd name="f414" fmla="*/ f319 f232 1"/>
                  <a:gd name="f415" fmla="*/ f320 f233 1"/>
                  <a:gd name="f416" fmla="*/ f321 f232 1"/>
                  <a:gd name="f417" fmla="*/ f322 f232 1"/>
                  <a:gd name="f418" fmla="*/ f323 f232 1"/>
                  <a:gd name="f419" fmla="*/ f324 f233 1"/>
                  <a:gd name="f420" fmla="*/ f325 f23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30">
                    <a:pos x="f335" y="f336"/>
                  </a:cxn>
                  <a:cxn ang="f330">
                    <a:pos x="f337" y="f338"/>
                  </a:cxn>
                  <a:cxn ang="f330">
                    <a:pos x="f339" y="f340"/>
                  </a:cxn>
                  <a:cxn ang="f330">
                    <a:pos x="f341" y="f342"/>
                  </a:cxn>
                  <a:cxn ang="f330">
                    <a:pos x="f343" y="f344"/>
                  </a:cxn>
                  <a:cxn ang="f330">
                    <a:pos x="f345" y="f346"/>
                  </a:cxn>
                  <a:cxn ang="f330">
                    <a:pos x="f347" y="f348"/>
                  </a:cxn>
                  <a:cxn ang="f330">
                    <a:pos x="f349" y="f350"/>
                  </a:cxn>
                  <a:cxn ang="f330">
                    <a:pos x="f351" y="f352"/>
                  </a:cxn>
                  <a:cxn ang="f330">
                    <a:pos x="f353" y="f342"/>
                  </a:cxn>
                  <a:cxn ang="f330">
                    <a:pos x="f354" y="f355"/>
                  </a:cxn>
                  <a:cxn ang="f330">
                    <a:pos x="f356" y="f357"/>
                  </a:cxn>
                  <a:cxn ang="f330">
                    <a:pos x="f358" y="f359"/>
                  </a:cxn>
                  <a:cxn ang="f330">
                    <a:pos x="f360" y="f361"/>
                  </a:cxn>
                  <a:cxn ang="f330">
                    <a:pos x="f362" y="f363"/>
                  </a:cxn>
                  <a:cxn ang="f330">
                    <a:pos x="f364" y="f365"/>
                  </a:cxn>
                  <a:cxn ang="f330">
                    <a:pos x="f366" y="f367"/>
                  </a:cxn>
                  <a:cxn ang="f330">
                    <a:pos x="f368" y="f369"/>
                  </a:cxn>
                  <a:cxn ang="f330">
                    <a:pos x="f370" y="f371"/>
                  </a:cxn>
                  <a:cxn ang="f330">
                    <a:pos x="f372" y="f373"/>
                  </a:cxn>
                  <a:cxn ang="f330">
                    <a:pos x="f372" y="f374"/>
                  </a:cxn>
                  <a:cxn ang="f330">
                    <a:pos x="f375" y="f376"/>
                  </a:cxn>
                  <a:cxn ang="f330">
                    <a:pos x="f377" y="f378"/>
                  </a:cxn>
                  <a:cxn ang="f330">
                    <a:pos x="f379" y="f380"/>
                  </a:cxn>
                  <a:cxn ang="f330">
                    <a:pos x="f381" y="f382"/>
                  </a:cxn>
                  <a:cxn ang="f330">
                    <a:pos x="f383" y="f384"/>
                  </a:cxn>
                  <a:cxn ang="f330">
                    <a:pos x="f349" y="f385"/>
                  </a:cxn>
                  <a:cxn ang="f330">
                    <a:pos x="f386" y="f387"/>
                  </a:cxn>
                  <a:cxn ang="f330">
                    <a:pos x="f388" y="f389"/>
                  </a:cxn>
                  <a:cxn ang="f330">
                    <a:pos x="f390" y="f389"/>
                  </a:cxn>
                  <a:cxn ang="f330">
                    <a:pos x="f343" y="f391"/>
                  </a:cxn>
                  <a:cxn ang="f330">
                    <a:pos x="f392" y="f393"/>
                  </a:cxn>
                  <a:cxn ang="f330">
                    <a:pos x="f394" y="f395"/>
                  </a:cxn>
                  <a:cxn ang="f330">
                    <a:pos x="f396" y="f397"/>
                  </a:cxn>
                  <a:cxn ang="f330">
                    <a:pos x="f388" y="f398"/>
                  </a:cxn>
                  <a:cxn ang="f330">
                    <a:pos x="f399" y="f400"/>
                  </a:cxn>
                  <a:cxn ang="f330">
                    <a:pos x="f401" y="f402"/>
                  </a:cxn>
                  <a:cxn ang="f330">
                    <a:pos x="f403" y="f404"/>
                  </a:cxn>
                  <a:cxn ang="f330">
                    <a:pos x="f405" y="f406"/>
                  </a:cxn>
                  <a:cxn ang="f330">
                    <a:pos x="f407" y="f408"/>
                  </a:cxn>
                  <a:cxn ang="f330">
                    <a:pos x="f409" y="f410"/>
                  </a:cxn>
                  <a:cxn ang="f330">
                    <a:pos x="f409" y="f411"/>
                  </a:cxn>
                  <a:cxn ang="f330">
                    <a:pos x="f412" y="f413"/>
                  </a:cxn>
                  <a:cxn ang="f330">
                    <a:pos x="f414" y="f415"/>
                  </a:cxn>
                  <a:cxn ang="f330">
                    <a:pos x="f416" y="f346"/>
                  </a:cxn>
                  <a:cxn ang="f330">
                    <a:pos x="f417" y="f336"/>
                  </a:cxn>
                  <a:cxn ang="f330">
                    <a:pos x="f418" y="f419"/>
                  </a:cxn>
                  <a:cxn ang="f330">
                    <a:pos x="f420" y="f334"/>
                  </a:cxn>
                </a:cxnLst>
                <a:rect l="f331" t="f334" r="f332" b="f333"/>
                <a:pathLst>
                  <a:path w="464" h="355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7" y="f19"/>
                    </a:lnTo>
                    <a:lnTo>
                      <a:pt x="f20" y="f21"/>
                    </a:lnTo>
                    <a:lnTo>
                      <a:pt x="f13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16"/>
                    </a:lnTo>
                    <a:lnTo>
                      <a:pt x="f29" y="f30"/>
                    </a:lnTo>
                    <a:lnTo>
                      <a:pt x="f31" y="f23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8"/>
                    </a:lnTo>
                    <a:lnTo>
                      <a:pt x="f37" y="f35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25"/>
                    </a:lnTo>
                    <a:lnTo>
                      <a:pt x="f45" y="f46"/>
                    </a:lnTo>
                    <a:lnTo>
                      <a:pt x="f47" y="f25"/>
                    </a:lnTo>
                    <a:lnTo>
                      <a:pt x="f48" y="f49"/>
                    </a:lnTo>
                    <a:lnTo>
                      <a:pt x="f50" y="f16"/>
                    </a:lnTo>
                    <a:lnTo>
                      <a:pt x="f51" y="f18"/>
                    </a:lnTo>
                    <a:lnTo>
                      <a:pt x="f52" y="f23"/>
                    </a:lnTo>
                    <a:lnTo>
                      <a:pt x="f53" y="f20"/>
                    </a:lnTo>
                    <a:lnTo>
                      <a:pt x="f54" y="f39"/>
                    </a:lnTo>
                    <a:lnTo>
                      <a:pt x="f55" y="f56"/>
                    </a:lnTo>
                    <a:lnTo>
                      <a:pt x="f54" y="f57"/>
                    </a:lnTo>
                    <a:lnTo>
                      <a:pt x="f54" y="f58"/>
                    </a:lnTo>
                    <a:lnTo>
                      <a:pt x="f55" y="f59"/>
                    </a:lnTo>
                    <a:lnTo>
                      <a:pt x="f60" y="f28"/>
                    </a:lnTo>
                    <a:lnTo>
                      <a:pt x="f61" y="f28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66" y="f33"/>
                    </a:lnTo>
                    <a:lnTo>
                      <a:pt x="f67" y="f68"/>
                    </a:lnTo>
                    <a:lnTo>
                      <a:pt x="f69" y="f46"/>
                    </a:lnTo>
                    <a:lnTo>
                      <a:pt x="f70" y="f43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27"/>
                    </a:lnTo>
                    <a:lnTo>
                      <a:pt x="f7" y="f41"/>
                    </a:lnTo>
                    <a:lnTo>
                      <a:pt x="f78" y="f39"/>
                    </a:lnTo>
                    <a:lnTo>
                      <a:pt x="f79" y="f57"/>
                    </a:lnTo>
                    <a:lnTo>
                      <a:pt x="f80" y="f63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2"/>
                    </a:lnTo>
                    <a:lnTo>
                      <a:pt x="f94" y="f90"/>
                    </a:lnTo>
                    <a:lnTo>
                      <a:pt x="f95" y="f42"/>
                    </a:lnTo>
                    <a:lnTo>
                      <a:pt x="f96" y="f97"/>
                    </a:lnTo>
                    <a:lnTo>
                      <a:pt x="f96" y="f98"/>
                    </a:lnTo>
                    <a:lnTo>
                      <a:pt x="f94" y="f99"/>
                    </a:lnTo>
                    <a:lnTo>
                      <a:pt x="f100" y="f101"/>
                    </a:lnTo>
                    <a:lnTo>
                      <a:pt x="f100" y="f102"/>
                    </a:lnTo>
                    <a:lnTo>
                      <a:pt x="f94" y="f103"/>
                    </a:lnTo>
                    <a:lnTo>
                      <a:pt x="f96" y="f104"/>
                    </a:lnTo>
                    <a:lnTo>
                      <a:pt x="f105" y="f2"/>
                    </a:lnTo>
                    <a:lnTo>
                      <a:pt x="f106" y="f2"/>
                    </a:lnTo>
                    <a:lnTo>
                      <a:pt x="f107" y="f45"/>
                    </a:lnTo>
                    <a:lnTo>
                      <a:pt x="f108" y="f45"/>
                    </a:lnTo>
                    <a:lnTo>
                      <a:pt x="f109" y="f110"/>
                    </a:lnTo>
                    <a:lnTo>
                      <a:pt x="f6" y="f111"/>
                    </a:lnTo>
                    <a:lnTo>
                      <a:pt x="f109" y="f112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106" y="f119"/>
                    </a:lnTo>
                    <a:lnTo>
                      <a:pt x="f105" y="f120"/>
                    </a:lnTo>
                    <a:lnTo>
                      <a:pt x="f94" y="f121"/>
                    </a:lnTo>
                    <a:lnTo>
                      <a:pt x="f94" y="f122"/>
                    </a:lnTo>
                    <a:lnTo>
                      <a:pt x="f95" y="f123"/>
                    </a:lnTo>
                    <a:lnTo>
                      <a:pt x="f105" y="f124"/>
                    </a:lnTo>
                    <a:lnTo>
                      <a:pt x="f94" y="f125"/>
                    </a:lnTo>
                    <a:lnTo>
                      <a:pt x="f126" y="f127"/>
                    </a:lnTo>
                    <a:lnTo>
                      <a:pt x="f91" y="f128"/>
                    </a:lnTo>
                    <a:lnTo>
                      <a:pt x="f129" y="f130"/>
                    </a:lnTo>
                    <a:lnTo>
                      <a:pt x="f131" y="f130"/>
                    </a:lnTo>
                    <a:lnTo>
                      <a:pt x="f132" y="f133"/>
                    </a:lnTo>
                    <a:lnTo>
                      <a:pt x="f134" y="f128"/>
                    </a:lnTo>
                    <a:lnTo>
                      <a:pt x="f135" y="f128"/>
                    </a:lnTo>
                    <a:lnTo>
                      <a:pt x="f136" y="f133"/>
                    </a:lnTo>
                    <a:lnTo>
                      <a:pt x="f137" y="f130"/>
                    </a:lnTo>
                    <a:lnTo>
                      <a:pt x="f138" y="f139"/>
                    </a:lnTo>
                    <a:lnTo>
                      <a:pt x="f138" y="f54"/>
                    </a:lnTo>
                    <a:lnTo>
                      <a:pt x="f137" y="f55"/>
                    </a:lnTo>
                    <a:lnTo>
                      <a:pt x="f137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48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42" y="f73"/>
                    </a:lnTo>
                    <a:lnTo>
                      <a:pt x="f156" y="f157"/>
                    </a:lnTo>
                    <a:lnTo>
                      <a:pt x="f55" y="f158"/>
                    </a:lnTo>
                    <a:lnTo>
                      <a:pt x="f139" y="f7"/>
                    </a:lnTo>
                    <a:lnTo>
                      <a:pt x="f159" y="f160"/>
                    </a:lnTo>
                    <a:lnTo>
                      <a:pt x="f161" y="f162"/>
                    </a:lnTo>
                    <a:lnTo>
                      <a:pt x="f163" y="f147"/>
                    </a:lnTo>
                    <a:lnTo>
                      <a:pt x="f164" y="f70"/>
                    </a:lnTo>
                    <a:lnTo>
                      <a:pt x="f165" y="f166"/>
                    </a:lnTo>
                    <a:lnTo>
                      <a:pt x="f167" y="f148"/>
                    </a:lnTo>
                    <a:lnTo>
                      <a:pt x="f116" y="f168"/>
                    </a:lnTo>
                    <a:lnTo>
                      <a:pt x="f45" y="f169"/>
                    </a:lnTo>
                    <a:lnTo>
                      <a:pt x="f170" y="f169"/>
                    </a:lnTo>
                    <a:lnTo>
                      <a:pt x="f42" y="f148"/>
                    </a:lnTo>
                    <a:lnTo>
                      <a:pt x="f171" y="f168"/>
                    </a:lnTo>
                    <a:lnTo>
                      <a:pt x="f172" y="f173"/>
                    </a:lnTo>
                    <a:lnTo>
                      <a:pt x="f174" y="f142"/>
                    </a:lnTo>
                    <a:lnTo>
                      <a:pt x="f38" y="f55"/>
                    </a:lnTo>
                    <a:lnTo>
                      <a:pt x="f38" y="f175"/>
                    </a:lnTo>
                    <a:lnTo>
                      <a:pt x="f174" y="f127"/>
                    </a:lnTo>
                    <a:lnTo>
                      <a:pt x="f176" y="f177"/>
                    </a:lnTo>
                    <a:lnTo>
                      <a:pt x="f92" y="f178"/>
                    </a:lnTo>
                    <a:lnTo>
                      <a:pt x="f97" y="f177"/>
                    </a:lnTo>
                    <a:lnTo>
                      <a:pt x="f179" y="f178"/>
                    </a:lnTo>
                    <a:lnTo>
                      <a:pt x="f102" y="f125"/>
                    </a:lnTo>
                    <a:lnTo>
                      <a:pt x="f103" y="f180"/>
                    </a:lnTo>
                    <a:lnTo>
                      <a:pt x="f2" y="f181"/>
                    </a:lnTo>
                    <a:lnTo>
                      <a:pt x="f2" y="f182"/>
                    </a:lnTo>
                    <a:lnTo>
                      <a:pt x="f45" y="f183"/>
                    </a:lnTo>
                    <a:lnTo>
                      <a:pt x="f111" y="f116"/>
                    </a:lnTo>
                    <a:lnTo>
                      <a:pt x="f184" y="f185"/>
                    </a:lnTo>
                    <a:lnTo>
                      <a:pt x="f186" y="f99"/>
                    </a:lnTo>
                    <a:lnTo>
                      <a:pt x="f186" y="f42"/>
                    </a:lnTo>
                    <a:lnTo>
                      <a:pt x="f187" y="f88"/>
                    </a:lnTo>
                    <a:lnTo>
                      <a:pt x="f116" y="f176"/>
                    </a:lnTo>
                    <a:lnTo>
                      <a:pt x="f45" y="f86"/>
                    </a:lnTo>
                    <a:lnTo>
                      <a:pt x="f44" y="f174"/>
                    </a:lnTo>
                    <a:lnTo>
                      <a:pt x="f42" y="f174"/>
                    </a:lnTo>
                    <a:lnTo>
                      <a:pt x="f86" y="f38"/>
                    </a:lnTo>
                    <a:lnTo>
                      <a:pt x="f188" y="f174"/>
                    </a:lnTo>
                    <a:lnTo>
                      <a:pt x="f189" y="f172"/>
                    </a:lnTo>
                    <a:lnTo>
                      <a:pt x="f28" y="f92"/>
                    </a:lnTo>
                    <a:lnTo>
                      <a:pt x="f190" y="f99"/>
                    </a:lnTo>
                    <a:lnTo>
                      <a:pt x="f65" y="f103"/>
                    </a:lnTo>
                    <a:lnTo>
                      <a:pt x="f191" y="f192"/>
                    </a:lnTo>
                    <a:lnTo>
                      <a:pt x="f56" y="f193"/>
                    </a:lnTo>
                    <a:lnTo>
                      <a:pt x="f39" y="f114"/>
                    </a:lnTo>
                    <a:lnTo>
                      <a:pt x="f194" y="f111"/>
                    </a:lnTo>
                    <a:lnTo>
                      <a:pt x="f195" y="f104"/>
                    </a:lnTo>
                    <a:lnTo>
                      <a:pt x="f196" y="f197"/>
                    </a:lnTo>
                    <a:lnTo>
                      <a:pt x="f198" y="f199"/>
                    </a:lnTo>
                    <a:lnTo>
                      <a:pt x="f200" y="f179"/>
                    </a:lnTo>
                    <a:lnTo>
                      <a:pt x="f200" y="f201"/>
                    </a:lnTo>
                    <a:lnTo>
                      <a:pt x="f202" y="f90"/>
                    </a:lnTo>
                    <a:lnTo>
                      <a:pt x="f202" y="f40"/>
                    </a:lnTo>
                    <a:lnTo>
                      <a:pt x="f203" y="f204"/>
                    </a:lnTo>
                    <a:lnTo>
                      <a:pt x="f205" y="f37"/>
                    </a:lnTo>
                    <a:lnTo>
                      <a:pt x="f206" y="f207"/>
                    </a:lnTo>
                    <a:lnTo>
                      <a:pt x="f208" y="f34"/>
                    </a:lnTo>
                    <a:lnTo>
                      <a:pt x="f209" y="f210"/>
                    </a:lnTo>
                    <a:lnTo>
                      <a:pt x="f211" y="f189"/>
                    </a:lnTo>
                    <a:lnTo>
                      <a:pt x="f211" y="f31"/>
                    </a:lnTo>
                    <a:lnTo>
                      <a:pt x="f208" y="f212"/>
                    </a:lnTo>
                    <a:lnTo>
                      <a:pt x="f213" y="f190"/>
                    </a:lnTo>
                    <a:lnTo>
                      <a:pt x="f5" y="f214"/>
                    </a:lnTo>
                    <a:lnTo>
                      <a:pt x="f215" y="f57"/>
                    </a:lnTo>
                    <a:lnTo>
                      <a:pt x="f216" y="f8"/>
                    </a:lnTo>
                    <a:lnTo>
                      <a:pt x="f206" y="f191"/>
                    </a:lnTo>
                    <a:lnTo>
                      <a:pt x="f217" y="f191"/>
                    </a:lnTo>
                    <a:lnTo>
                      <a:pt x="f12" y="f35"/>
                    </a:lnTo>
                    <a:lnTo>
                      <a:pt x="f218" y="f11"/>
                    </a:lnTo>
                    <a:lnTo>
                      <a:pt x="f12" y="f21"/>
                    </a:lnTo>
                    <a:lnTo>
                      <a:pt x="f219" y="f220"/>
                    </a:lnTo>
                    <a:lnTo>
                      <a:pt x="f221" y="f195"/>
                    </a:lnTo>
                    <a:lnTo>
                      <a:pt x="f211" y="f46"/>
                    </a:lnTo>
                    <a:lnTo>
                      <a:pt x="f208" y="f16"/>
                    </a:lnTo>
                    <a:lnTo>
                      <a:pt x="f211" y="f222"/>
                    </a:lnTo>
                    <a:lnTo>
                      <a:pt x="f221" y="f74"/>
                    </a:lnTo>
                    <a:lnTo>
                      <a:pt x="f223" y="f14"/>
                    </a:lnTo>
                    <a:lnTo>
                      <a:pt x="f224" y="f200"/>
                    </a:lnTo>
                    <a:lnTo>
                      <a:pt x="f200" y="f225"/>
                    </a:lnTo>
                    <a:lnTo>
                      <a:pt x="f27" y="f226"/>
                    </a:lnTo>
                    <a:lnTo>
                      <a:pt x="f18" y="f223"/>
                    </a:lnTo>
                    <a:lnTo>
                      <a:pt x="f20" y="f227"/>
                    </a:lnTo>
                    <a:lnTo>
                      <a:pt x="f13" y="f228"/>
                    </a:lnTo>
                    <a:lnTo>
                      <a:pt x="f229" y="f23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51" name="Freeform 13">
                <a:extLst>
                  <a:ext uri="{FF2B5EF4-FFF2-40B4-BE49-F238E27FC236}">
                    <a16:creationId xmlns:a16="http://schemas.microsoft.com/office/drawing/2014/main" id="{6AADEF17-B18E-4527-8DBB-756EBE48EDBD}"/>
                  </a:ext>
                </a:extLst>
              </p:cNvPr>
              <p:cNvSpPr/>
              <p:nvPr/>
            </p:nvSpPr>
            <p:spPr>
              <a:xfrm>
                <a:off x="4600355" y="2700003"/>
                <a:ext cx="306726" cy="21453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849"/>
                  <a:gd name="f7" fmla="val 1318"/>
                  <a:gd name="f8" fmla="val 1013"/>
                  <a:gd name="f9" fmla="val 1029"/>
                  <a:gd name="f10" fmla="val 4"/>
                  <a:gd name="f11" fmla="val 1045"/>
                  <a:gd name="f12" fmla="val 11"/>
                  <a:gd name="f13" fmla="val 1060"/>
                  <a:gd name="f14" fmla="val 20"/>
                  <a:gd name="f15" fmla="val 1082"/>
                  <a:gd name="f16" fmla="val 33"/>
                  <a:gd name="f17" fmla="val 1094"/>
                  <a:gd name="f18" fmla="val 40"/>
                  <a:gd name="f19" fmla="val 1105"/>
                  <a:gd name="f20" fmla="val 43"/>
                  <a:gd name="f21" fmla="val 1114"/>
                  <a:gd name="f22" fmla="val 1125"/>
                  <a:gd name="f23" fmla="val 42"/>
                  <a:gd name="f24" fmla="val 1137"/>
                  <a:gd name="f25" fmla="val 45"/>
                  <a:gd name="f26" fmla="val 1152"/>
                  <a:gd name="f27" fmla="val 50"/>
                  <a:gd name="f28" fmla="val 1170"/>
                  <a:gd name="f29" fmla="val 60"/>
                  <a:gd name="f30" fmla="val 1186"/>
                  <a:gd name="f31" fmla="val 65"/>
                  <a:gd name="f32" fmla="val 1198"/>
                  <a:gd name="f33" fmla="val 67"/>
                  <a:gd name="f34" fmla="val 1209"/>
                  <a:gd name="f35" fmla="val 1217"/>
                  <a:gd name="f36" fmla="val 1222"/>
                  <a:gd name="f37" fmla="val 1226"/>
                  <a:gd name="f38" fmla="val 72"/>
                  <a:gd name="f39" fmla="val 1237"/>
                  <a:gd name="f40" fmla="val 89"/>
                  <a:gd name="f41" fmla="val 1238"/>
                  <a:gd name="f42" fmla="val 99"/>
                  <a:gd name="f43" fmla="val 1235"/>
                  <a:gd name="f44" fmla="val 110"/>
                  <a:gd name="f45" fmla="val 1230"/>
                  <a:gd name="f46" fmla="val 124"/>
                  <a:gd name="f47" fmla="val 140"/>
                  <a:gd name="f48" fmla="val 1224"/>
                  <a:gd name="f49" fmla="val 157"/>
                  <a:gd name="f50" fmla="val 1223"/>
                  <a:gd name="f51" fmla="val 172"/>
                  <a:gd name="f52" fmla="val 182"/>
                  <a:gd name="f53" fmla="val 1228"/>
                  <a:gd name="f54" fmla="val 186"/>
                  <a:gd name="f55" fmla="val 189"/>
                  <a:gd name="f56" fmla="val 1245"/>
                  <a:gd name="f57" fmla="val 192"/>
                  <a:gd name="f58" fmla="val 1255"/>
                  <a:gd name="f59" fmla="val 196"/>
                  <a:gd name="f60" fmla="val 1266"/>
                  <a:gd name="f61" fmla="val 207"/>
                  <a:gd name="f62" fmla="val 1274"/>
                  <a:gd name="f63" fmla="val 218"/>
                  <a:gd name="f64" fmla="val 1281"/>
                  <a:gd name="f65" fmla="val 224"/>
                  <a:gd name="f66" fmla="val 1288"/>
                  <a:gd name="f67" fmla="val 225"/>
                  <a:gd name="f68" fmla="val 1296"/>
                  <a:gd name="f69" fmla="val 1306"/>
                  <a:gd name="f70" fmla="val 221"/>
                  <a:gd name="f71" fmla="val 1320"/>
                  <a:gd name="f72" fmla="val 219"/>
                  <a:gd name="f73" fmla="val 1333"/>
                  <a:gd name="f74" fmla="val 1347"/>
                  <a:gd name="f75" fmla="val 229"/>
                  <a:gd name="f76" fmla="val 1361"/>
                  <a:gd name="f77" fmla="val 233"/>
                  <a:gd name="f78" fmla="val 1374"/>
                  <a:gd name="f79" fmla="val 237"/>
                  <a:gd name="f80" fmla="val 1386"/>
                  <a:gd name="f81" fmla="val 244"/>
                  <a:gd name="f82" fmla="val 1396"/>
                  <a:gd name="f83" fmla="val 253"/>
                  <a:gd name="f84" fmla="val 1403"/>
                  <a:gd name="f85" fmla="val 262"/>
                  <a:gd name="f86" fmla="val 1408"/>
                  <a:gd name="f87" fmla="val 279"/>
                  <a:gd name="f88" fmla="val 1414"/>
                  <a:gd name="f89" fmla="val 285"/>
                  <a:gd name="f90" fmla="val 1422"/>
                  <a:gd name="f91" fmla="val 289"/>
                  <a:gd name="f92" fmla="val 1432"/>
                  <a:gd name="f93" fmla="val 291"/>
                  <a:gd name="f94" fmla="val 1438"/>
                  <a:gd name="f95" fmla="val 294"/>
                  <a:gd name="f96" fmla="val 1447"/>
                  <a:gd name="f97" fmla="val 300"/>
                  <a:gd name="f98" fmla="val 1469"/>
                  <a:gd name="f99" fmla="val 311"/>
                  <a:gd name="f100" fmla="val 1483"/>
                  <a:gd name="f101" fmla="val 312"/>
                  <a:gd name="f102" fmla="val 1505"/>
                  <a:gd name="f103" fmla="val 308"/>
                  <a:gd name="f104" fmla="val 1525"/>
                  <a:gd name="f105" fmla="val 298"/>
                  <a:gd name="f106" fmla="val 1542"/>
                  <a:gd name="f107" fmla="val 286"/>
                  <a:gd name="f108" fmla="val 1552"/>
                  <a:gd name="f109" fmla="val 1563"/>
                  <a:gd name="f110" fmla="val 273"/>
                  <a:gd name="f111" fmla="val 1577"/>
                  <a:gd name="f112" fmla="val 269"/>
                  <a:gd name="f113" fmla="val 1588"/>
                  <a:gd name="f114" fmla="val 264"/>
                  <a:gd name="f115" fmla="val 1595"/>
                  <a:gd name="f116" fmla="val 258"/>
                  <a:gd name="f117" fmla="val 1597"/>
                  <a:gd name="f118" fmla="val 1596"/>
                  <a:gd name="f119" fmla="val 243"/>
                  <a:gd name="f120" fmla="val 1590"/>
                  <a:gd name="f121" fmla="val 1589"/>
                  <a:gd name="f122" fmla="val 210"/>
                  <a:gd name="f123" fmla="val 199"/>
                  <a:gd name="f124" fmla="val 1593"/>
                  <a:gd name="f125" fmla="val 1600"/>
                  <a:gd name="f126" fmla="val 1610"/>
                  <a:gd name="f127" fmla="val 1621"/>
                  <a:gd name="f128" fmla="val 190"/>
                  <a:gd name="f129" fmla="val 1635"/>
                  <a:gd name="f130" fmla="val 193"/>
                  <a:gd name="f131" fmla="val 1647"/>
                  <a:gd name="f132" fmla="val 194"/>
                  <a:gd name="f133" fmla="val 1657"/>
                  <a:gd name="f134" fmla="val 1664"/>
                  <a:gd name="f135" fmla="val 1665"/>
                  <a:gd name="f136" fmla="val 1662"/>
                  <a:gd name="f137" fmla="val 181"/>
                  <a:gd name="f138" fmla="val 1658"/>
                  <a:gd name="f139" fmla="val 175"/>
                  <a:gd name="f140" fmla="val 1655"/>
                  <a:gd name="f141" fmla="val 169"/>
                  <a:gd name="f142" fmla="val 165"/>
                  <a:gd name="f143" fmla="val 161"/>
                  <a:gd name="f144" fmla="val 1672"/>
                  <a:gd name="f145" fmla="val 153"/>
                  <a:gd name="f146" fmla="val 1680"/>
                  <a:gd name="f147" fmla="val 142"/>
                  <a:gd name="f148" fmla="val 1687"/>
                  <a:gd name="f149" fmla="val 126"/>
                  <a:gd name="f150" fmla="val 1693"/>
                  <a:gd name="f151" fmla="val 111"/>
                  <a:gd name="f152" fmla="val 1698"/>
                  <a:gd name="f153" fmla="val 97"/>
                  <a:gd name="f154" fmla="val 1702"/>
                  <a:gd name="f155" fmla="val 1708"/>
                  <a:gd name="f156" fmla="val 88"/>
                  <a:gd name="f157" fmla="val 1720"/>
                  <a:gd name="f158" fmla="val 1730"/>
                  <a:gd name="f159" fmla="val 85"/>
                  <a:gd name="f160" fmla="val 1740"/>
                  <a:gd name="f161" fmla="val 83"/>
                  <a:gd name="f162" fmla="val 1751"/>
                  <a:gd name="f163" fmla="val 86"/>
                  <a:gd name="f164" fmla="val 1760"/>
                  <a:gd name="f165" fmla="val 93"/>
                  <a:gd name="f166" fmla="val 1770"/>
                  <a:gd name="f167" fmla="val 101"/>
                  <a:gd name="f168" fmla="val 1776"/>
                  <a:gd name="f169" fmla="val 1778"/>
                  <a:gd name="f170" fmla="val 117"/>
                  <a:gd name="f171" fmla="val 1781"/>
                  <a:gd name="f172" fmla="val 1788"/>
                  <a:gd name="f173" fmla="val 136"/>
                  <a:gd name="f174" fmla="val 1798"/>
                  <a:gd name="f175" fmla="val 146"/>
                  <a:gd name="f176" fmla="val 1806"/>
                  <a:gd name="f177" fmla="val 1811"/>
                  <a:gd name="f178" fmla="val 1818"/>
                  <a:gd name="f179" fmla="val 160"/>
                  <a:gd name="f180" fmla="val 1825"/>
                  <a:gd name="f181" fmla="val 1829"/>
                  <a:gd name="f182" fmla="val 1831"/>
                  <a:gd name="f183" fmla="val 179"/>
                  <a:gd name="f184" fmla="val 1828"/>
                  <a:gd name="f185" fmla="val 1821"/>
                  <a:gd name="f186" fmla="val 1817"/>
                  <a:gd name="f187" fmla="val 1816"/>
                  <a:gd name="f188" fmla="val 247"/>
                  <a:gd name="f189" fmla="val 276"/>
                  <a:gd name="f190" fmla="val 296"/>
                  <a:gd name="f191" fmla="val 315"/>
                  <a:gd name="f192" fmla="val 1813"/>
                  <a:gd name="f193" fmla="val 332"/>
                  <a:gd name="f194" fmla="val 1809"/>
                  <a:gd name="f195" fmla="val 343"/>
                  <a:gd name="f196" fmla="val 1800"/>
                  <a:gd name="f197" fmla="val 351"/>
                  <a:gd name="f198" fmla="val 1792"/>
                  <a:gd name="f199" fmla="val 358"/>
                  <a:gd name="f200" fmla="val 1787"/>
                  <a:gd name="f201" fmla="val 365"/>
                  <a:gd name="f202" fmla="val 373"/>
                  <a:gd name="f203" fmla="val 1789"/>
                  <a:gd name="f204" fmla="val 380"/>
                  <a:gd name="f205" fmla="val 1795"/>
                  <a:gd name="f206" fmla="val 391"/>
                  <a:gd name="f207" fmla="val 404"/>
                  <a:gd name="f208" fmla="val 1805"/>
                  <a:gd name="f209" fmla="val 415"/>
                  <a:gd name="f210" fmla="val 1807"/>
                  <a:gd name="f211" fmla="val 426"/>
                  <a:gd name="f212" fmla="val 433"/>
                  <a:gd name="f213" fmla="val 1796"/>
                  <a:gd name="f214" fmla="val 441"/>
                  <a:gd name="f215" fmla="val 1785"/>
                  <a:gd name="f216" fmla="val 450"/>
                  <a:gd name="f217" fmla="val 459"/>
                  <a:gd name="f218" fmla="val 1767"/>
                  <a:gd name="f219" fmla="val 466"/>
                  <a:gd name="f220" fmla="val 1764"/>
                  <a:gd name="f221" fmla="val 473"/>
                  <a:gd name="f222" fmla="val 1766"/>
                  <a:gd name="f223" fmla="val 479"/>
                  <a:gd name="f224" fmla="val 1771"/>
                  <a:gd name="f225" fmla="val 495"/>
                  <a:gd name="f226" fmla="val 502"/>
                  <a:gd name="f227" fmla="val 508"/>
                  <a:gd name="f228" fmla="val 1759"/>
                  <a:gd name="f229" fmla="val 515"/>
                  <a:gd name="f230" fmla="val 1752"/>
                  <a:gd name="f231" fmla="val 524"/>
                  <a:gd name="f232" fmla="val 1747"/>
                  <a:gd name="f233" fmla="val 534"/>
                  <a:gd name="f234" fmla="val 1745"/>
                  <a:gd name="f235" fmla="val 544"/>
                  <a:gd name="f236" fmla="val 552"/>
                  <a:gd name="f237" fmla="val 565"/>
                  <a:gd name="f238" fmla="val 1762"/>
                  <a:gd name="f239" fmla="val 592"/>
                  <a:gd name="f240" fmla="val 602"/>
                  <a:gd name="f241" fmla="val 1773"/>
                  <a:gd name="f242" fmla="val 606"/>
                  <a:gd name="f243" fmla="val 1780"/>
                  <a:gd name="f244" fmla="val 605"/>
                  <a:gd name="f245" fmla="val 1823"/>
                  <a:gd name="f246" fmla="val 608"/>
                  <a:gd name="f247" fmla="val 613"/>
                  <a:gd name="f248" fmla="val 1832"/>
                  <a:gd name="f249" fmla="val 622"/>
                  <a:gd name="f250" fmla="val 1836"/>
                  <a:gd name="f251" fmla="val 633"/>
                  <a:gd name="f252" fmla="val 1840"/>
                  <a:gd name="f253" fmla="val 645"/>
                  <a:gd name="f254" fmla="val 1846"/>
                  <a:gd name="f255" fmla="val 659"/>
                  <a:gd name="f256" fmla="val 672"/>
                  <a:gd name="f257" fmla="val 681"/>
                  <a:gd name="f258" fmla="val 1847"/>
                  <a:gd name="f259" fmla="val 688"/>
                  <a:gd name="f260" fmla="val 1843"/>
                  <a:gd name="f261" fmla="val 695"/>
                  <a:gd name="f262" fmla="val 1838"/>
                  <a:gd name="f263" fmla="val 708"/>
                  <a:gd name="f264" fmla="val 1834"/>
                  <a:gd name="f265" fmla="val 721"/>
                  <a:gd name="f266" fmla="val 735"/>
                  <a:gd name="f267" fmla="val 1824"/>
                  <a:gd name="f268" fmla="val 748"/>
                  <a:gd name="f269" fmla="val 756"/>
                  <a:gd name="f270" fmla="val 759"/>
                  <a:gd name="f271" fmla="val 1810"/>
                  <a:gd name="f272" fmla="val 755"/>
                  <a:gd name="f273" fmla="val 1803"/>
                  <a:gd name="f274" fmla="val 749"/>
                  <a:gd name="f275" fmla="val 742"/>
                  <a:gd name="f276" fmla="val 737"/>
                  <a:gd name="f277" fmla="val 1782"/>
                  <a:gd name="f278" fmla="val 734"/>
                  <a:gd name="f279" fmla="val 739"/>
                  <a:gd name="f280" fmla="val 744"/>
                  <a:gd name="f281" fmla="val 1758"/>
                  <a:gd name="f282" fmla="val 1738"/>
                  <a:gd name="f283" fmla="val 730"/>
                  <a:gd name="f284" fmla="val 727"/>
                  <a:gd name="f285" fmla="val 1724"/>
                  <a:gd name="f286" fmla="val 1715"/>
                  <a:gd name="f287" fmla="val 1711"/>
                  <a:gd name="f288" fmla="val 1705"/>
                  <a:gd name="f289" fmla="val 746"/>
                  <a:gd name="f290" fmla="val 1697"/>
                  <a:gd name="f291" fmla="val 1684"/>
                  <a:gd name="f292" fmla="val 1675"/>
                  <a:gd name="f293" fmla="val 1668"/>
                  <a:gd name="f294" fmla="val 728"/>
                  <a:gd name="f295" fmla="val 1659"/>
                  <a:gd name="f296" fmla="val 719"/>
                  <a:gd name="f297" fmla="val 1648"/>
                  <a:gd name="f298" fmla="val 702"/>
                  <a:gd name="f299" fmla="val 1644"/>
                  <a:gd name="f300" fmla="val 699"/>
                  <a:gd name="f301" fmla="val 1630"/>
                  <a:gd name="f302" fmla="val 698"/>
                  <a:gd name="f303" fmla="val 1611"/>
                  <a:gd name="f304" fmla="val 1606"/>
                  <a:gd name="f305" fmla="val 692"/>
                  <a:gd name="f306" fmla="val 1603"/>
                  <a:gd name="f307" fmla="val 687"/>
                  <a:gd name="f308" fmla="val 1608"/>
                  <a:gd name="f309" fmla="val 662"/>
                  <a:gd name="f310" fmla="val 648"/>
                  <a:gd name="f311" fmla="val 1607"/>
                  <a:gd name="f312" fmla="val 1601"/>
                  <a:gd name="f313" fmla="val 617"/>
                  <a:gd name="f314" fmla="val 620"/>
                  <a:gd name="f315" fmla="val 1575"/>
                  <a:gd name="f316" fmla="val 631"/>
                  <a:gd name="f317" fmla="val 1567"/>
                  <a:gd name="f318" fmla="val 638"/>
                  <a:gd name="f319" fmla="val 1560"/>
                  <a:gd name="f320" fmla="val 641"/>
                  <a:gd name="f321" fmla="val 1554"/>
                  <a:gd name="f322" fmla="val 1549"/>
                  <a:gd name="f323" fmla="val 637"/>
                  <a:gd name="f324" fmla="val 1545"/>
                  <a:gd name="f325" fmla="val 1541"/>
                  <a:gd name="f326" fmla="val 629"/>
                  <a:gd name="f327" fmla="val 1537"/>
                  <a:gd name="f328" fmla="val 1531"/>
                  <a:gd name="f329" fmla="val 1521"/>
                  <a:gd name="f330" fmla="val 1509"/>
                  <a:gd name="f331" fmla="val 1496"/>
                  <a:gd name="f332" fmla="val 652"/>
                  <a:gd name="f333" fmla="val 1484"/>
                  <a:gd name="f334" fmla="val 658"/>
                  <a:gd name="f335" fmla="val 1474"/>
                  <a:gd name="f336" fmla="val 660"/>
                  <a:gd name="f337" fmla="val 665"/>
                  <a:gd name="f338" fmla="val 1466"/>
                  <a:gd name="f339" fmla="val 673"/>
                  <a:gd name="f340" fmla="val 1465"/>
                  <a:gd name="f341" fmla="val 684"/>
                  <a:gd name="f342" fmla="val 1462"/>
                  <a:gd name="f343" fmla="val 694"/>
                  <a:gd name="f344" fmla="val 1458"/>
                  <a:gd name="f345" fmla="val 1452"/>
                  <a:gd name="f346" fmla="val 706"/>
                  <a:gd name="f347" fmla="val 709"/>
                  <a:gd name="f348" fmla="val 1445"/>
                  <a:gd name="f349" fmla="val 715"/>
                  <a:gd name="f350" fmla="val 720"/>
                  <a:gd name="f351" fmla="val 1444"/>
                  <a:gd name="f352" fmla="val 1440"/>
                  <a:gd name="f353" fmla="val 1430"/>
                  <a:gd name="f354" fmla="val 752"/>
                  <a:gd name="f355" fmla="val 1415"/>
                  <a:gd name="f356" fmla="val 760"/>
                  <a:gd name="f357" fmla="val 770"/>
                  <a:gd name="f358" fmla="val 1416"/>
                  <a:gd name="f359" fmla="val 780"/>
                  <a:gd name="f360" fmla="val 1418"/>
                  <a:gd name="f361" fmla="val 789"/>
                  <a:gd name="f362" fmla="val 798"/>
                  <a:gd name="f363" fmla="val 1412"/>
                  <a:gd name="f364" fmla="val 805"/>
                  <a:gd name="f365" fmla="val 813"/>
                  <a:gd name="f366" fmla="val 1407"/>
                  <a:gd name="f367" fmla="val 823"/>
                  <a:gd name="f368" fmla="val 832"/>
                  <a:gd name="f369" fmla="val 842"/>
                  <a:gd name="f370" fmla="val 849"/>
                  <a:gd name="f371" fmla="val 1420"/>
                  <a:gd name="f372" fmla="val 857"/>
                  <a:gd name="f373" fmla="val 1423"/>
                  <a:gd name="f374" fmla="val 866"/>
                  <a:gd name="f375" fmla="val 874"/>
                  <a:gd name="f376" fmla="val 881"/>
                  <a:gd name="f377" fmla="val 885"/>
                  <a:gd name="f378" fmla="val 889"/>
                  <a:gd name="f379" fmla="val 892"/>
                  <a:gd name="f380" fmla="val 1409"/>
                  <a:gd name="f381" fmla="val 898"/>
                  <a:gd name="f382" fmla="val 905"/>
                  <a:gd name="f383" fmla="val 1425"/>
                  <a:gd name="f384" fmla="val 913"/>
                  <a:gd name="f385" fmla="val 1436"/>
                  <a:gd name="f386" fmla="val 923"/>
                  <a:gd name="f387" fmla="val 930"/>
                  <a:gd name="f388" fmla="val 1454"/>
                  <a:gd name="f389" fmla="val 934"/>
                  <a:gd name="f390" fmla="val 1461"/>
                  <a:gd name="f391" fmla="val 928"/>
                  <a:gd name="f392" fmla="val 1480"/>
                  <a:gd name="f393" fmla="val 1491"/>
                  <a:gd name="f394" fmla="val 921"/>
                  <a:gd name="f395" fmla="val 1501"/>
                  <a:gd name="f396" fmla="val 924"/>
                  <a:gd name="f397" fmla="val 927"/>
                  <a:gd name="f398" fmla="val 1508"/>
                  <a:gd name="f399" fmla="val 1513"/>
                  <a:gd name="f400" fmla="val 942"/>
                  <a:gd name="f401" fmla="val 1516"/>
                  <a:gd name="f402" fmla="val 943"/>
                  <a:gd name="f403" fmla="val 1517"/>
                  <a:gd name="f404" fmla="val 945"/>
                  <a:gd name="f405" fmla="val 1530"/>
                  <a:gd name="f406" fmla="val 946"/>
                  <a:gd name="f407" fmla="val 1534"/>
                  <a:gd name="f408" fmla="val 953"/>
                  <a:gd name="f409" fmla="val 1532"/>
                  <a:gd name="f410" fmla="val 963"/>
                  <a:gd name="f411" fmla="val 1528"/>
                  <a:gd name="f412" fmla="val 974"/>
                  <a:gd name="f413" fmla="val 1520"/>
                  <a:gd name="f414" fmla="val 982"/>
                  <a:gd name="f415" fmla="val 1503"/>
                  <a:gd name="f416" fmla="val 993"/>
                  <a:gd name="f417" fmla="val 1498"/>
                  <a:gd name="f418" fmla="val 1000"/>
                  <a:gd name="f419" fmla="val 1022"/>
                  <a:gd name="f420" fmla="val 1043"/>
                  <a:gd name="f421" fmla="val 1054"/>
                  <a:gd name="f422" fmla="val 1068"/>
                  <a:gd name="f423" fmla="val 1485"/>
                  <a:gd name="f424" fmla="val 1499"/>
                  <a:gd name="f425" fmla="val 1097"/>
                  <a:gd name="f426" fmla="val 1510"/>
                  <a:gd name="f427" fmla="val 1106"/>
                  <a:gd name="f428" fmla="val 1523"/>
                  <a:gd name="f429" fmla="val 1117"/>
                  <a:gd name="f430" fmla="val 1128"/>
                  <a:gd name="f431" fmla="val 1140"/>
                  <a:gd name="f432" fmla="val 1548"/>
                  <a:gd name="f433" fmla="val 1150"/>
                  <a:gd name="f434" fmla="val 1550"/>
                  <a:gd name="f435" fmla="val 1160"/>
                  <a:gd name="f436" fmla="val 1167"/>
                  <a:gd name="f437" fmla="val 1176"/>
                  <a:gd name="f438" fmla="val 1187"/>
                  <a:gd name="f439" fmla="val 1201"/>
                  <a:gd name="f440" fmla="val 1212"/>
                  <a:gd name="f441" fmla="val 1225"/>
                  <a:gd name="f442" fmla="val 1229"/>
                  <a:gd name="f443" fmla="val 1233"/>
                  <a:gd name="f444" fmla="val 1434"/>
                  <a:gd name="f445" fmla="val 1429"/>
                  <a:gd name="f446" fmla="val 1427"/>
                  <a:gd name="f447" fmla="val 1215"/>
                  <a:gd name="f448" fmla="val 1204"/>
                  <a:gd name="f449" fmla="val 1194"/>
                  <a:gd name="f450" fmla="val 1433"/>
                  <a:gd name="f451" fmla="val 1185"/>
                  <a:gd name="f452" fmla="val 1426"/>
                  <a:gd name="f453" fmla="val 1168"/>
                  <a:gd name="f454" fmla="val 1397"/>
                  <a:gd name="f455" fmla="val 1153"/>
                  <a:gd name="f456" fmla="val 1382"/>
                  <a:gd name="f457" fmla="val 1144"/>
                  <a:gd name="f458" fmla="val 1372"/>
                  <a:gd name="f459" fmla="val 1136"/>
                  <a:gd name="f460" fmla="val 1368"/>
                  <a:gd name="f461" fmla="val 1113"/>
                  <a:gd name="f462" fmla="val 1365"/>
                  <a:gd name="f463" fmla="val 1096"/>
                  <a:gd name="f464" fmla="val 1357"/>
                  <a:gd name="f465" fmla="val 1078"/>
                  <a:gd name="f466" fmla="val 1354"/>
                  <a:gd name="f467" fmla="val 1052"/>
                  <a:gd name="f468" fmla="val 1364"/>
                  <a:gd name="f469" fmla="val 1360"/>
                  <a:gd name="f470" fmla="val 1035"/>
                  <a:gd name="f471" fmla="val 1349"/>
                  <a:gd name="f472" fmla="val 1027"/>
                  <a:gd name="f473" fmla="val 1336"/>
                  <a:gd name="f474" fmla="val 1021"/>
                  <a:gd name="f475" fmla="val 1325"/>
                  <a:gd name="f476" fmla="val 1016"/>
                  <a:gd name="f477" fmla="val 1317"/>
                  <a:gd name="f478" fmla="val 1009"/>
                  <a:gd name="f479" fmla="val 1313"/>
                  <a:gd name="f480" fmla="val 1006"/>
                  <a:gd name="f481" fmla="val 1309"/>
                  <a:gd name="f482" fmla="val 1304"/>
                  <a:gd name="f483" fmla="val 1014"/>
                  <a:gd name="f484" fmla="val 1299"/>
                  <a:gd name="f485" fmla="val 1018"/>
                  <a:gd name="f486" fmla="val 1295"/>
                  <a:gd name="f487" fmla="val 1017"/>
                  <a:gd name="f488" fmla="val 1291"/>
                  <a:gd name="f489" fmla="val 1007"/>
                  <a:gd name="f490" fmla="val 1289"/>
                  <a:gd name="f491" fmla="val 1004"/>
                  <a:gd name="f492" fmla="val 1003"/>
                  <a:gd name="f493" fmla="val 1286"/>
                  <a:gd name="f494" fmla="val 1002"/>
                  <a:gd name="f495" fmla="val 1275"/>
                  <a:gd name="f496" fmla="val 1262"/>
                  <a:gd name="f497" fmla="val 1184"/>
                  <a:gd name="f498" fmla="val 1173"/>
                  <a:gd name="f499" fmla="val 1036"/>
                  <a:gd name="f500" fmla="val 1164"/>
                  <a:gd name="f501" fmla="val 1053"/>
                  <a:gd name="f502" fmla="val 1059"/>
                  <a:gd name="f503" fmla="val 1139"/>
                  <a:gd name="f504" fmla="val 1132"/>
                  <a:gd name="f505" fmla="val 1126"/>
                  <a:gd name="f506" fmla="val 1047"/>
                  <a:gd name="f507" fmla="val 1119"/>
                  <a:gd name="f508" fmla="val 1040"/>
                  <a:gd name="f509" fmla="val 1111"/>
                  <a:gd name="f510" fmla="val 1039"/>
                  <a:gd name="f511" fmla="val 1101"/>
                  <a:gd name="f512" fmla="val 1092"/>
                  <a:gd name="f513" fmla="val 1056"/>
                  <a:gd name="f514" fmla="val 1085"/>
                  <a:gd name="f515" fmla="val 1070"/>
                  <a:gd name="f516" fmla="val 1083"/>
                  <a:gd name="f517" fmla="val 1095"/>
                  <a:gd name="f518" fmla="val 1079"/>
                  <a:gd name="f519" fmla="val 1074"/>
                  <a:gd name="f520" fmla="val 1129"/>
                  <a:gd name="f521" fmla="val 1065"/>
                  <a:gd name="f522" fmla="val 1057"/>
                  <a:gd name="f523" fmla="val 1124"/>
                  <a:gd name="f524" fmla="val 1121"/>
                  <a:gd name="f525" fmla="val 1118"/>
                  <a:gd name="f526" fmla="val 1041"/>
                  <a:gd name="f527" fmla="val 1020"/>
                  <a:gd name="f528" fmla="val 1010"/>
                  <a:gd name="f529" fmla="val 1133"/>
                  <a:gd name="f530" fmla="val 994"/>
                  <a:gd name="f531" fmla="val 1135"/>
                  <a:gd name="f532" fmla="val 985"/>
                  <a:gd name="f533" fmla="val 976"/>
                  <a:gd name="f534" fmla="val 1131"/>
                  <a:gd name="f535" fmla="val 926"/>
                  <a:gd name="f536" fmla="val 915"/>
                  <a:gd name="f537" fmla="val 897"/>
                  <a:gd name="f538" fmla="val 1110"/>
                  <a:gd name="f539" fmla="val 890"/>
                  <a:gd name="f540" fmla="val 873"/>
                  <a:gd name="f541" fmla="val 865"/>
                  <a:gd name="f542" fmla="val 1028"/>
                  <a:gd name="f543" fmla="val 837"/>
                  <a:gd name="f544" fmla="val 829"/>
                  <a:gd name="f545" fmla="val 1011"/>
                  <a:gd name="f546" fmla="val 824"/>
                  <a:gd name="f547" fmla="val 822"/>
                  <a:gd name="f548" fmla="val 825"/>
                  <a:gd name="f549" fmla="val 996"/>
                  <a:gd name="f550" fmla="val 835"/>
                  <a:gd name="f551" fmla="val 988"/>
                  <a:gd name="f552" fmla="val 836"/>
                  <a:gd name="f553" fmla="val 833"/>
                  <a:gd name="f554" fmla="val 978"/>
                  <a:gd name="f555" fmla="val 826"/>
                  <a:gd name="f556" fmla="val 968"/>
                  <a:gd name="f557" fmla="val 815"/>
                  <a:gd name="f558" fmla="val 954"/>
                  <a:gd name="f559" fmla="val 814"/>
                  <a:gd name="f560" fmla="val 817"/>
                  <a:gd name="f561" fmla="val 936"/>
                  <a:gd name="f562" fmla="val 819"/>
                  <a:gd name="f563" fmla="val 907"/>
                  <a:gd name="f564" fmla="val 887"/>
                  <a:gd name="f565" fmla="val 848"/>
                  <a:gd name="f566" fmla="val 834"/>
                  <a:gd name="f567" fmla="val 827"/>
                  <a:gd name="f568" fmla="val 806"/>
                  <a:gd name="f569" fmla="val 830"/>
                  <a:gd name="f570" fmla="val 796"/>
                  <a:gd name="f571" fmla="val 782"/>
                  <a:gd name="f572" fmla="val 778"/>
                  <a:gd name="f573" fmla="val 777"/>
                  <a:gd name="f574" fmla="val 864"/>
                  <a:gd name="f575" fmla="val 774"/>
                  <a:gd name="f576" fmla="val 870"/>
                  <a:gd name="f577" fmla="val 763"/>
                  <a:gd name="f578" fmla="val 871"/>
                  <a:gd name="f579" fmla="val 750"/>
                  <a:gd name="f580" fmla="val 867"/>
                  <a:gd name="f581" fmla="val 741"/>
                  <a:gd name="f582" fmla="val 860"/>
                  <a:gd name="f583" fmla="val 852"/>
                  <a:gd name="f584" fmla="val 732"/>
                  <a:gd name="f585" fmla="val 841"/>
                  <a:gd name="f586" fmla="val 731"/>
                  <a:gd name="f587" fmla="val 726"/>
                  <a:gd name="f588" fmla="val 716"/>
                  <a:gd name="f589" fmla="val 828"/>
                  <a:gd name="f590" fmla="val 691"/>
                  <a:gd name="f591" fmla="val 679"/>
                  <a:gd name="f592" fmla="val 654"/>
                  <a:gd name="f593" fmla="val 838"/>
                  <a:gd name="f594" fmla="val 644"/>
                  <a:gd name="f595" fmla="val 639"/>
                  <a:gd name="f596" fmla="val 845"/>
                  <a:gd name="f597" fmla="val 636"/>
                  <a:gd name="f598" fmla="val 634"/>
                  <a:gd name="f599" fmla="val 632"/>
                  <a:gd name="f600" fmla="val 878"/>
                  <a:gd name="f601" fmla="val 625"/>
                  <a:gd name="f602" fmla="val 614"/>
                  <a:gd name="f603" fmla="val 895"/>
                  <a:gd name="f604" fmla="val 906"/>
                  <a:gd name="f605" fmla="val 607"/>
                  <a:gd name="f606" fmla="val 917"/>
                  <a:gd name="f607" fmla="val 610"/>
                  <a:gd name="f608" fmla="val 623"/>
                  <a:gd name="f609" fmla="val 938"/>
                  <a:gd name="f610" fmla="val 950"/>
                  <a:gd name="f611" fmla="val 960"/>
                  <a:gd name="f612" fmla="val 989"/>
                  <a:gd name="f613" fmla="val 640"/>
                  <a:gd name="f614" fmla="val 643"/>
                  <a:gd name="f615" fmla="val 1038"/>
                  <a:gd name="f616" fmla="val 651"/>
                  <a:gd name="f617" fmla="val 655"/>
                  <a:gd name="f618" fmla="val 1081"/>
                  <a:gd name="f619" fmla="val 1093"/>
                  <a:gd name="f620" fmla="val 1104"/>
                  <a:gd name="f621" fmla="val 1122"/>
                  <a:gd name="f622" fmla="val 1146"/>
                  <a:gd name="f623" fmla="val 1156"/>
                  <a:gd name="f624" fmla="val 616"/>
                  <a:gd name="f625" fmla="val 1175"/>
                  <a:gd name="f626" fmla="val 612"/>
                  <a:gd name="f627" fmla="val 1189"/>
                  <a:gd name="f628" fmla="val 1203"/>
                  <a:gd name="f629" fmla="val 604"/>
                  <a:gd name="f630" fmla="val 598"/>
                  <a:gd name="f631" fmla="val 589"/>
                  <a:gd name="f632" fmla="val 1236"/>
                  <a:gd name="f633" fmla="val 578"/>
                  <a:gd name="f634" fmla="val 1244"/>
                  <a:gd name="f635" fmla="val 567"/>
                  <a:gd name="f636" fmla="val 1251"/>
                  <a:gd name="f637" fmla="val 558"/>
                  <a:gd name="f638" fmla="val 1258"/>
                  <a:gd name="f639" fmla="val 554"/>
                  <a:gd name="f640" fmla="val 1265"/>
                  <a:gd name="f641" fmla="val 1300"/>
                  <a:gd name="f642" fmla="val 550"/>
                  <a:gd name="f643" fmla="val 1305"/>
                  <a:gd name="f644" fmla="val 525"/>
                  <a:gd name="f645" fmla="val 510"/>
                  <a:gd name="f646" fmla="val 1307"/>
                  <a:gd name="f647" fmla="val 1294"/>
                  <a:gd name="f648" fmla="val 481"/>
                  <a:gd name="f649" fmla="val 1278"/>
                  <a:gd name="f650" fmla="val 467"/>
                  <a:gd name="f651" fmla="val 456"/>
                  <a:gd name="f652" fmla="val 1253"/>
                  <a:gd name="f653" fmla="val 448"/>
                  <a:gd name="f654" fmla="val 1247"/>
                  <a:gd name="f655" fmla="val 1242"/>
                  <a:gd name="f656" fmla="val 440"/>
                  <a:gd name="f657" fmla="val 437"/>
                  <a:gd name="f658" fmla="val 1192"/>
                  <a:gd name="f659" fmla="val 434"/>
                  <a:gd name="f660" fmla="val 429"/>
                  <a:gd name="f661" fmla="val 423"/>
                  <a:gd name="f662" fmla="val 1158"/>
                  <a:gd name="f663" fmla="val 417"/>
                  <a:gd name="f664" fmla="val 1149"/>
                  <a:gd name="f665" fmla="val 413"/>
                  <a:gd name="f666" fmla="val 416"/>
                  <a:gd name="f667" fmla="val 422"/>
                  <a:gd name="f668" fmla="val 1120"/>
                  <a:gd name="f669" fmla="val 424"/>
                  <a:gd name="f670" fmla="val 1108"/>
                  <a:gd name="f671" fmla="val 430"/>
                  <a:gd name="f672" fmla="val 431"/>
                  <a:gd name="f673" fmla="val 1075"/>
                  <a:gd name="f674" fmla="val 438"/>
                  <a:gd name="f675" fmla="val 1064"/>
                  <a:gd name="f676" fmla="val 442"/>
                  <a:gd name="f677" fmla="val 449"/>
                  <a:gd name="f678" fmla="val 453"/>
                  <a:gd name="f679" fmla="val 1034"/>
                  <a:gd name="f680" fmla="val 451"/>
                  <a:gd name="f681" fmla="val 445"/>
                  <a:gd name="f682" fmla="val 444"/>
                  <a:gd name="f683" fmla="val 446"/>
                  <a:gd name="f684" fmla="val 991"/>
                  <a:gd name="f685" fmla="val 975"/>
                  <a:gd name="f686" fmla="val 935"/>
                  <a:gd name="f687" fmla="val 914"/>
                  <a:gd name="f688" fmla="val 896"/>
                  <a:gd name="f689" fmla="val 427"/>
                  <a:gd name="f690" fmla="val 420"/>
                  <a:gd name="f691" fmla="val 875"/>
                  <a:gd name="f692" fmla="val 412"/>
                  <a:gd name="f693" fmla="val 880"/>
                  <a:gd name="f694" fmla="val 409"/>
                  <a:gd name="f695" fmla="val 398"/>
                  <a:gd name="f696" fmla="val 863"/>
                  <a:gd name="f697" fmla="val 384"/>
                  <a:gd name="f698" fmla="val 379"/>
                  <a:gd name="f699" fmla="val 820"/>
                  <a:gd name="f700" fmla="val 375"/>
                  <a:gd name="f701" fmla="val 372"/>
                  <a:gd name="f702" fmla="val 794"/>
                  <a:gd name="f703" fmla="val 753"/>
                  <a:gd name="f704" fmla="val 386"/>
                  <a:gd name="f705" fmla="val 717"/>
                  <a:gd name="f706" fmla="val 390"/>
                  <a:gd name="f707" fmla="val 370"/>
                  <a:gd name="f708" fmla="val 680"/>
                  <a:gd name="f709" fmla="val 361"/>
                  <a:gd name="f710" fmla="val 674"/>
                  <a:gd name="f711" fmla="val 354"/>
                  <a:gd name="f712" fmla="val 346"/>
                  <a:gd name="f713" fmla="val 336"/>
                  <a:gd name="f714" fmla="val 676"/>
                  <a:gd name="f715" fmla="val 328"/>
                  <a:gd name="f716" fmla="val 319"/>
                  <a:gd name="f717" fmla="val 685"/>
                  <a:gd name="f718" fmla="val 314"/>
                  <a:gd name="f719" fmla="val 307"/>
                  <a:gd name="f720" fmla="val 304"/>
                  <a:gd name="f721" fmla="val 301"/>
                  <a:gd name="f722" fmla="val 656"/>
                  <a:gd name="f723" fmla="val 297"/>
                  <a:gd name="f724" fmla="val 653"/>
                  <a:gd name="f725" fmla="val 290"/>
                  <a:gd name="f726" fmla="val 283"/>
                  <a:gd name="f727" fmla="val 275"/>
                  <a:gd name="f728" fmla="val 268"/>
                  <a:gd name="f729" fmla="val 670"/>
                  <a:gd name="f730" fmla="val 263"/>
                  <a:gd name="f731" fmla="val 265"/>
                  <a:gd name="f732" fmla="val 701"/>
                  <a:gd name="f733" fmla="val 705"/>
                  <a:gd name="f734" fmla="val 710"/>
                  <a:gd name="f735" fmla="val 238"/>
                  <a:gd name="f736" fmla="val 723"/>
                  <a:gd name="f737" fmla="val 202"/>
                  <a:gd name="f738" fmla="val 184"/>
                  <a:gd name="f739" fmla="val 156"/>
                  <a:gd name="f740" fmla="val 143"/>
                  <a:gd name="f741" fmla="val 133"/>
                  <a:gd name="f742" fmla="val 125"/>
                  <a:gd name="f743" fmla="val 118"/>
                  <a:gd name="f744" fmla="val 114"/>
                  <a:gd name="f745" fmla="val 105"/>
                  <a:gd name="f746" fmla="val 94"/>
                  <a:gd name="f747" fmla="val 79"/>
                  <a:gd name="f748" fmla="val 64"/>
                  <a:gd name="f749" fmla="val 55"/>
                  <a:gd name="f750" fmla="val 49"/>
                  <a:gd name="f751" fmla="val 733"/>
                  <a:gd name="f752" fmla="val 46"/>
                  <a:gd name="f753" fmla="val 724"/>
                  <a:gd name="f754" fmla="val 38"/>
                  <a:gd name="f755" fmla="val 36"/>
                  <a:gd name="f756" fmla="val 35"/>
                  <a:gd name="f757" fmla="val 31"/>
                  <a:gd name="f758" fmla="val 690"/>
                  <a:gd name="f759" fmla="val 24"/>
                  <a:gd name="f760" fmla="val 6"/>
                  <a:gd name="f761" fmla="val 649"/>
                  <a:gd name="f762" fmla="val 13"/>
                  <a:gd name="f763" fmla="val 627"/>
                  <a:gd name="f764" fmla="val 21"/>
                  <a:gd name="f765" fmla="val 26"/>
                  <a:gd name="f766" fmla="val 601"/>
                  <a:gd name="f767" fmla="val 587"/>
                  <a:gd name="f768" fmla="val 577"/>
                  <a:gd name="f769" fmla="val 569"/>
                  <a:gd name="f770" fmla="val 25"/>
                  <a:gd name="f771" fmla="val 559"/>
                  <a:gd name="f772" fmla="val 32"/>
                  <a:gd name="f773" fmla="val 51"/>
                  <a:gd name="f774" fmla="val 551"/>
                  <a:gd name="f775" fmla="val 62"/>
                  <a:gd name="f776" fmla="val 549"/>
                  <a:gd name="f777" fmla="val 545"/>
                  <a:gd name="f778" fmla="val 536"/>
                  <a:gd name="f779" fmla="val 527"/>
                  <a:gd name="f780" fmla="val 100"/>
                  <a:gd name="f781" fmla="val 519"/>
                  <a:gd name="f782" fmla="val 509"/>
                  <a:gd name="f783" fmla="val 98"/>
                  <a:gd name="f784" fmla="val 500"/>
                  <a:gd name="f785" fmla="val 491"/>
                  <a:gd name="f786" fmla="val 104"/>
                  <a:gd name="f787" fmla="val 484"/>
                  <a:gd name="f788" fmla="val 112"/>
                  <a:gd name="f789" fmla="val 480"/>
                  <a:gd name="f790" fmla="val 120"/>
                  <a:gd name="f791" fmla="val 483"/>
                  <a:gd name="f792" fmla="val 127"/>
                  <a:gd name="f793" fmla="val 490"/>
                  <a:gd name="f794" fmla="val 134"/>
                  <a:gd name="f795" fmla="val 141"/>
                  <a:gd name="f796" fmla="val 505"/>
                  <a:gd name="f797" fmla="val 147"/>
                  <a:gd name="f798" fmla="val 506"/>
                  <a:gd name="f799" fmla="val 149"/>
                  <a:gd name="f800" fmla="val 504"/>
                  <a:gd name="f801" fmla="val 154"/>
                  <a:gd name="f802" fmla="val 159"/>
                  <a:gd name="f803" fmla="val 497"/>
                  <a:gd name="f804" fmla="val 162"/>
                  <a:gd name="f805" fmla="val 493"/>
                  <a:gd name="f806" fmla="val 488"/>
                  <a:gd name="f807" fmla="val 163"/>
                  <a:gd name="f808" fmla="val 475"/>
                  <a:gd name="f809" fmla="val 167"/>
                  <a:gd name="f810" fmla="val 461"/>
                  <a:gd name="f811" fmla="val 174"/>
                  <a:gd name="f812" fmla="val 177"/>
                  <a:gd name="f813" fmla="val 436"/>
                  <a:gd name="f814" fmla="val 419"/>
                  <a:gd name="f815" fmla="val 414"/>
                  <a:gd name="f816" fmla="val 198"/>
                  <a:gd name="f817" fmla="val 395"/>
                  <a:gd name="f818" fmla="val 212"/>
                  <a:gd name="f819" fmla="val 387"/>
                  <a:gd name="f820" fmla="val 377"/>
                  <a:gd name="f821" fmla="val 248"/>
                  <a:gd name="f822" fmla="val 376"/>
                  <a:gd name="f823" fmla="val 254"/>
                  <a:gd name="f824" fmla="val 259"/>
                  <a:gd name="f825" fmla="val 389"/>
                  <a:gd name="f826" fmla="val 401"/>
                  <a:gd name="f827" fmla="val 267"/>
                  <a:gd name="f828" fmla="val 411"/>
                  <a:gd name="f829" fmla="val 271"/>
                  <a:gd name="f830" fmla="val 292"/>
                  <a:gd name="f831" fmla="val 310"/>
                  <a:gd name="f832" fmla="val 330"/>
                  <a:gd name="f833" fmla="val 348"/>
                  <a:gd name="f834" fmla="val 364"/>
                  <a:gd name="f835" fmla="val 368"/>
                  <a:gd name="f836" fmla="val 293"/>
                  <a:gd name="f837" fmla="val 305"/>
                  <a:gd name="f838" fmla="val 458"/>
                  <a:gd name="f839" fmla="val 316"/>
                  <a:gd name="f840" fmla="val 478"/>
                  <a:gd name="f841" fmla="val 485"/>
                  <a:gd name="f842" fmla="val 282"/>
                  <a:gd name="f843" fmla="val 511"/>
                  <a:gd name="f844" fmla="val 280"/>
                  <a:gd name="f845" fmla="val 521"/>
                  <a:gd name="f846" fmla="val 528"/>
                  <a:gd name="f847" fmla="val 532"/>
                  <a:gd name="f848" fmla="val 538"/>
                  <a:gd name="f849" fmla="val 251"/>
                  <a:gd name="f850" fmla="val 576"/>
                  <a:gd name="f851" fmla="val 242"/>
                  <a:gd name="f852" fmla="val 586"/>
                  <a:gd name="f853" fmla="val 593"/>
                  <a:gd name="f854" fmla="val 597"/>
                  <a:gd name="f855" fmla="val 600"/>
                  <a:gd name="f856" fmla="val 235"/>
                  <a:gd name="f857" fmla="val 603"/>
                  <a:gd name="f858" fmla="val 246"/>
                  <a:gd name="f859" fmla="val 621"/>
                  <a:gd name="f860" fmla="val 240"/>
                  <a:gd name="f861" fmla="val 712"/>
                  <a:gd name="f862" fmla="val 250"/>
                  <a:gd name="f863" fmla="val 257"/>
                  <a:gd name="f864" fmla="val 768"/>
                  <a:gd name="f865" fmla="val 781"/>
                  <a:gd name="f866" fmla="val 803"/>
                  <a:gd name="f867" fmla="val 810"/>
                  <a:gd name="f868" fmla="val 818"/>
                  <a:gd name="f869" fmla="val 214"/>
                  <a:gd name="f870" fmla="val 205"/>
                  <a:gd name="f871" fmla="val 187"/>
                  <a:gd name="f872" fmla="val 844"/>
                  <a:gd name="f873" fmla="val 854"/>
                  <a:gd name="f874" fmla="val 861"/>
                  <a:gd name="f875" fmla="val 135"/>
                  <a:gd name="f876" fmla="val 869"/>
                  <a:gd name="f877" fmla="val 868"/>
                  <a:gd name="f878" fmla="val 862"/>
                  <a:gd name="f879" fmla="val 840"/>
                  <a:gd name="f880" fmla="val 56"/>
                  <a:gd name="f881" fmla="val 29"/>
                  <a:gd name="f882" fmla="val 10"/>
                  <a:gd name="f883" fmla="val 847"/>
                  <a:gd name="f884" fmla="val 7"/>
                  <a:gd name="f885" fmla="val 872"/>
                  <a:gd name="f886" fmla="val 2"/>
                  <a:gd name="f887" fmla="val 883"/>
                  <a:gd name="f888" fmla="val 901"/>
                  <a:gd name="f889" fmla="val 912"/>
                  <a:gd name="f890" fmla="val 15"/>
                  <a:gd name="f891" fmla="val 948"/>
                  <a:gd name="f892" fmla="val 9"/>
                  <a:gd name="f893" fmla="val 967"/>
                  <a:gd name="f894" fmla="val 14"/>
                  <a:gd name="f895" fmla="val 983"/>
                  <a:gd name="f896" fmla="val 998"/>
                  <a:gd name="f897" fmla="val 3"/>
                  <a:gd name="f898" fmla="+- 0 0 -90"/>
                  <a:gd name="f899" fmla="*/ f3 1 1849"/>
                  <a:gd name="f900" fmla="*/ f4 1 1318"/>
                  <a:gd name="f901" fmla="+- f7 0 f5"/>
                  <a:gd name="f902" fmla="+- f6 0 f5"/>
                  <a:gd name="f903" fmla="*/ f898 f0 1"/>
                  <a:gd name="f904" fmla="*/ f902 1 1849"/>
                  <a:gd name="f905" fmla="*/ f901 1 1318"/>
                  <a:gd name="f906" fmla="*/ f903 1 f2"/>
                  <a:gd name="f907" fmla="*/ 1170 1 f904"/>
                  <a:gd name="f908" fmla="*/ 60 1 f905"/>
                  <a:gd name="f909" fmla="*/ 1224 1 f904"/>
                  <a:gd name="f910" fmla="*/ 157 1 f905"/>
                  <a:gd name="f911" fmla="*/ 1306 1 f904"/>
                  <a:gd name="f912" fmla="*/ 221 1 f905"/>
                  <a:gd name="f913" fmla="*/ 1432 1 f904"/>
                  <a:gd name="f914" fmla="*/ 291 1 f905"/>
                  <a:gd name="f915" fmla="*/ 1595 1 f904"/>
                  <a:gd name="f916" fmla="*/ 258 1 f905"/>
                  <a:gd name="f917" fmla="*/ 1657 1 f904"/>
                  <a:gd name="f918" fmla="*/ 194 1 f905"/>
                  <a:gd name="f919" fmla="*/ 1698 1 f904"/>
                  <a:gd name="f920" fmla="*/ 97 1 f905"/>
                  <a:gd name="f921" fmla="*/ 1788 1 f904"/>
                  <a:gd name="f922" fmla="*/ 136 1 f905"/>
                  <a:gd name="f923" fmla="*/ 1817 1 f904"/>
                  <a:gd name="f924" fmla="*/ 262 1 f905"/>
                  <a:gd name="f925" fmla="*/ 1800 1 f904"/>
                  <a:gd name="f926" fmla="*/ 404 1 f905"/>
                  <a:gd name="f927" fmla="*/ 1767 1 f904"/>
                  <a:gd name="f928" fmla="*/ 508 1 f905"/>
                  <a:gd name="f929" fmla="*/ 1813 1 f904"/>
                  <a:gd name="f930" fmla="*/ 605 1 f905"/>
                  <a:gd name="f931" fmla="*/ 1834 1 f904"/>
                  <a:gd name="f932" fmla="*/ 721 1 f905"/>
                  <a:gd name="f933" fmla="*/ 1771 1 f904"/>
                  <a:gd name="f934" fmla="*/ 742 1 f905"/>
                  <a:gd name="f935" fmla="*/ 1684 1 f904"/>
                  <a:gd name="f936" fmla="*/ 739 1 f905"/>
                  <a:gd name="f937" fmla="*/ 1608 1 f904"/>
                  <a:gd name="f938" fmla="*/ 662 1 f905"/>
                  <a:gd name="f939" fmla="*/ 1541 1 f904"/>
                  <a:gd name="f940" fmla="*/ 629 1 f905"/>
                  <a:gd name="f941" fmla="*/ 1458 1 f904"/>
                  <a:gd name="f942" fmla="*/ 702 1 f905"/>
                  <a:gd name="f943" fmla="*/ 1418 1 f904"/>
                  <a:gd name="f944" fmla="*/ 789 1 f905"/>
                  <a:gd name="f945" fmla="*/ 1412 1 f904"/>
                  <a:gd name="f946" fmla="*/ 885 1 f905"/>
                  <a:gd name="f947" fmla="*/ 1491 1 f904"/>
                  <a:gd name="f948" fmla="*/ 921 1 f905"/>
                  <a:gd name="f949" fmla="*/ 1528 1 f904"/>
                  <a:gd name="f950" fmla="*/ 974 1 f905"/>
                  <a:gd name="f951" fmla="*/ 1532 1 f904"/>
                  <a:gd name="f952" fmla="*/ 1128 1 f905"/>
                  <a:gd name="f953" fmla="*/ 1226 1 f905"/>
                  <a:gd name="f954" fmla="*/ 1160 1 f905"/>
                  <a:gd name="f955" fmla="*/ 1360 1 f904"/>
                  <a:gd name="f956" fmla="*/ 1035 1 f905"/>
                  <a:gd name="f957" fmla="*/ 1289 1 f904"/>
                  <a:gd name="f958" fmla="*/ 1004 1 f905"/>
                  <a:gd name="f959" fmla="*/ 1164 1 f904"/>
                  <a:gd name="f960" fmla="*/ 1045 1 f905"/>
                  <a:gd name="f961" fmla="*/ 1085 1 f904"/>
                  <a:gd name="f962" fmla="*/ 1095 1 f905"/>
                  <a:gd name="f963" fmla="*/ 1010 1 f904"/>
                  <a:gd name="f964" fmla="*/ 1133 1 f905"/>
                  <a:gd name="f965" fmla="*/ 873 1 f904"/>
                  <a:gd name="f966" fmla="*/ 1059 1 f905"/>
                  <a:gd name="f967" fmla="*/ 833 1 f904"/>
                  <a:gd name="f968" fmla="*/ 978 1 f905"/>
                  <a:gd name="f969" fmla="*/ 814 1 f904"/>
                  <a:gd name="f970" fmla="*/ 825 1 f905"/>
                  <a:gd name="f971" fmla="*/ 732 1 f904"/>
                  <a:gd name="f972" fmla="*/ 841 1 f905"/>
                  <a:gd name="f973" fmla="*/ 634 1 f904"/>
                  <a:gd name="f974" fmla="*/ 860 1 f905"/>
                  <a:gd name="f975" fmla="*/ 637 1 f904"/>
                  <a:gd name="f976" fmla="*/ 641 1 f904"/>
                  <a:gd name="f977" fmla="*/ 1113 1 f905"/>
                  <a:gd name="f978" fmla="*/ 589 1 f904"/>
                  <a:gd name="f979" fmla="*/ 1236 1 f905"/>
                  <a:gd name="f980" fmla="*/ 456 1 f904"/>
                  <a:gd name="f981" fmla="*/ 1253 1 f905"/>
                  <a:gd name="f982" fmla="*/ 416 1 f904"/>
                  <a:gd name="f983" fmla="*/ 448 1 f904"/>
                  <a:gd name="f984" fmla="*/ 1017 1 f905"/>
                  <a:gd name="f985" fmla="*/ 427 1 f904"/>
                  <a:gd name="f986" fmla="*/ 867 1 f905"/>
                  <a:gd name="f987" fmla="*/ 379 1 f904"/>
                  <a:gd name="f988" fmla="*/ 820 1 f905"/>
                  <a:gd name="f989" fmla="*/ 361 1 f904"/>
                  <a:gd name="f990" fmla="*/ 674 1 f905"/>
                  <a:gd name="f991" fmla="*/ 290 1 f904"/>
                  <a:gd name="f992" fmla="*/ 653 1 f905"/>
                  <a:gd name="f993" fmla="*/ 184 1 f904"/>
                  <a:gd name="f994" fmla="*/ 735 1 f905"/>
                  <a:gd name="f995" fmla="*/ 55 1 f904"/>
                  <a:gd name="f996" fmla="*/ 6 1 f904"/>
                  <a:gd name="f997" fmla="*/ 656 1 f905"/>
                  <a:gd name="f998" fmla="*/ 32 1 f904"/>
                  <a:gd name="f999" fmla="*/ 554 1 f905"/>
                  <a:gd name="f1000" fmla="*/ 120 1 f904"/>
                  <a:gd name="f1001" fmla="*/ 483 1 f905"/>
                  <a:gd name="f1002" fmla="*/ 167 1 f904"/>
                  <a:gd name="f1003" fmla="*/ 461 1 f905"/>
                  <a:gd name="f1004" fmla="*/ 254 1 f904"/>
                  <a:gd name="f1005" fmla="*/ 380 1 f905"/>
                  <a:gd name="f1006" fmla="*/ 375 1 f904"/>
                  <a:gd name="f1007" fmla="*/ 358 1 f905"/>
                  <a:gd name="f1008" fmla="*/ 478 1 f904"/>
                  <a:gd name="f1009" fmla="*/ 307 1 f905"/>
                  <a:gd name="f1010" fmla="*/ 586 1 f904"/>
                  <a:gd name="f1011" fmla="*/ 233 1 f905"/>
                  <a:gd name="f1012" fmla="*/ 687 1 f904"/>
                  <a:gd name="f1013" fmla="*/ 242 1 f905"/>
                  <a:gd name="f1014" fmla="*/ 819 1 f904"/>
                  <a:gd name="f1015" fmla="*/ 862 1 f904"/>
                  <a:gd name="f1016" fmla="*/ 101 1 f905"/>
                  <a:gd name="f1017" fmla="*/ 901 1 f904"/>
                  <a:gd name="f1018" fmla="*/ 11 1 f905"/>
                  <a:gd name="f1019" fmla="*/ 0 1 f904"/>
                  <a:gd name="f1020" fmla="*/ f6 1 f904"/>
                  <a:gd name="f1021" fmla="*/ 0 1 f905"/>
                  <a:gd name="f1022" fmla="*/ f7 1 f905"/>
                  <a:gd name="f1023" fmla="+- f906 0 f1"/>
                  <a:gd name="f1024" fmla="*/ f1019 f899 1"/>
                  <a:gd name="f1025" fmla="*/ f1020 f899 1"/>
                  <a:gd name="f1026" fmla="*/ f1022 f900 1"/>
                  <a:gd name="f1027" fmla="*/ f1021 f900 1"/>
                  <a:gd name="f1028" fmla="*/ f907 f899 1"/>
                  <a:gd name="f1029" fmla="*/ f908 f900 1"/>
                  <a:gd name="f1030" fmla="*/ f909 f899 1"/>
                  <a:gd name="f1031" fmla="*/ f910 f900 1"/>
                  <a:gd name="f1032" fmla="*/ f911 f899 1"/>
                  <a:gd name="f1033" fmla="*/ f912 f900 1"/>
                  <a:gd name="f1034" fmla="*/ f913 f899 1"/>
                  <a:gd name="f1035" fmla="*/ f914 f900 1"/>
                  <a:gd name="f1036" fmla="*/ f915 f899 1"/>
                  <a:gd name="f1037" fmla="*/ f916 f900 1"/>
                  <a:gd name="f1038" fmla="*/ f917 f899 1"/>
                  <a:gd name="f1039" fmla="*/ f918 f900 1"/>
                  <a:gd name="f1040" fmla="*/ f919 f899 1"/>
                  <a:gd name="f1041" fmla="*/ f920 f900 1"/>
                  <a:gd name="f1042" fmla="*/ f921 f899 1"/>
                  <a:gd name="f1043" fmla="*/ f922 f900 1"/>
                  <a:gd name="f1044" fmla="*/ f923 f899 1"/>
                  <a:gd name="f1045" fmla="*/ f924 f900 1"/>
                  <a:gd name="f1046" fmla="*/ f925 f899 1"/>
                  <a:gd name="f1047" fmla="*/ f926 f900 1"/>
                  <a:gd name="f1048" fmla="*/ f927 f899 1"/>
                  <a:gd name="f1049" fmla="*/ f928 f900 1"/>
                  <a:gd name="f1050" fmla="*/ f929 f899 1"/>
                  <a:gd name="f1051" fmla="*/ f930 f900 1"/>
                  <a:gd name="f1052" fmla="*/ f931 f899 1"/>
                  <a:gd name="f1053" fmla="*/ f932 f900 1"/>
                  <a:gd name="f1054" fmla="*/ f933 f899 1"/>
                  <a:gd name="f1055" fmla="*/ f934 f900 1"/>
                  <a:gd name="f1056" fmla="*/ f935 f899 1"/>
                  <a:gd name="f1057" fmla="*/ f936 f900 1"/>
                  <a:gd name="f1058" fmla="*/ f937 f899 1"/>
                  <a:gd name="f1059" fmla="*/ f938 f900 1"/>
                  <a:gd name="f1060" fmla="*/ f939 f899 1"/>
                  <a:gd name="f1061" fmla="*/ f940 f900 1"/>
                  <a:gd name="f1062" fmla="*/ f941 f899 1"/>
                  <a:gd name="f1063" fmla="*/ f942 f900 1"/>
                  <a:gd name="f1064" fmla="*/ f943 f899 1"/>
                  <a:gd name="f1065" fmla="*/ f944 f900 1"/>
                  <a:gd name="f1066" fmla="*/ f945 f899 1"/>
                  <a:gd name="f1067" fmla="*/ f946 f900 1"/>
                  <a:gd name="f1068" fmla="*/ f947 f899 1"/>
                  <a:gd name="f1069" fmla="*/ f948 f900 1"/>
                  <a:gd name="f1070" fmla="*/ f949 f899 1"/>
                  <a:gd name="f1071" fmla="*/ f950 f900 1"/>
                  <a:gd name="f1072" fmla="*/ f951 f899 1"/>
                  <a:gd name="f1073" fmla="*/ f952 f900 1"/>
                  <a:gd name="f1074" fmla="*/ f953 f900 1"/>
                  <a:gd name="f1075" fmla="*/ f954 f900 1"/>
                  <a:gd name="f1076" fmla="*/ f955 f899 1"/>
                  <a:gd name="f1077" fmla="*/ f956 f900 1"/>
                  <a:gd name="f1078" fmla="*/ f957 f899 1"/>
                  <a:gd name="f1079" fmla="*/ f958 f900 1"/>
                  <a:gd name="f1080" fmla="*/ f959 f899 1"/>
                  <a:gd name="f1081" fmla="*/ f960 f900 1"/>
                  <a:gd name="f1082" fmla="*/ f961 f899 1"/>
                  <a:gd name="f1083" fmla="*/ f962 f900 1"/>
                  <a:gd name="f1084" fmla="*/ f963 f899 1"/>
                  <a:gd name="f1085" fmla="*/ f964 f900 1"/>
                  <a:gd name="f1086" fmla="*/ f965 f899 1"/>
                  <a:gd name="f1087" fmla="*/ f966 f900 1"/>
                  <a:gd name="f1088" fmla="*/ f967 f899 1"/>
                  <a:gd name="f1089" fmla="*/ f968 f900 1"/>
                  <a:gd name="f1090" fmla="*/ f969 f899 1"/>
                  <a:gd name="f1091" fmla="*/ f970 f900 1"/>
                  <a:gd name="f1092" fmla="*/ f971 f899 1"/>
                  <a:gd name="f1093" fmla="*/ f972 f900 1"/>
                  <a:gd name="f1094" fmla="*/ f973 f899 1"/>
                  <a:gd name="f1095" fmla="*/ f974 f900 1"/>
                  <a:gd name="f1096" fmla="*/ f975 f899 1"/>
                  <a:gd name="f1097" fmla="*/ f976 f899 1"/>
                  <a:gd name="f1098" fmla="*/ f977 f900 1"/>
                  <a:gd name="f1099" fmla="*/ f978 f899 1"/>
                  <a:gd name="f1100" fmla="*/ f979 f900 1"/>
                  <a:gd name="f1101" fmla="*/ f980 f899 1"/>
                  <a:gd name="f1102" fmla="*/ f981 f900 1"/>
                  <a:gd name="f1103" fmla="*/ f982 f899 1"/>
                  <a:gd name="f1104" fmla="*/ f983 f899 1"/>
                  <a:gd name="f1105" fmla="*/ f984 f900 1"/>
                  <a:gd name="f1106" fmla="*/ f985 f899 1"/>
                  <a:gd name="f1107" fmla="*/ f986 f900 1"/>
                  <a:gd name="f1108" fmla="*/ f987 f899 1"/>
                  <a:gd name="f1109" fmla="*/ f988 f900 1"/>
                  <a:gd name="f1110" fmla="*/ f989 f899 1"/>
                  <a:gd name="f1111" fmla="*/ f990 f900 1"/>
                  <a:gd name="f1112" fmla="*/ f991 f899 1"/>
                  <a:gd name="f1113" fmla="*/ f992 f900 1"/>
                  <a:gd name="f1114" fmla="*/ f993 f899 1"/>
                  <a:gd name="f1115" fmla="*/ f994 f900 1"/>
                  <a:gd name="f1116" fmla="*/ f995 f899 1"/>
                  <a:gd name="f1117" fmla="*/ f996 f899 1"/>
                  <a:gd name="f1118" fmla="*/ f997 f900 1"/>
                  <a:gd name="f1119" fmla="*/ f998 f899 1"/>
                  <a:gd name="f1120" fmla="*/ f999 f900 1"/>
                  <a:gd name="f1121" fmla="*/ f1000 f899 1"/>
                  <a:gd name="f1122" fmla="*/ f1001 f900 1"/>
                  <a:gd name="f1123" fmla="*/ f1002 f899 1"/>
                  <a:gd name="f1124" fmla="*/ f1003 f900 1"/>
                  <a:gd name="f1125" fmla="*/ f1004 f899 1"/>
                  <a:gd name="f1126" fmla="*/ f1005 f900 1"/>
                  <a:gd name="f1127" fmla="*/ f1006 f899 1"/>
                  <a:gd name="f1128" fmla="*/ f1007 f900 1"/>
                  <a:gd name="f1129" fmla="*/ f1008 f899 1"/>
                  <a:gd name="f1130" fmla="*/ f1009 f900 1"/>
                  <a:gd name="f1131" fmla="*/ f1010 f899 1"/>
                  <a:gd name="f1132" fmla="*/ f1011 f900 1"/>
                  <a:gd name="f1133" fmla="*/ f1012 f899 1"/>
                  <a:gd name="f1134" fmla="*/ f1013 f900 1"/>
                  <a:gd name="f1135" fmla="*/ f1014 f899 1"/>
                  <a:gd name="f1136" fmla="*/ f1015 f899 1"/>
                  <a:gd name="f1137" fmla="*/ f1016 f900 1"/>
                  <a:gd name="f1138" fmla="*/ f1017 f899 1"/>
                  <a:gd name="f1139" fmla="*/ f1018 f90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023">
                    <a:pos x="f1028" y="f1029"/>
                  </a:cxn>
                  <a:cxn ang="f1023">
                    <a:pos x="f1030" y="f1031"/>
                  </a:cxn>
                  <a:cxn ang="f1023">
                    <a:pos x="f1032" y="f1033"/>
                  </a:cxn>
                  <a:cxn ang="f1023">
                    <a:pos x="f1034" y="f1035"/>
                  </a:cxn>
                  <a:cxn ang="f1023">
                    <a:pos x="f1036" y="f1037"/>
                  </a:cxn>
                  <a:cxn ang="f1023">
                    <a:pos x="f1038" y="f1039"/>
                  </a:cxn>
                  <a:cxn ang="f1023">
                    <a:pos x="f1040" y="f1041"/>
                  </a:cxn>
                  <a:cxn ang="f1023">
                    <a:pos x="f1042" y="f1043"/>
                  </a:cxn>
                  <a:cxn ang="f1023">
                    <a:pos x="f1044" y="f1045"/>
                  </a:cxn>
                  <a:cxn ang="f1023">
                    <a:pos x="f1046" y="f1047"/>
                  </a:cxn>
                  <a:cxn ang="f1023">
                    <a:pos x="f1048" y="f1049"/>
                  </a:cxn>
                  <a:cxn ang="f1023">
                    <a:pos x="f1050" y="f1051"/>
                  </a:cxn>
                  <a:cxn ang="f1023">
                    <a:pos x="f1052" y="f1053"/>
                  </a:cxn>
                  <a:cxn ang="f1023">
                    <a:pos x="f1054" y="f1055"/>
                  </a:cxn>
                  <a:cxn ang="f1023">
                    <a:pos x="f1056" y="f1057"/>
                  </a:cxn>
                  <a:cxn ang="f1023">
                    <a:pos x="f1058" y="f1059"/>
                  </a:cxn>
                  <a:cxn ang="f1023">
                    <a:pos x="f1060" y="f1061"/>
                  </a:cxn>
                  <a:cxn ang="f1023">
                    <a:pos x="f1062" y="f1063"/>
                  </a:cxn>
                  <a:cxn ang="f1023">
                    <a:pos x="f1064" y="f1065"/>
                  </a:cxn>
                  <a:cxn ang="f1023">
                    <a:pos x="f1066" y="f1067"/>
                  </a:cxn>
                  <a:cxn ang="f1023">
                    <a:pos x="f1068" y="f1069"/>
                  </a:cxn>
                  <a:cxn ang="f1023">
                    <a:pos x="f1070" y="f1071"/>
                  </a:cxn>
                  <a:cxn ang="f1023">
                    <a:pos x="f1072" y="f1073"/>
                  </a:cxn>
                  <a:cxn ang="f1023">
                    <a:pos x="f1062" y="f1074"/>
                  </a:cxn>
                  <a:cxn ang="f1023">
                    <a:pos x="f1066" y="f1075"/>
                  </a:cxn>
                  <a:cxn ang="f1023">
                    <a:pos x="f1076" y="f1077"/>
                  </a:cxn>
                  <a:cxn ang="f1023">
                    <a:pos x="f1078" y="f1079"/>
                  </a:cxn>
                  <a:cxn ang="f1023">
                    <a:pos x="f1080" y="f1081"/>
                  </a:cxn>
                  <a:cxn ang="f1023">
                    <a:pos x="f1082" y="f1083"/>
                  </a:cxn>
                  <a:cxn ang="f1023">
                    <a:pos x="f1084" y="f1085"/>
                  </a:cxn>
                  <a:cxn ang="f1023">
                    <a:pos x="f1086" y="f1087"/>
                  </a:cxn>
                  <a:cxn ang="f1023">
                    <a:pos x="f1088" y="f1089"/>
                  </a:cxn>
                  <a:cxn ang="f1023">
                    <a:pos x="f1090" y="f1091"/>
                  </a:cxn>
                  <a:cxn ang="f1023">
                    <a:pos x="f1092" y="f1093"/>
                  </a:cxn>
                  <a:cxn ang="f1023">
                    <a:pos x="f1094" y="f1095"/>
                  </a:cxn>
                  <a:cxn ang="f1023">
                    <a:pos x="f1096" y="f1071"/>
                  </a:cxn>
                  <a:cxn ang="f1023">
                    <a:pos x="f1097" y="f1098"/>
                  </a:cxn>
                  <a:cxn ang="f1023">
                    <a:pos x="f1099" y="f1100"/>
                  </a:cxn>
                  <a:cxn ang="f1023">
                    <a:pos x="f1101" y="f1102"/>
                  </a:cxn>
                  <a:cxn ang="f1023">
                    <a:pos x="f1103" y="f1073"/>
                  </a:cxn>
                  <a:cxn ang="f1023">
                    <a:pos x="f1104" y="f1105"/>
                  </a:cxn>
                  <a:cxn ang="f1023">
                    <a:pos x="f1106" y="f1107"/>
                  </a:cxn>
                  <a:cxn ang="f1023">
                    <a:pos x="f1108" y="f1109"/>
                  </a:cxn>
                  <a:cxn ang="f1023">
                    <a:pos x="f1110" y="f1111"/>
                  </a:cxn>
                  <a:cxn ang="f1023">
                    <a:pos x="f1112" y="f1113"/>
                  </a:cxn>
                  <a:cxn ang="f1023">
                    <a:pos x="f1114" y="f1115"/>
                  </a:cxn>
                  <a:cxn ang="f1023">
                    <a:pos x="f1116" y="f1115"/>
                  </a:cxn>
                  <a:cxn ang="f1023">
                    <a:pos x="f1117" y="f1118"/>
                  </a:cxn>
                  <a:cxn ang="f1023">
                    <a:pos x="f1119" y="f1120"/>
                  </a:cxn>
                  <a:cxn ang="f1023">
                    <a:pos x="f1121" y="f1122"/>
                  </a:cxn>
                  <a:cxn ang="f1023">
                    <a:pos x="f1123" y="f1124"/>
                  </a:cxn>
                  <a:cxn ang="f1023">
                    <a:pos x="f1125" y="f1126"/>
                  </a:cxn>
                  <a:cxn ang="f1023">
                    <a:pos x="f1127" y="f1128"/>
                  </a:cxn>
                  <a:cxn ang="f1023">
                    <a:pos x="f1129" y="f1130"/>
                  </a:cxn>
                  <a:cxn ang="f1023">
                    <a:pos x="f1131" y="f1132"/>
                  </a:cxn>
                  <a:cxn ang="f1023">
                    <a:pos x="f1133" y="f1134"/>
                  </a:cxn>
                  <a:cxn ang="f1023">
                    <a:pos x="f1135" y="f1132"/>
                  </a:cxn>
                  <a:cxn ang="f1023">
                    <a:pos x="f1136" y="f1137"/>
                  </a:cxn>
                  <a:cxn ang="f1023">
                    <a:pos x="f1138" y="f1139"/>
                  </a:cxn>
                </a:cxnLst>
                <a:rect l="f1024" t="f1027" r="f1025" b="f1026"/>
                <a:pathLst>
                  <a:path w="1849" h="1318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0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1"/>
                    </a:lnTo>
                    <a:lnTo>
                      <a:pt x="f35" y="f31"/>
                    </a:lnTo>
                    <a:lnTo>
                      <a:pt x="f36" y="f33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37" y="f47"/>
                    </a:lnTo>
                    <a:lnTo>
                      <a:pt x="f48" y="f49"/>
                    </a:lnTo>
                    <a:lnTo>
                      <a:pt x="f50" y="f51"/>
                    </a:lnTo>
                    <a:lnTo>
                      <a:pt x="f48" y="f52"/>
                    </a:lnTo>
                    <a:lnTo>
                      <a:pt x="f53" y="f54"/>
                    </a:lnTo>
                    <a:lnTo>
                      <a:pt x="f43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65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65"/>
                    </a:lnTo>
                    <a:lnTo>
                      <a:pt x="f74" y="f75"/>
                    </a:lnTo>
                    <a:lnTo>
                      <a:pt x="f76" y="f77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87"/>
                    </a:lnTo>
                    <a:lnTo>
                      <a:pt x="f109" y="f110"/>
                    </a:lnTo>
                    <a:lnTo>
                      <a:pt x="f111" y="f112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7" y="f83"/>
                    </a:lnTo>
                    <a:lnTo>
                      <a:pt x="f118" y="f119"/>
                    </a:lnTo>
                    <a:lnTo>
                      <a:pt x="f120" y="f70"/>
                    </a:lnTo>
                    <a:lnTo>
                      <a:pt x="f121" y="f122"/>
                    </a:lnTo>
                    <a:lnTo>
                      <a:pt x="f121" y="f123"/>
                    </a:lnTo>
                    <a:lnTo>
                      <a:pt x="f124" y="f57"/>
                    </a:lnTo>
                    <a:lnTo>
                      <a:pt x="f125" y="f55"/>
                    </a:lnTo>
                    <a:lnTo>
                      <a:pt x="f126" y="f55"/>
                    </a:ln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lnTo>
                      <a:pt x="f133" y="f132"/>
                    </a:lnTo>
                    <a:lnTo>
                      <a:pt x="f134" y="f130"/>
                    </a:lnTo>
                    <a:lnTo>
                      <a:pt x="f135" y="f5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33" y="f142"/>
                    </a:lnTo>
                    <a:lnTo>
                      <a:pt x="f136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40"/>
                    </a:lnTo>
                    <a:lnTo>
                      <a:pt x="f155" y="f156"/>
                    </a:lnTo>
                    <a:lnTo>
                      <a:pt x="f157" y="f156"/>
                    </a:lnTo>
                    <a:lnTo>
                      <a:pt x="f158" y="f159"/>
                    </a:lnTo>
                    <a:lnTo>
                      <a:pt x="f160" y="f161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6" y="f167"/>
                    </a:lnTo>
                    <a:lnTo>
                      <a:pt x="f168" y="f44"/>
                    </a:lnTo>
                    <a:lnTo>
                      <a:pt x="f169" y="f170"/>
                    </a:lnTo>
                    <a:lnTo>
                      <a:pt x="f171" y="f149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45"/>
                    </a:lnTo>
                    <a:lnTo>
                      <a:pt x="f177" y="f49"/>
                    </a:lnTo>
                    <a:lnTo>
                      <a:pt x="f178" y="f179"/>
                    </a:lnTo>
                    <a:lnTo>
                      <a:pt x="f180" y="f142"/>
                    </a:lnTo>
                    <a:lnTo>
                      <a:pt x="f181" y="f51"/>
                    </a:lnTo>
                    <a:lnTo>
                      <a:pt x="f182" y="f183"/>
                    </a:lnTo>
                    <a:lnTo>
                      <a:pt x="f184" y="f128"/>
                    </a:lnTo>
                    <a:lnTo>
                      <a:pt x="f185" y="f122"/>
                    </a:lnTo>
                    <a:lnTo>
                      <a:pt x="f186" y="f75"/>
                    </a:lnTo>
                    <a:lnTo>
                      <a:pt x="f187" y="f188"/>
                    </a:lnTo>
                    <a:lnTo>
                      <a:pt x="f186" y="f85"/>
                    </a:lnTo>
                    <a:lnTo>
                      <a:pt x="f178" y="f189"/>
                    </a:lnTo>
                    <a:lnTo>
                      <a:pt x="f178" y="f190"/>
                    </a:lnTo>
                    <a:lnTo>
                      <a:pt x="f186" y="f191"/>
                    </a:lnTo>
                    <a:lnTo>
                      <a:pt x="f192" y="f193"/>
                    </a:lnTo>
                    <a:lnTo>
                      <a:pt x="f194" y="f195"/>
                    </a:lnTo>
                    <a:lnTo>
                      <a:pt x="f196" y="f197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200" y="f202"/>
                    </a:lnTo>
                    <a:lnTo>
                      <a:pt x="f203" y="f204"/>
                    </a:lnTo>
                    <a:lnTo>
                      <a:pt x="f205" y="f206"/>
                    </a:lnTo>
                    <a:lnTo>
                      <a:pt x="f196" y="f207"/>
                    </a:lnTo>
                    <a:lnTo>
                      <a:pt x="f208" y="f209"/>
                    </a:lnTo>
                    <a:lnTo>
                      <a:pt x="f210" y="f211"/>
                    </a:lnTo>
                    <a:lnTo>
                      <a:pt x="f208" y="f212"/>
                    </a:lnTo>
                    <a:lnTo>
                      <a:pt x="f213" y="f214"/>
                    </a:lnTo>
                    <a:lnTo>
                      <a:pt x="f215" y="f216"/>
                    </a:lnTo>
                    <a:lnTo>
                      <a:pt x="f168" y="f217"/>
                    </a:lnTo>
                    <a:lnTo>
                      <a:pt x="f218" y="f219"/>
                    </a:lnTo>
                    <a:lnTo>
                      <a:pt x="f220" y="f221"/>
                    </a:lnTo>
                    <a:lnTo>
                      <a:pt x="f222" y="f223"/>
                    </a:lnTo>
                    <a:lnTo>
                      <a:pt x="f224" y="f225"/>
                    </a:lnTo>
                    <a:lnTo>
                      <a:pt x="f224" y="f226"/>
                    </a:lnTo>
                    <a:lnTo>
                      <a:pt x="f218" y="f227"/>
                    </a:lnTo>
                    <a:lnTo>
                      <a:pt x="f228" y="f229"/>
                    </a:lnTo>
                    <a:lnTo>
                      <a:pt x="f230" y="f231"/>
                    </a:lnTo>
                    <a:lnTo>
                      <a:pt x="f232" y="f233"/>
                    </a:lnTo>
                    <a:lnTo>
                      <a:pt x="f234" y="f235"/>
                    </a:lnTo>
                    <a:lnTo>
                      <a:pt x="f232" y="f236"/>
                    </a:lnTo>
                    <a:lnTo>
                      <a:pt x="f162" y="f237"/>
                    </a:lnTo>
                    <a:lnTo>
                      <a:pt x="f238" y="f239"/>
                    </a:lnTo>
                    <a:lnTo>
                      <a:pt x="f218" y="f240"/>
                    </a:lnTo>
                    <a:lnTo>
                      <a:pt x="f241" y="f242"/>
                    </a:lnTo>
                    <a:lnTo>
                      <a:pt x="f243" y="f242"/>
                    </a:lnTo>
                    <a:lnTo>
                      <a:pt x="f203" y="f244"/>
                    </a:lnTo>
                    <a:lnTo>
                      <a:pt x="f192" y="f244"/>
                    </a:lnTo>
                    <a:lnTo>
                      <a:pt x="f245" y="f246"/>
                    </a:lnTo>
                    <a:lnTo>
                      <a:pt x="f184" y="f247"/>
                    </a:lnTo>
                    <a:lnTo>
                      <a:pt x="f248" y="f249"/>
                    </a:lnTo>
                    <a:lnTo>
                      <a:pt x="f250" y="f251"/>
                    </a:lnTo>
                    <a:lnTo>
                      <a:pt x="f252" y="f253"/>
                    </a:lnTo>
                    <a:lnTo>
                      <a:pt x="f254" y="f255"/>
                    </a:lnTo>
                    <a:lnTo>
                      <a:pt x="f6" y="f256"/>
                    </a:lnTo>
                    <a:lnTo>
                      <a:pt x="f6" y="f257"/>
                    </a:lnTo>
                    <a:lnTo>
                      <a:pt x="f258" y="f259"/>
                    </a:lnTo>
                    <a:lnTo>
                      <a:pt x="f260" y="f261"/>
                    </a:lnTo>
                    <a:lnTo>
                      <a:pt x="f262" y="f263"/>
                    </a:lnTo>
                    <a:lnTo>
                      <a:pt x="f264" y="f265"/>
                    </a:lnTo>
                    <a:lnTo>
                      <a:pt x="f184" y="f266"/>
                    </a:lnTo>
                    <a:lnTo>
                      <a:pt x="f267" y="f268"/>
                    </a:lnTo>
                    <a:lnTo>
                      <a:pt x="f178" y="f269"/>
                    </a:lnTo>
                    <a:lnTo>
                      <a:pt x="f187" y="f270"/>
                    </a:lnTo>
                    <a:lnTo>
                      <a:pt x="f271" y="f272"/>
                    </a:lnTo>
                    <a:lnTo>
                      <a:pt x="f273" y="f274"/>
                    </a:lnTo>
                    <a:lnTo>
                      <a:pt x="f205" y="f275"/>
                    </a:lnTo>
                    <a:lnTo>
                      <a:pt x="f172" y="f276"/>
                    </a:lnTo>
                    <a:lnTo>
                      <a:pt x="f277" y="f278"/>
                    </a:lnTo>
                    <a:lnTo>
                      <a:pt x="f243" y="f266"/>
                    </a:lnTo>
                    <a:lnTo>
                      <a:pt x="f168" y="f279"/>
                    </a:lnTo>
                    <a:lnTo>
                      <a:pt x="f224" y="f275"/>
                    </a:lnTo>
                    <a:lnTo>
                      <a:pt x="f222" y="f280"/>
                    </a:lnTo>
                    <a:lnTo>
                      <a:pt x="f281" y="f275"/>
                    </a:lnTo>
                    <a:lnTo>
                      <a:pt x="f232" y="f266"/>
                    </a:lnTo>
                    <a:lnTo>
                      <a:pt x="f282" y="f283"/>
                    </a:lnTo>
                    <a:lnTo>
                      <a:pt x="f158" y="f284"/>
                    </a:lnTo>
                    <a:lnTo>
                      <a:pt x="f285" y="f283"/>
                    </a:lnTo>
                    <a:lnTo>
                      <a:pt x="f157" y="f276"/>
                    </a:lnTo>
                    <a:lnTo>
                      <a:pt x="f286" y="f280"/>
                    </a:lnTo>
                    <a:lnTo>
                      <a:pt x="f287" y="f268"/>
                    </a:lnTo>
                    <a:lnTo>
                      <a:pt x="f288" y="f289"/>
                    </a:lnTo>
                    <a:lnTo>
                      <a:pt x="f290" y="f275"/>
                    </a:lnTo>
                    <a:lnTo>
                      <a:pt x="f291" y="f279"/>
                    </a:lnTo>
                    <a:lnTo>
                      <a:pt x="f292" y="f276"/>
                    </a:lnTo>
                    <a:lnTo>
                      <a:pt x="f293" y="f278"/>
                    </a:lnTo>
                    <a:lnTo>
                      <a:pt x="f135" y="f294"/>
                    </a:lnTo>
                    <a:lnTo>
                      <a:pt x="f295" y="f296"/>
                    </a:lnTo>
                    <a:lnTo>
                      <a:pt x="f297" y="f298"/>
                    </a:lnTo>
                    <a:lnTo>
                      <a:pt x="f299" y="f300"/>
                    </a:lnTo>
                    <a:lnTo>
                      <a:pt x="f301" y="f300"/>
                    </a:lnTo>
                    <a:lnTo>
                      <a:pt x="f127" y="f302"/>
                    </a:lnTo>
                    <a:lnTo>
                      <a:pt x="f303" y="f261"/>
                    </a:lnTo>
                    <a:lnTo>
                      <a:pt x="f304" y="f305"/>
                    </a:lnTo>
                    <a:lnTo>
                      <a:pt x="f306" y="f307"/>
                    </a:lnTo>
                    <a:lnTo>
                      <a:pt x="f308" y="f309"/>
                    </a:lnTo>
                    <a:lnTo>
                      <a:pt x="f126" y="f310"/>
                    </a:lnTo>
                    <a:lnTo>
                      <a:pt x="f311" y="f251"/>
                    </a:lnTo>
                    <a:lnTo>
                      <a:pt x="f312" y="f249"/>
                    </a:lnTo>
                    <a:lnTo>
                      <a:pt x="f115" y="f313"/>
                    </a:lnTo>
                    <a:lnTo>
                      <a:pt x="f121" y="f314"/>
                    </a:lnTo>
                    <a:lnTo>
                      <a:pt x="f315" y="f316"/>
                    </a:lnTo>
                    <a:lnTo>
                      <a:pt x="f317" y="f318"/>
                    </a:lnTo>
                    <a:lnTo>
                      <a:pt x="f319" y="f320"/>
                    </a:lnTo>
                    <a:lnTo>
                      <a:pt x="f321" y="f320"/>
                    </a:lnTo>
                    <a:lnTo>
                      <a:pt x="f322" y="f323"/>
                    </a:lnTo>
                    <a:lnTo>
                      <a:pt x="f324" y="f316"/>
                    </a:lnTo>
                    <a:lnTo>
                      <a:pt x="f325" y="f326"/>
                    </a:lnTo>
                    <a:lnTo>
                      <a:pt x="f327" y="f326"/>
                    </a:lnTo>
                    <a:lnTo>
                      <a:pt x="f328" y="f316"/>
                    </a:lnTo>
                    <a:lnTo>
                      <a:pt x="f329" y="f323"/>
                    </a:lnTo>
                    <a:lnTo>
                      <a:pt x="f330" y="f253"/>
                    </a:lnTo>
                    <a:lnTo>
                      <a:pt x="f331" y="f332"/>
                    </a:lnTo>
                    <a:lnTo>
                      <a:pt x="f333" y="f334"/>
                    </a:lnTo>
                    <a:lnTo>
                      <a:pt x="f335" y="f336"/>
                    </a:lnTo>
                    <a:lnTo>
                      <a:pt x="f98" y="f337"/>
                    </a:lnTo>
                    <a:lnTo>
                      <a:pt x="f338" y="f339"/>
                    </a:lnTo>
                    <a:lnTo>
                      <a:pt x="f340" y="f341"/>
                    </a:lnTo>
                    <a:lnTo>
                      <a:pt x="f342" y="f343"/>
                    </a:lnTo>
                    <a:lnTo>
                      <a:pt x="f344" y="f298"/>
                    </a:lnTo>
                    <a:lnTo>
                      <a:pt x="f345" y="f346"/>
                    </a:lnTo>
                    <a:lnTo>
                      <a:pt x="f96" y="f347"/>
                    </a:lnTo>
                    <a:lnTo>
                      <a:pt x="f348" y="f349"/>
                    </a:lnTo>
                    <a:lnTo>
                      <a:pt x="f348" y="f350"/>
                    </a:lnTo>
                    <a:lnTo>
                      <a:pt x="f351" y="f294"/>
                    </a:lnTo>
                    <a:lnTo>
                      <a:pt x="f352" y="f266"/>
                    </a:lnTo>
                    <a:lnTo>
                      <a:pt x="f353" y="f280"/>
                    </a:lnTo>
                    <a:lnTo>
                      <a:pt x="f90" y="f354"/>
                    </a:lnTo>
                    <a:lnTo>
                      <a:pt x="f355" y="f356"/>
                    </a:lnTo>
                    <a:lnTo>
                      <a:pt x="f88" y="f357"/>
                    </a:lnTo>
                    <a:lnTo>
                      <a:pt x="f358" y="f359"/>
                    </a:lnTo>
                    <a:lnTo>
                      <a:pt x="f360" y="f361"/>
                    </a:lnTo>
                    <a:lnTo>
                      <a:pt x="f358" y="f362"/>
                    </a:lnTo>
                    <a:lnTo>
                      <a:pt x="f363" y="f364"/>
                    </a:lnTo>
                    <a:lnTo>
                      <a:pt x="f86" y="f365"/>
                    </a:lnTo>
                    <a:lnTo>
                      <a:pt x="f366" y="f367"/>
                    </a:lnTo>
                    <a:lnTo>
                      <a:pt x="f86" y="f368"/>
                    </a:lnTo>
                    <a:lnTo>
                      <a:pt x="f363" y="f369"/>
                    </a:lnTo>
                    <a:lnTo>
                      <a:pt x="f358" y="f370"/>
                    </a:lnTo>
                    <a:lnTo>
                      <a:pt x="f371" y="f372"/>
                    </a:lnTo>
                    <a:lnTo>
                      <a:pt x="f373" y="f374"/>
                    </a:lnTo>
                    <a:lnTo>
                      <a:pt x="f90" y="f375"/>
                    </a:lnTo>
                    <a:lnTo>
                      <a:pt x="f360" y="f376"/>
                    </a:lnTo>
                    <a:lnTo>
                      <a:pt x="f363" y="f377"/>
                    </a:lnTo>
                    <a:lnTo>
                      <a:pt x="f86" y="f378"/>
                    </a:lnTo>
                    <a:lnTo>
                      <a:pt x="f366" y="f379"/>
                    </a:lnTo>
                    <a:lnTo>
                      <a:pt x="f380" y="f381"/>
                    </a:lnTo>
                    <a:lnTo>
                      <a:pt x="f355" y="f382"/>
                    </a:lnTo>
                    <a:lnTo>
                      <a:pt x="f383" y="f384"/>
                    </a:lnTo>
                    <a:lnTo>
                      <a:pt x="f385" y="f386"/>
                    </a:lnTo>
                    <a:lnTo>
                      <a:pt x="f348" y="f387"/>
                    </a:lnTo>
                    <a:lnTo>
                      <a:pt x="f388" y="f389"/>
                    </a:lnTo>
                    <a:lnTo>
                      <a:pt x="f390" y="f389"/>
                    </a:lnTo>
                    <a:lnTo>
                      <a:pt x="f98" y="f391"/>
                    </a:lnTo>
                    <a:lnTo>
                      <a:pt x="f392" y="f386"/>
                    </a:lnTo>
                    <a:lnTo>
                      <a:pt x="f393" y="f394"/>
                    </a:lnTo>
                    <a:lnTo>
                      <a:pt x="f395" y="f396"/>
                    </a:lnTo>
                    <a:lnTo>
                      <a:pt x="f102" y="f397"/>
                    </a:lnTo>
                    <a:lnTo>
                      <a:pt x="f398" y="f387"/>
                    </a:lnTo>
                    <a:lnTo>
                      <a:pt x="f330" y="f389"/>
                    </a:lnTo>
                    <a:lnTo>
                      <a:pt x="f399" y="f400"/>
                    </a:lnTo>
                    <a:lnTo>
                      <a:pt x="f401" y="f402"/>
                    </a:lnTo>
                    <a:lnTo>
                      <a:pt x="f403" y="f404"/>
                    </a:lnTo>
                    <a:lnTo>
                      <a:pt x="f329" y="f404"/>
                    </a:lnTo>
                    <a:lnTo>
                      <a:pt x="f405" y="f406"/>
                    </a:lnTo>
                    <a:lnTo>
                      <a:pt x="f407" y="f408"/>
                    </a:lnTo>
                    <a:lnTo>
                      <a:pt x="f409" y="f410"/>
                    </a:lnTo>
                    <a:lnTo>
                      <a:pt x="f411" y="f412"/>
                    </a:lnTo>
                    <a:lnTo>
                      <a:pt x="f413" y="f414"/>
                    </a:lnTo>
                    <a:lnTo>
                      <a:pt x="f415" y="f416"/>
                    </a:lnTo>
                    <a:lnTo>
                      <a:pt x="f417" y="f418"/>
                    </a:lnTo>
                    <a:lnTo>
                      <a:pt x="f393" y="f419"/>
                    </a:lnTo>
                    <a:lnTo>
                      <a:pt x="f100" y="f420"/>
                    </a:lnTo>
                    <a:lnTo>
                      <a:pt x="f392" y="f421"/>
                    </a:lnTo>
                    <a:lnTo>
                      <a:pt x="f392" y="f422"/>
                    </a:lnTo>
                    <a:lnTo>
                      <a:pt x="f423" y="f15"/>
                    </a:lnTo>
                    <a:lnTo>
                      <a:pt x="f424" y="f425"/>
                    </a:lnTo>
                    <a:lnTo>
                      <a:pt x="f426" y="f427"/>
                    </a:lnTo>
                    <a:lnTo>
                      <a:pt x="f428" y="f429"/>
                    </a:lnTo>
                    <a:lnTo>
                      <a:pt x="f409" y="f430"/>
                    </a:lnTo>
                    <a:lnTo>
                      <a:pt x="f106" y="f431"/>
                    </a:lnTo>
                    <a:lnTo>
                      <a:pt x="f432" y="f433"/>
                    </a:lnTo>
                    <a:lnTo>
                      <a:pt x="f434" y="f435"/>
                    </a:lnTo>
                    <a:lnTo>
                      <a:pt x="f432" y="f436"/>
                    </a:lnTo>
                    <a:lnTo>
                      <a:pt x="f106" y="f437"/>
                    </a:lnTo>
                    <a:lnTo>
                      <a:pt x="f407" y="f438"/>
                    </a:lnTo>
                    <a:lnTo>
                      <a:pt x="f104" y="f439"/>
                    </a:lnTo>
                    <a:lnTo>
                      <a:pt x="f401" y="f440"/>
                    </a:lnTo>
                    <a:lnTo>
                      <a:pt x="f398" y="f36"/>
                    </a:lnTo>
                    <a:lnTo>
                      <a:pt x="f395" y="f441"/>
                    </a:lnTo>
                    <a:lnTo>
                      <a:pt x="f340" y="f441"/>
                    </a:lnTo>
                    <a:lnTo>
                      <a:pt x="f344" y="f37"/>
                    </a:lnTo>
                    <a:lnTo>
                      <a:pt x="f388" y="f442"/>
                    </a:lnTo>
                    <a:lnTo>
                      <a:pt x="f96" y="f443"/>
                    </a:lnTo>
                    <a:lnTo>
                      <a:pt x="f352" y="f43"/>
                    </a:lnTo>
                    <a:lnTo>
                      <a:pt x="f444" y="f443"/>
                    </a:lnTo>
                    <a:lnTo>
                      <a:pt x="f445" y="f441"/>
                    </a:lnTo>
                    <a:lnTo>
                      <a:pt x="f446" y="f447"/>
                    </a:lnTo>
                    <a:lnTo>
                      <a:pt x="f445" y="f448"/>
                    </a:lnTo>
                    <a:lnTo>
                      <a:pt x="f92" y="f449"/>
                    </a:lnTo>
                    <a:lnTo>
                      <a:pt x="f450" y="f451"/>
                    </a:lnTo>
                    <a:lnTo>
                      <a:pt x="f450" y="f437"/>
                    </a:lnTo>
                    <a:lnTo>
                      <a:pt x="f452" y="f453"/>
                    </a:lnTo>
                    <a:lnTo>
                      <a:pt x="f363" y="f435"/>
                    </a:lnTo>
                    <a:lnTo>
                      <a:pt x="f454" y="f455"/>
                    </a:lnTo>
                    <a:lnTo>
                      <a:pt x="f456" y="f457"/>
                    </a:lnTo>
                    <a:lnTo>
                      <a:pt x="f458" y="f459"/>
                    </a:lnTo>
                    <a:lnTo>
                      <a:pt x="f460" y="f430"/>
                    </a:lnTo>
                    <a:lnTo>
                      <a:pt x="f460" y="f461"/>
                    </a:lnTo>
                    <a:lnTo>
                      <a:pt x="f462" y="f463"/>
                    </a:lnTo>
                    <a:lnTo>
                      <a:pt x="f464" y="f465"/>
                    </a:lnTo>
                    <a:lnTo>
                      <a:pt x="f466" y="f422"/>
                    </a:lnTo>
                    <a:lnTo>
                      <a:pt x="f464" y="f13"/>
                    </a:lnTo>
                    <a:lnTo>
                      <a:pt x="f76" y="f467"/>
                    </a:lnTo>
                    <a:lnTo>
                      <a:pt x="f468" y="f420"/>
                    </a:lnTo>
                    <a:lnTo>
                      <a:pt x="f469" y="f470"/>
                    </a:lnTo>
                    <a:lnTo>
                      <a:pt x="f471" y="f472"/>
                    </a:lnTo>
                    <a:lnTo>
                      <a:pt x="f473" y="f474"/>
                    </a:lnTo>
                    <a:lnTo>
                      <a:pt x="f475" y="f476"/>
                    </a:lnTo>
                    <a:lnTo>
                      <a:pt x="f477" y="f478"/>
                    </a:lnTo>
                    <a:lnTo>
                      <a:pt x="f479" y="f480"/>
                    </a:lnTo>
                    <a:lnTo>
                      <a:pt x="f481" y="f478"/>
                    </a:lnTo>
                    <a:lnTo>
                      <a:pt x="f482" y="f483"/>
                    </a:lnTo>
                    <a:lnTo>
                      <a:pt x="f484" y="f485"/>
                    </a:lnTo>
                    <a:lnTo>
                      <a:pt x="f486" y="f487"/>
                    </a:lnTo>
                    <a:lnTo>
                      <a:pt x="f488" y="f478"/>
                    </a:lnTo>
                    <a:lnTo>
                      <a:pt x="f488" y="f489"/>
                    </a:lnTo>
                    <a:lnTo>
                      <a:pt x="f490" y="f491"/>
                    </a:lnTo>
                    <a:lnTo>
                      <a:pt x="f490" y="f492"/>
                    </a:lnTo>
                    <a:lnTo>
                      <a:pt x="f493" y="f494"/>
                    </a:lnTo>
                    <a:lnTo>
                      <a:pt x="f64" y="f494"/>
                    </a:lnTo>
                    <a:lnTo>
                      <a:pt x="f495" y="f492"/>
                    </a:lnTo>
                    <a:lnTo>
                      <a:pt x="f496" y="f489"/>
                    </a:lnTo>
                    <a:lnTo>
                      <a:pt x="f53" y="f476"/>
                    </a:lnTo>
                    <a:lnTo>
                      <a:pt x="f440" y="f487"/>
                    </a:lnTo>
                    <a:lnTo>
                      <a:pt x="f439" y="f485"/>
                    </a:lnTo>
                    <a:lnTo>
                      <a:pt x="f449" y="f474"/>
                    </a:lnTo>
                    <a:lnTo>
                      <a:pt x="f497" y="f472"/>
                    </a:lnTo>
                    <a:lnTo>
                      <a:pt x="f498" y="f499"/>
                    </a:lnTo>
                    <a:lnTo>
                      <a:pt x="f500" y="f11"/>
                    </a:lnTo>
                    <a:lnTo>
                      <a:pt x="f26" y="f501"/>
                    </a:lnTo>
                    <a:lnTo>
                      <a:pt x="f457" y="f502"/>
                    </a:lnTo>
                    <a:lnTo>
                      <a:pt x="f503" y="f13"/>
                    </a:lnTo>
                    <a:lnTo>
                      <a:pt x="f504" y="f421"/>
                    </a:lnTo>
                    <a:lnTo>
                      <a:pt x="f505" y="f506"/>
                    </a:lnTo>
                    <a:lnTo>
                      <a:pt x="f507" y="f508"/>
                    </a:lnTo>
                    <a:lnTo>
                      <a:pt x="f509" y="f510"/>
                    </a:lnTo>
                    <a:lnTo>
                      <a:pt x="f511" y="f11"/>
                    </a:lnTo>
                    <a:lnTo>
                      <a:pt x="f512" y="f513"/>
                    </a:lnTo>
                    <a:lnTo>
                      <a:pt x="f514" y="f515"/>
                    </a:lnTo>
                    <a:lnTo>
                      <a:pt x="f516" y="f516"/>
                    </a:lnTo>
                    <a:lnTo>
                      <a:pt x="f514" y="f517"/>
                    </a:lnTo>
                    <a:lnTo>
                      <a:pt x="f514" y="f427"/>
                    </a:lnTo>
                    <a:lnTo>
                      <a:pt x="f516" y="f429"/>
                    </a:lnTo>
                    <a:lnTo>
                      <a:pt x="f518" y="f22"/>
                    </a:lnTo>
                    <a:lnTo>
                      <a:pt x="f519" y="f520"/>
                    </a:lnTo>
                    <a:lnTo>
                      <a:pt x="f521" y="f430"/>
                    </a:lnTo>
                    <a:lnTo>
                      <a:pt x="f522" y="f523"/>
                    </a:lnTo>
                    <a:lnTo>
                      <a:pt x="f421" y="f524"/>
                    </a:lnTo>
                    <a:lnTo>
                      <a:pt x="f501" y="f525"/>
                    </a:lnTo>
                    <a:lnTo>
                      <a:pt x="f526" y="f525"/>
                    </a:lnTo>
                    <a:lnTo>
                      <a:pt x="f9" y="f524"/>
                    </a:lnTo>
                    <a:lnTo>
                      <a:pt x="f527" y="f505"/>
                    </a:lnTo>
                    <a:lnTo>
                      <a:pt x="f528" y="f529"/>
                    </a:lnTo>
                    <a:lnTo>
                      <a:pt x="f494" y="f459"/>
                    </a:lnTo>
                    <a:lnTo>
                      <a:pt x="f530" y="f531"/>
                    </a:lnTo>
                    <a:lnTo>
                      <a:pt x="f532" y="f504"/>
                    </a:lnTo>
                    <a:lnTo>
                      <a:pt x="f533" y="f534"/>
                    </a:lnTo>
                    <a:lnTo>
                      <a:pt x="f404" y="f534"/>
                    </a:lnTo>
                    <a:lnTo>
                      <a:pt x="f389" y="f22"/>
                    </a:lnTo>
                    <a:lnTo>
                      <a:pt x="f535" y="f523"/>
                    </a:lnTo>
                    <a:lnTo>
                      <a:pt x="f536" y="f524"/>
                    </a:lnTo>
                    <a:lnTo>
                      <a:pt x="f382" y="f429"/>
                    </a:lnTo>
                    <a:lnTo>
                      <a:pt x="f537" y="f538"/>
                    </a:lnTo>
                    <a:lnTo>
                      <a:pt x="f539" y="f425"/>
                    </a:lnTo>
                    <a:lnTo>
                      <a:pt x="f540" y="f502"/>
                    </a:lnTo>
                    <a:lnTo>
                      <a:pt x="f541" y="f508"/>
                    </a:lnTo>
                    <a:lnTo>
                      <a:pt x="f372" y="f542"/>
                    </a:lnTo>
                    <a:lnTo>
                      <a:pt x="f370" y="f474"/>
                    </a:lnTo>
                    <a:lnTo>
                      <a:pt x="f543" y="f487"/>
                    </a:lnTo>
                    <a:lnTo>
                      <a:pt x="f544" y="f545"/>
                    </a:lnTo>
                    <a:lnTo>
                      <a:pt x="f546" y="f489"/>
                    </a:lnTo>
                    <a:lnTo>
                      <a:pt x="f547" y="f418"/>
                    </a:lnTo>
                    <a:lnTo>
                      <a:pt x="f548" y="f549"/>
                    </a:lnTo>
                    <a:lnTo>
                      <a:pt x="f544" y="f416"/>
                    </a:lnTo>
                    <a:lnTo>
                      <a:pt x="f550" y="f551"/>
                    </a:lnTo>
                    <a:lnTo>
                      <a:pt x="f552" y="f532"/>
                    </a:lnTo>
                    <a:lnTo>
                      <a:pt x="f553" y="f554"/>
                    </a:lnTo>
                    <a:lnTo>
                      <a:pt x="f555" y="f556"/>
                    </a:lnTo>
                    <a:lnTo>
                      <a:pt x="f557" y="f558"/>
                    </a:lnTo>
                    <a:lnTo>
                      <a:pt x="f559" y="f406"/>
                    </a:lnTo>
                    <a:lnTo>
                      <a:pt x="f560" y="f561"/>
                    </a:lnTo>
                    <a:lnTo>
                      <a:pt x="f562" y="f396"/>
                    </a:lnTo>
                    <a:lnTo>
                      <a:pt x="f547" y="f563"/>
                    </a:lnTo>
                    <a:lnTo>
                      <a:pt x="f546" y="f564"/>
                    </a:lnTo>
                    <a:lnTo>
                      <a:pt x="f546" y="f565"/>
                    </a:lnTo>
                    <a:lnTo>
                      <a:pt x="f547" y="f566"/>
                    </a:lnTo>
                    <a:lnTo>
                      <a:pt x="f547" y="f567"/>
                    </a:lnTo>
                    <a:lnTo>
                      <a:pt x="f562" y="f548"/>
                    </a:lnTo>
                    <a:lnTo>
                      <a:pt x="f559" y="f548"/>
                    </a:lnTo>
                    <a:lnTo>
                      <a:pt x="f568" y="f569"/>
                    </a:lnTo>
                    <a:lnTo>
                      <a:pt x="f570" y="f550"/>
                    </a:lnTo>
                    <a:lnTo>
                      <a:pt x="f571" y="f370"/>
                    </a:lnTo>
                    <a:lnTo>
                      <a:pt x="f572" y="f372"/>
                    </a:lnTo>
                    <a:lnTo>
                      <a:pt x="f573" y="f574"/>
                    </a:lnTo>
                    <a:lnTo>
                      <a:pt x="f575" y="f576"/>
                    </a:lnTo>
                    <a:lnTo>
                      <a:pt x="f357" y="f540"/>
                    </a:lnTo>
                    <a:lnTo>
                      <a:pt x="f577" y="f578"/>
                    </a:lnTo>
                    <a:lnTo>
                      <a:pt x="f579" y="f580"/>
                    </a:lnTo>
                    <a:lnTo>
                      <a:pt x="f581" y="f582"/>
                    </a:lnTo>
                    <a:lnTo>
                      <a:pt x="f266" y="f583"/>
                    </a:lnTo>
                    <a:lnTo>
                      <a:pt x="f584" y="f585"/>
                    </a:lnTo>
                    <a:lnTo>
                      <a:pt x="f586" y="f569"/>
                    </a:lnTo>
                    <a:lnTo>
                      <a:pt x="f587" y="f546"/>
                    </a:lnTo>
                    <a:lnTo>
                      <a:pt x="f588" y="f546"/>
                    </a:lnTo>
                    <a:lnTo>
                      <a:pt x="f298" y="f589"/>
                    </a:lnTo>
                    <a:lnTo>
                      <a:pt x="f590" y="f368"/>
                    </a:lnTo>
                    <a:lnTo>
                      <a:pt x="f591" y="f550"/>
                    </a:lnTo>
                    <a:lnTo>
                      <a:pt x="f337" y="f543"/>
                    </a:lnTo>
                    <a:lnTo>
                      <a:pt x="f592" y="f593"/>
                    </a:lnTo>
                    <a:lnTo>
                      <a:pt x="f594" y="f585"/>
                    </a:lnTo>
                    <a:lnTo>
                      <a:pt x="f595" y="f596"/>
                    </a:lnTo>
                    <a:lnTo>
                      <a:pt x="f597" y="f583"/>
                    </a:lnTo>
                    <a:lnTo>
                      <a:pt x="f598" y="f582"/>
                    </a:lnTo>
                    <a:lnTo>
                      <a:pt x="f598" y="f576"/>
                    </a:lnTo>
                    <a:lnTo>
                      <a:pt x="f599" y="f600"/>
                    </a:lnTo>
                    <a:lnTo>
                      <a:pt x="f601" y="f377"/>
                    </a:lnTo>
                    <a:lnTo>
                      <a:pt x="f602" y="f603"/>
                    </a:lnTo>
                    <a:lnTo>
                      <a:pt x="f246" y="f604"/>
                    </a:lnTo>
                    <a:lnTo>
                      <a:pt x="f605" y="f606"/>
                    </a:lnTo>
                    <a:lnTo>
                      <a:pt x="f607" y="f397"/>
                    </a:lnTo>
                    <a:lnTo>
                      <a:pt x="f608" y="f609"/>
                    </a:lnTo>
                    <a:lnTo>
                      <a:pt x="f599" y="f402"/>
                    </a:lnTo>
                    <a:lnTo>
                      <a:pt x="f597" y="f610"/>
                    </a:lnTo>
                    <a:lnTo>
                      <a:pt x="f323" y="f611"/>
                    </a:lnTo>
                    <a:lnTo>
                      <a:pt x="f323" y="f412"/>
                    </a:lnTo>
                    <a:lnTo>
                      <a:pt x="f595" y="f612"/>
                    </a:lnTo>
                    <a:lnTo>
                      <a:pt x="f613" y="f480"/>
                    </a:lnTo>
                    <a:lnTo>
                      <a:pt x="f320" y="f527"/>
                    </a:lnTo>
                    <a:lnTo>
                      <a:pt x="f614" y="f9"/>
                    </a:lnTo>
                    <a:lnTo>
                      <a:pt x="f253" y="f615"/>
                    </a:lnTo>
                    <a:lnTo>
                      <a:pt x="f616" y="f506"/>
                    </a:lnTo>
                    <a:lnTo>
                      <a:pt x="f617" y="f522"/>
                    </a:lnTo>
                    <a:lnTo>
                      <a:pt x="f592" y="f422"/>
                    </a:lnTo>
                    <a:lnTo>
                      <a:pt x="f310" y="f618"/>
                    </a:lnTo>
                    <a:lnTo>
                      <a:pt x="f594" y="f619"/>
                    </a:lnTo>
                    <a:lnTo>
                      <a:pt x="f320" y="f620"/>
                    </a:lnTo>
                    <a:lnTo>
                      <a:pt x="f320" y="f461"/>
                    </a:lnTo>
                    <a:lnTo>
                      <a:pt x="f614" y="f621"/>
                    </a:lnTo>
                    <a:lnTo>
                      <a:pt x="f320" y="f531"/>
                    </a:lnTo>
                    <a:lnTo>
                      <a:pt x="f323" y="f622"/>
                    </a:lnTo>
                    <a:lnTo>
                      <a:pt x="f326" y="f623"/>
                    </a:lnTo>
                    <a:lnTo>
                      <a:pt x="f249" y="f500"/>
                    </a:lnTo>
                    <a:lnTo>
                      <a:pt x="f624" y="f625"/>
                    </a:lnTo>
                    <a:lnTo>
                      <a:pt x="f626" y="f627"/>
                    </a:lnTo>
                    <a:lnTo>
                      <a:pt x="f607" y="f628"/>
                    </a:lnTo>
                    <a:lnTo>
                      <a:pt x="f605" y="f447"/>
                    </a:lnTo>
                    <a:lnTo>
                      <a:pt x="f629" y="f48"/>
                    </a:lnTo>
                    <a:lnTo>
                      <a:pt x="f630" y="f442"/>
                    </a:lnTo>
                    <a:lnTo>
                      <a:pt x="f631" y="f632"/>
                    </a:lnTo>
                    <a:lnTo>
                      <a:pt x="f633" y="f634"/>
                    </a:lnTo>
                    <a:lnTo>
                      <a:pt x="f635" y="f636"/>
                    </a:lnTo>
                    <a:lnTo>
                      <a:pt x="f637" y="f638"/>
                    </a:lnTo>
                    <a:lnTo>
                      <a:pt x="f639" y="f640"/>
                    </a:lnTo>
                    <a:lnTo>
                      <a:pt x="f639" y="f641"/>
                    </a:lnTo>
                    <a:lnTo>
                      <a:pt x="f642" y="f643"/>
                    </a:lnTo>
                    <a:lnTo>
                      <a:pt x="f644" y="f7"/>
                    </a:lnTo>
                    <a:lnTo>
                      <a:pt x="f645" y="f646"/>
                    </a:lnTo>
                    <a:lnTo>
                      <a:pt x="f225" y="f647"/>
                    </a:lnTo>
                    <a:lnTo>
                      <a:pt x="f648" y="f649"/>
                    </a:lnTo>
                    <a:lnTo>
                      <a:pt x="f650" y="f496"/>
                    </a:lnTo>
                    <a:lnTo>
                      <a:pt x="f651" y="f652"/>
                    </a:lnTo>
                    <a:lnTo>
                      <a:pt x="f653" y="f654"/>
                    </a:lnTo>
                    <a:lnTo>
                      <a:pt x="f214" y="f655"/>
                    </a:lnTo>
                    <a:lnTo>
                      <a:pt x="f656" y="f43"/>
                    </a:lnTo>
                    <a:lnTo>
                      <a:pt x="f656" y="f36"/>
                    </a:lnTo>
                    <a:lnTo>
                      <a:pt x="f657" y="f658"/>
                    </a:lnTo>
                    <a:lnTo>
                      <a:pt x="f659" y="f437"/>
                    </a:lnTo>
                    <a:lnTo>
                      <a:pt x="f660" y="f436"/>
                    </a:lnTo>
                    <a:lnTo>
                      <a:pt x="f661" y="f662"/>
                    </a:lnTo>
                    <a:lnTo>
                      <a:pt x="f663" y="f664"/>
                    </a:lnTo>
                    <a:lnTo>
                      <a:pt x="f665" y="f431"/>
                    </a:lnTo>
                    <a:lnTo>
                      <a:pt x="f665" y="f529"/>
                    </a:lnTo>
                    <a:lnTo>
                      <a:pt x="f666" y="f430"/>
                    </a:lnTo>
                    <a:lnTo>
                      <a:pt x="f667" y="f668"/>
                    </a:lnTo>
                    <a:lnTo>
                      <a:pt x="f669" y="f670"/>
                    </a:lnTo>
                    <a:lnTo>
                      <a:pt x="f671" y="f516"/>
                    </a:lnTo>
                    <a:lnTo>
                      <a:pt x="f672" y="f673"/>
                    </a:lnTo>
                    <a:lnTo>
                      <a:pt x="f659" y="f515"/>
                    </a:lnTo>
                    <a:lnTo>
                      <a:pt x="f674" y="f675"/>
                    </a:lnTo>
                    <a:lnTo>
                      <a:pt x="f676" y="f522"/>
                    </a:lnTo>
                    <a:lnTo>
                      <a:pt x="f677" y="f11"/>
                    </a:lnTo>
                    <a:lnTo>
                      <a:pt x="f678" y="f679"/>
                    </a:lnTo>
                    <a:lnTo>
                      <a:pt x="f678" y="f472"/>
                    </a:lnTo>
                    <a:lnTo>
                      <a:pt x="f680" y="f474"/>
                    </a:lnTo>
                    <a:lnTo>
                      <a:pt x="f653" y="f487"/>
                    </a:lnTo>
                    <a:lnTo>
                      <a:pt x="f681" y="f545"/>
                    </a:lnTo>
                    <a:lnTo>
                      <a:pt x="f682" y="f494"/>
                    </a:lnTo>
                    <a:lnTo>
                      <a:pt x="f683" y="f684"/>
                    </a:lnTo>
                    <a:lnTo>
                      <a:pt x="f677" y="f685"/>
                    </a:lnTo>
                    <a:lnTo>
                      <a:pt x="f653" y="f410"/>
                    </a:lnTo>
                    <a:lnTo>
                      <a:pt x="f676" y="f686"/>
                    </a:lnTo>
                    <a:lnTo>
                      <a:pt x="f656" y="f386"/>
                    </a:lnTo>
                    <a:lnTo>
                      <a:pt x="f214" y="f687"/>
                    </a:lnTo>
                    <a:lnTo>
                      <a:pt x="f682" y="f604"/>
                    </a:lnTo>
                    <a:lnTo>
                      <a:pt x="f214" y="f688"/>
                    </a:lnTo>
                    <a:lnTo>
                      <a:pt x="f671" y="f578"/>
                    </a:lnTo>
                    <a:lnTo>
                      <a:pt x="f689" y="f580"/>
                    </a:lnTo>
                    <a:lnTo>
                      <a:pt x="f211" y="f574"/>
                    </a:lnTo>
                    <a:lnTo>
                      <a:pt x="f667" y="f574"/>
                    </a:lnTo>
                    <a:lnTo>
                      <a:pt x="f690" y="f580"/>
                    </a:lnTo>
                    <a:lnTo>
                      <a:pt x="f666" y="f578"/>
                    </a:lnTo>
                    <a:lnTo>
                      <a:pt x="f209" y="f691"/>
                    </a:lnTo>
                    <a:lnTo>
                      <a:pt x="f665" y="f600"/>
                    </a:lnTo>
                    <a:lnTo>
                      <a:pt x="f692" y="f693"/>
                    </a:lnTo>
                    <a:lnTo>
                      <a:pt x="f694" y="f600"/>
                    </a:lnTo>
                    <a:lnTo>
                      <a:pt x="f207" y="f540"/>
                    </a:lnTo>
                    <a:lnTo>
                      <a:pt x="f695" y="f696"/>
                    </a:lnTo>
                    <a:lnTo>
                      <a:pt x="f697" y="f550"/>
                    </a:lnTo>
                    <a:lnTo>
                      <a:pt x="f698" y="f699"/>
                    </a:lnTo>
                    <a:lnTo>
                      <a:pt x="f700" y="f568"/>
                    </a:lnTo>
                    <a:lnTo>
                      <a:pt x="f701" y="f702"/>
                    </a:lnTo>
                    <a:lnTo>
                      <a:pt x="f701" y="f575"/>
                    </a:lnTo>
                    <a:lnTo>
                      <a:pt x="f700" y="f703"/>
                    </a:lnTo>
                    <a:lnTo>
                      <a:pt x="f204" y="f278"/>
                    </a:lnTo>
                    <a:lnTo>
                      <a:pt x="f704" y="f705"/>
                    </a:lnTo>
                    <a:lnTo>
                      <a:pt x="f706" y="f263"/>
                    </a:lnTo>
                    <a:lnTo>
                      <a:pt x="f706" y="f298"/>
                    </a:lnTo>
                    <a:lnTo>
                      <a:pt x="f704" y="f261"/>
                    </a:lnTo>
                    <a:lnTo>
                      <a:pt x="f698" y="f307"/>
                    </a:lnTo>
                    <a:lnTo>
                      <a:pt x="f707" y="f708"/>
                    </a:lnTo>
                    <a:lnTo>
                      <a:pt x="f709" y="f710"/>
                    </a:lnTo>
                    <a:lnTo>
                      <a:pt x="f711" y="f256"/>
                    </a:lnTo>
                    <a:lnTo>
                      <a:pt x="f712" y="f256"/>
                    </a:lnTo>
                    <a:lnTo>
                      <a:pt x="f713" y="f714"/>
                    </a:lnTo>
                    <a:lnTo>
                      <a:pt x="f715" y="f257"/>
                    </a:lnTo>
                    <a:lnTo>
                      <a:pt x="f716" y="f717"/>
                    </a:lnTo>
                    <a:lnTo>
                      <a:pt x="f718" y="f717"/>
                    </a:lnTo>
                    <a:lnTo>
                      <a:pt x="f99" y="f257"/>
                    </a:lnTo>
                    <a:lnTo>
                      <a:pt x="f719" y="f710"/>
                    </a:lnTo>
                    <a:lnTo>
                      <a:pt x="f720" y="f337"/>
                    </a:lnTo>
                    <a:lnTo>
                      <a:pt x="f721" y="f722"/>
                    </a:lnTo>
                    <a:lnTo>
                      <a:pt x="f723" y="f724"/>
                    </a:lnTo>
                    <a:lnTo>
                      <a:pt x="f725" y="f724"/>
                    </a:lnTo>
                    <a:lnTo>
                      <a:pt x="f726" y="f255"/>
                    </a:lnTo>
                    <a:lnTo>
                      <a:pt x="f727" y="f337"/>
                    </a:lnTo>
                    <a:lnTo>
                      <a:pt x="f728" y="f729"/>
                    </a:lnTo>
                    <a:lnTo>
                      <a:pt x="f114" y="f710"/>
                    </a:lnTo>
                    <a:lnTo>
                      <a:pt x="f730" y="f257"/>
                    </a:lnTo>
                    <a:lnTo>
                      <a:pt x="f731" y="f732"/>
                    </a:lnTo>
                    <a:lnTo>
                      <a:pt x="f730" y="f733"/>
                    </a:lnTo>
                    <a:lnTo>
                      <a:pt x="f83" y="f734"/>
                    </a:lnTo>
                    <a:lnTo>
                      <a:pt x="f735" y="f705"/>
                    </a:lnTo>
                    <a:lnTo>
                      <a:pt x="f70" y="f736"/>
                    </a:lnTo>
                    <a:lnTo>
                      <a:pt x="f737" y="f283"/>
                    </a:lnTo>
                    <a:lnTo>
                      <a:pt x="f738" y="f266"/>
                    </a:lnTo>
                    <a:lnTo>
                      <a:pt x="f141" y="f279"/>
                    </a:lnTo>
                    <a:lnTo>
                      <a:pt x="f739" y="f275"/>
                    </a:lnTo>
                    <a:lnTo>
                      <a:pt x="f740" y="f275"/>
                    </a:lnTo>
                    <a:lnTo>
                      <a:pt x="f741" y="f279"/>
                    </a:lnTo>
                    <a:lnTo>
                      <a:pt x="f742" y="f266"/>
                    </a:lnTo>
                    <a:lnTo>
                      <a:pt x="f743" y="f586"/>
                    </a:lnTo>
                    <a:lnTo>
                      <a:pt x="f744" y="f284"/>
                    </a:lnTo>
                    <a:lnTo>
                      <a:pt x="f745" y="f587"/>
                    </a:lnTo>
                    <a:lnTo>
                      <a:pt x="f746" y="f284"/>
                    </a:lnTo>
                    <a:lnTo>
                      <a:pt x="f747" y="f283"/>
                    </a:lnTo>
                    <a:lnTo>
                      <a:pt x="f748" y="f278"/>
                    </a:lnTo>
                    <a:lnTo>
                      <a:pt x="f749" y="f266"/>
                    </a:lnTo>
                    <a:lnTo>
                      <a:pt x="f27" y="f266"/>
                    </a:lnTo>
                    <a:lnTo>
                      <a:pt x="f750" y="f751"/>
                    </a:lnTo>
                    <a:lnTo>
                      <a:pt x="f752" y="f283"/>
                    </a:lnTo>
                    <a:lnTo>
                      <a:pt x="f20" y="f753"/>
                    </a:lnTo>
                    <a:lnTo>
                      <a:pt x="f754" y="f350"/>
                    </a:lnTo>
                    <a:lnTo>
                      <a:pt x="f755" y="f350"/>
                    </a:lnTo>
                    <a:lnTo>
                      <a:pt x="f755" y="f296"/>
                    </a:lnTo>
                    <a:lnTo>
                      <a:pt x="f756" y="f296"/>
                    </a:lnTo>
                    <a:lnTo>
                      <a:pt x="f16" y="f298"/>
                    </a:lnTo>
                    <a:lnTo>
                      <a:pt x="f757" y="f758"/>
                    </a:lnTo>
                    <a:lnTo>
                      <a:pt x="f759" y="f710"/>
                    </a:lnTo>
                    <a:lnTo>
                      <a:pt x="f760" y="f722"/>
                    </a:lnTo>
                    <a:lnTo>
                      <a:pt x="f5" y="f761"/>
                    </a:lnTo>
                    <a:lnTo>
                      <a:pt x="f5" y="f320"/>
                    </a:lnTo>
                    <a:lnTo>
                      <a:pt x="f760" y="f598"/>
                    </a:lnTo>
                    <a:lnTo>
                      <a:pt x="f762" y="f763"/>
                    </a:lnTo>
                    <a:lnTo>
                      <a:pt x="f764" y="f314"/>
                    </a:lnTo>
                    <a:lnTo>
                      <a:pt x="f765" y="f626"/>
                    </a:lnTo>
                    <a:lnTo>
                      <a:pt x="f765" y="f766"/>
                    </a:lnTo>
                    <a:lnTo>
                      <a:pt x="f759" y="f767"/>
                    </a:lnTo>
                    <a:lnTo>
                      <a:pt x="f764" y="f768"/>
                    </a:lnTo>
                    <a:lnTo>
                      <a:pt x="f764" y="f769"/>
                    </a:lnTo>
                    <a:lnTo>
                      <a:pt x="f770" y="f771"/>
                    </a:lnTo>
                    <a:lnTo>
                      <a:pt x="f772" y="f639"/>
                    </a:lnTo>
                    <a:lnTo>
                      <a:pt x="f773" y="f774"/>
                    </a:lnTo>
                    <a:lnTo>
                      <a:pt x="f775" y="f776"/>
                    </a:lnTo>
                    <a:lnTo>
                      <a:pt x="f38" y="f777"/>
                    </a:lnTo>
                    <a:lnTo>
                      <a:pt x="f161" y="f778"/>
                    </a:lnTo>
                    <a:lnTo>
                      <a:pt x="f165" y="f779"/>
                    </a:lnTo>
                    <a:lnTo>
                      <a:pt x="f780" y="f781"/>
                    </a:lnTo>
                    <a:lnTo>
                      <a:pt x="f780" y="f782"/>
                    </a:lnTo>
                    <a:lnTo>
                      <a:pt x="f783" y="f784"/>
                    </a:lnTo>
                    <a:lnTo>
                      <a:pt x="f780" y="f785"/>
                    </a:lnTo>
                    <a:lnTo>
                      <a:pt x="f786" y="f787"/>
                    </a:lnTo>
                    <a:lnTo>
                      <a:pt x="f788" y="f789"/>
                    </a:lnTo>
                    <a:lnTo>
                      <a:pt x="f790" y="f791"/>
                    </a:lnTo>
                    <a:lnTo>
                      <a:pt x="f792" y="f793"/>
                    </a:lnTo>
                    <a:lnTo>
                      <a:pt x="f794" y="f784"/>
                    </a:lnTo>
                    <a:lnTo>
                      <a:pt x="f795" y="f796"/>
                    </a:lnTo>
                    <a:lnTo>
                      <a:pt x="f797" y="f798"/>
                    </a:lnTo>
                    <a:lnTo>
                      <a:pt x="f799" y="f800"/>
                    </a:lnTo>
                    <a:lnTo>
                      <a:pt x="f801" y="f226"/>
                    </a:lnTo>
                    <a:lnTo>
                      <a:pt x="f802" y="f784"/>
                    </a:lnTo>
                    <a:lnTo>
                      <a:pt x="f179" y="f803"/>
                    </a:lnTo>
                    <a:lnTo>
                      <a:pt x="f804" y="f805"/>
                    </a:lnTo>
                    <a:lnTo>
                      <a:pt x="f804" y="f806"/>
                    </a:lnTo>
                    <a:lnTo>
                      <a:pt x="f807" y="f808"/>
                    </a:lnTo>
                    <a:lnTo>
                      <a:pt x="f809" y="f810"/>
                    </a:lnTo>
                    <a:lnTo>
                      <a:pt x="f811" y="f216"/>
                    </a:lnTo>
                    <a:lnTo>
                      <a:pt x="f812" y="f682"/>
                    </a:lnTo>
                    <a:lnTo>
                      <a:pt x="f812" y="f813"/>
                    </a:lnTo>
                    <a:lnTo>
                      <a:pt x="f811" y="f814"/>
                    </a:lnTo>
                    <a:lnTo>
                      <a:pt x="f811" y="f815"/>
                    </a:lnTo>
                    <a:lnTo>
                      <a:pt x="f812" y="f694"/>
                    </a:lnTo>
                    <a:lnTo>
                      <a:pt x="f816" y="f817"/>
                    </a:lnTo>
                    <a:lnTo>
                      <a:pt x="f818" y="f819"/>
                    </a:lnTo>
                    <a:lnTo>
                      <a:pt x="f67" y="f204"/>
                    </a:lnTo>
                    <a:lnTo>
                      <a:pt x="f735" y="f820"/>
                    </a:lnTo>
                    <a:lnTo>
                      <a:pt x="f821" y="f822"/>
                    </a:lnTo>
                    <a:lnTo>
                      <a:pt x="f823" y="f204"/>
                    </a:lnTo>
                    <a:lnTo>
                      <a:pt x="f824" y="f825"/>
                    </a:lnTo>
                    <a:lnTo>
                      <a:pt x="f730" y="f826"/>
                    </a:lnTo>
                    <a:lnTo>
                      <a:pt x="f827" y="f694"/>
                    </a:lnTo>
                    <a:lnTo>
                      <a:pt x="f728" y="f828"/>
                    </a:lnTo>
                    <a:lnTo>
                      <a:pt x="f829" y="f828"/>
                    </a:lnTo>
                    <a:lnTo>
                      <a:pt x="f830" y="f207"/>
                    </a:lnTo>
                    <a:lnTo>
                      <a:pt x="f831" y="f695"/>
                    </a:lnTo>
                    <a:lnTo>
                      <a:pt x="f832" y="f206"/>
                    </a:lnTo>
                    <a:lnTo>
                      <a:pt x="f833" y="f697"/>
                    </a:lnTo>
                    <a:lnTo>
                      <a:pt x="f834" y="f822"/>
                    </a:lnTo>
                    <a:lnTo>
                      <a:pt x="f701" y="f835"/>
                    </a:lnTo>
                    <a:lnTo>
                      <a:pt x="f700" y="f199"/>
                    </a:lnTo>
                    <a:lnTo>
                      <a:pt x="f204" y="f715"/>
                    </a:lnTo>
                    <a:lnTo>
                      <a:pt x="f697" y="f101"/>
                    </a:lnTo>
                    <a:lnTo>
                      <a:pt x="f706" y="f97"/>
                    </a:lnTo>
                    <a:lnTo>
                      <a:pt x="f695" y="f836"/>
                    </a:lnTo>
                    <a:lnTo>
                      <a:pt x="f692" y="f725"/>
                    </a:lnTo>
                    <a:lnTo>
                      <a:pt x="f211" y="f93"/>
                    </a:lnTo>
                    <a:lnTo>
                      <a:pt x="f657" y="f190"/>
                    </a:lnTo>
                    <a:lnTo>
                      <a:pt x="f681" y="f837"/>
                    </a:lnTo>
                    <a:lnTo>
                      <a:pt x="f680" y="f718"/>
                    </a:lnTo>
                    <a:lnTo>
                      <a:pt x="f838" y="f839"/>
                    </a:lnTo>
                    <a:lnTo>
                      <a:pt x="f650" y="f191"/>
                    </a:lnTo>
                    <a:lnTo>
                      <a:pt x="f840" y="f719"/>
                    </a:lnTo>
                    <a:lnTo>
                      <a:pt x="f841" y="f97"/>
                    </a:lnTo>
                    <a:lnTo>
                      <a:pt x="f785" y="f93"/>
                    </a:lnTo>
                    <a:lnTo>
                      <a:pt x="f225" y="f107"/>
                    </a:lnTo>
                    <a:lnTo>
                      <a:pt x="f784" y="f842"/>
                    </a:lnTo>
                    <a:lnTo>
                      <a:pt x="f843" y="f844"/>
                    </a:lnTo>
                    <a:lnTo>
                      <a:pt x="f845" y="f844"/>
                    </a:lnTo>
                    <a:lnTo>
                      <a:pt x="f846" y="f842"/>
                    </a:lnTo>
                    <a:lnTo>
                      <a:pt x="f847" y="f842"/>
                    </a:lnTo>
                    <a:lnTo>
                      <a:pt x="f848" y="f87"/>
                    </a:lnTo>
                    <a:lnTo>
                      <a:pt x="f237" y="f849"/>
                    </a:lnTo>
                    <a:lnTo>
                      <a:pt x="f850" y="f851"/>
                    </a:lnTo>
                    <a:lnTo>
                      <a:pt x="f852" y="f77"/>
                    </a:lnTo>
                    <a:lnTo>
                      <a:pt x="f853" y="f75"/>
                    </a:lnTo>
                    <a:lnTo>
                      <a:pt x="f854" y="f75"/>
                    </a:lnTo>
                    <a:lnTo>
                      <a:pt x="f855" y="f856"/>
                    </a:lnTo>
                    <a:lnTo>
                      <a:pt x="f855" y="f79"/>
                    </a:lnTo>
                    <a:lnTo>
                      <a:pt x="f857" y="f119"/>
                    </a:lnTo>
                    <a:lnTo>
                      <a:pt x="f629" y="f81"/>
                    </a:lnTo>
                    <a:lnTo>
                      <a:pt x="f605" y="f858"/>
                    </a:lnTo>
                    <a:lnTo>
                      <a:pt x="f607" y="f81"/>
                    </a:lnTo>
                    <a:lnTo>
                      <a:pt x="f859" y="f851"/>
                    </a:lnTo>
                    <a:lnTo>
                      <a:pt x="f595" y="f860"/>
                    </a:lnTo>
                    <a:lnTo>
                      <a:pt x="f309" y="f860"/>
                    </a:lnTo>
                    <a:lnTo>
                      <a:pt x="f307" y="f851"/>
                    </a:lnTo>
                    <a:lnTo>
                      <a:pt x="f861" y="f81"/>
                    </a:lnTo>
                    <a:lnTo>
                      <a:pt x="f278" y="f862"/>
                    </a:lnTo>
                    <a:lnTo>
                      <a:pt x="f703" y="f863"/>
                    </a:lnTo>
                    <a:lnTo>
                      <a:pt x="f864" y="f114"/>
                    </a:lnTo>
                    <a:lnTo>
                      <a:pt x="f865" y="f829"/>
                    </a:lnTo>
                    <a:lnTo>
                      <a:pt x="f361" y="f727"/>
                    </a:lnTo>
                    <a:lnTo>
                      <a:pt x="f570" y="f727"/>
                    </a:lnTo>
                    <a:lnTo>
                      <a:pt x="f866" y="f112"/>
                    </a:lnTo>
                    <a:lnTo>
                      <a:pt x="f867" y="f85"/>
                    </a:lnTo>
                    <a:lnTo>
                      <a:pt x="f560" y="f823"/>
                    </a:lnTo>
                    <a:lnTo>
                      <a:pt x="f562" y="f821"/>
                    </a:lnTo>
                    <a:lnTo>
                      <a:pt x="f562" y="f77"/>
                    </a:lnTo>
                    <a:lnTo>
                      <a:pt x="f868" y="f65"/>
                    </a:lnTo>
                    <a:lnTo>
                      <a:pt x="f868" y="f869"/>
                    </a:lnTo>
                    <a:lnTo>
                      <a:pt x="f547" y="f870"/>
                    </a:lnTo>
                    <a:lnTo>
                      <a:pt x="f589" y="f123"/>
                    </a:lnTo>
                    <a:lnTo>
                      <a:pt x="f552" y="f871"/>
                    </a:lnTo>
                    <a:lnTo>
                      <a:pt x="f872" y="f139"/>
                    </a:lnTo>
                    <a:lnTo>
                      <a:pt x="f873" y="f143"/>
                    </a:lnTo>
                    <a:lnTo>
                      <a:pt x="f874" y="f797"/>
                    </a:lnTo>
                    <a:lnTo>
                      <a:pt x="f374" y="f875"/>
                    </a:lnTo>
                    <a:lnTo>
                      <a:pt x="f876" y="f46"/>
                    </a:lnTo>
                    <a:lnTo>
                      <a:pt x="f877" y="f744"/>
                    </a:lnTo>
                    <a:lnTo>
                      <a:pt x="f878" y="f167"/>
                    </a:lnTo>
                    <a:lnTo>
                      <a:pt x="f372" y="f163"/>
                    </a:lnTo>
                    <a:lnTo>
                      <a:pt x="f879" y="f880"/>
                    </a:lnTo>
                    <a:lnTo>
                      <a:pt x="f550" y="f18"/>
                    </a:lnTo>
                    <a:lnTo>
                      <a:pt x="f544" y="f881"/>
                    </a:lnTo>
                    <a:lnTo>
                      <a:pt x="f589" y="f764"/>
                    </a:lnTo>
                    <a:lnTo>
                      <a:pt x="f589" y="f12"/>
                    </a:lnTo>
                    <a:lnTo>
                      <a:pt x="f552" y="f882"/>
                    </a:lnTo>
                    <a:lnTo>
                      <a:pt x="f883" y="f884"/>
                    </a:lnTo>
                    <a:lnTo>
                      <a:pt x="f885" y="f886"/>
                    </a:lnTo>
                    <a:lnTo>
                      <a:pt x="f887" y="f886"/>
                    </a:lnTo>
                    <a:lnTo>
                      <a:pt x="f539" y="f10"/>
                    </a:lnTo>
                    <a:lnTo>
                      <a:pt x="f888" y="f12"/>
                    </a:lnTo>
                    <a:lnTo>
                      <a:pt x="f889" y="f890"/>
                    </a:lnTo>
                    <a:lnTo>
                      <a:pt x="f396" y="f762"/>
                    </a:lnTo>
                    <a:lnTo>
                      <a:pt x="f561" y="f882"/>
                    </a:lnTo>
                    <a:lnTo>
                      <a:pt x="f891" y="f892"/>
                    </a:lnTo>
                    <a:lnTo>
                      <a:pt x="f611" y="f12"/>
                    </a:lnTo>
                    <a:lnTo>
                      <a:pt x="f893" y="f894"/>
                    </a:lnTo>
                    <a:lnTo>
                      <a:pt x="f412" y="f890"/>
                    </a:lnTo>
                    <a:lnTo>
                      <a:pt x="f895" y="f12"/>
                    </a:lnTo>
                    <a:lnTo>
                      <a:pt x="f896" y="f897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52" name="Freeform 14">
                <a:extLst>
                  <a:ext uri="{FF2B5EF4-FFF2-40B4-BE49-F238E27FC236}">
                    <a16:creationId xmlns:a16="http://schemas.microsoft.com/office/drawing/2014/main" id="{C1DC5730-2178-4A56-9016-663E805354DD}"/>
                  </a:ext>
                </a:extLst>
              </p:cNvPr>
              <p:cNvSpPr/>
              <p:nvPr/>
            </p:nvSpPr>
            <p:spPr>
              <a:xfrm>
                <a:off x="4170706" y="2730764"/>
                <a:ext cx="197903" cy="178564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193"/>
                  <a:gd name="f7" fmla="val 1097"/>
                  <a:gd name="f8" fmla="val 724"/>
                  <a:gd name="f9" fmla="val 276"/>
                  <a:gd name="f10" fmla="val 718"/>
                  <a:gd name="f11" fmla="val 279"/>
                  <a:gd name="f12" fmla="val 713"/>
                  <a:gd name="f13" fmla="val 284"/>
                  <a:gd name="f14" fmla="val 706"/>
                  <a:gd name="f15" fmla="val 290"/>
                  <a:gd name="f16" fmla="val 700"/>
                  <a:gd name="f17" fmla="val 297"/>
                  <a:gd name="f18" fmla="val 697"/>
                  <a:gd name="f19" fmla="val 301"/>
                  <a:gd name="f20" fmla="val 696"/>
                  <a:gd name="f21" fmla="val 305"/>
                  <a:gd name="f22" fmla="val 699"/>
                  <a:gd name="f23" fmla="val 311"/>
                  <a:gd name="f24" fmla="val 702"/>
                  <a:gd name="f25" fmla="val 313"/>
                  <a:gd name="f26" fmla="val 316"/>
                  <a:gd name="f27" fmla="val 710"/>
                  <a:gd name="f28" fmla="val 317"/>
                  <a:gd name="f29" fmla="val 715"/>
                  <a:gd name="f30" fmla="val 721"/>
                  <a:gd name="f31" fmla="val 309"/>
                  <a:gd name="f32" fmla="val 726"/>
                  <a:gd name="f33" fmla="val 787"/>
                  <a:gd name="f34" fmla="val 258"/>
                  <a:gd name="f35" fmla="val 780"/>
                  <a:gd name="f36" fmla="val 259"/>
                  <a:gd name="f37" fmla="val 772"/>
                  <a:gd name="f38" fmla="val 266"/>
                  <a:gd name="f39" fmla="val 764"/>
                  <a:gd name="f40" fmla="val 757"/>
                  <a:gd name="f41" fmla="val 287"/>
                  <a:gd name="f42" fmla="val 750"/>
                  <a:gd name="f43" fmla="val 295"/>
                  <a:gd name="f44" fmla="val 747"/>
                  <a:gd name="f45" fmla="val 302"/>
                  <a:gd name="f46" fmla="val 749"/>
                  <a:gd name="f47" fmla="val 306"/>
                  <a:gd name="f48" fmla="val 756"/>
                  <a:gd name="f49" fmla="val 308"/>
                  <a:gd name="f50" fmla="val 797"/>
                  <a:gd name="f51" fmla="val 801"/>
                  <a:gd name="f52" fmla="val 804"/>
                  <a:gd name="f53" fmla="val 805"/>
                  <a:gd name="f54" fmla="val 291"/>
                  <a:gd name="f55" fmla="val 268"/>
                  <a:gd name="f56" fmla="val 802"/>
                  <a:gd name="f57" fmla="val 262"/>
                  <a:gd name="f58" fmla="val 800"/>
                  <a:gd name="f59" fmla="val 261"/>
                  <a:gd name="f60" fmla="val 798"/>
                  <a:gd name="f61" fmla="val 791"/>
                  <a:gd name="f62" fmla="val 663"/>
                  <a:gd name="f63" fmla="val 668"/>
                  <a:gd name="f64" fmla="val 3"/>
                  <a:gd name="f65" fmla="val 673"/>
                  <a:gd name="f66" fmla="val 8"/>
                  <a:gd name="f67" fmla="val 674"/>
                  <a:gd name="f68" fmla="val 18"/>
                  <a:gd name="f69" fmla="val 675"/>
                  <a:gd name="f70" fmla="val 29"/>
                  <a:gd name="f71" fmla="val 677"/>
                  <a:gd name="f72" fmla="val 39"/>
                  <a:gd name="f73" fmla="val 678"/>
                  <a:gd name="f74" fmla="val 47"/>
                  <a:gd name="f75" fmla="val 686"/>
                  <a:gd name="f76" fmla="val 58"/>
                  <a:gd name="f77" fmla="val 688"/>
                  <a:gd name="f78" fmla="val 68"/>
                  <a:gd name="f79" fmla="val 78"/>
                  <a:gd name="f80" fmla="val 689"/>
                  <a:gd name="f81" fmla="val 87"/>
                  <a:gd name="f82" fmla="val 692"/>
                  <a:gd name="f83" fmla="val 94"/>
                  <a:gd name="f84" fmla="val 98"/>
                  <a:gd name="f85" fmla="val 108"/>
                  <a:gd name="f86" fmla="val 122"/>
                  <a:gd name="f87" fmla="val 660"/>
                  <a:gd name="f88" fmla="val 136"/>
                  <a:gd name="f89" fmla="val 644"/>
                  <a:gd name="f90" fmla="val 150"/>
                  <a:gd name="f91" fmla="val 627"/>
                  <a:gd name="f92" fmla="val 165"/>
                  <a:gd name="f93" fmla="val 612"/>
                  <a:gd name="f94" fmla="val 177"/>
                  <a:gd name="f95" fmla="val 599"/>
                  <a:gd name="f96" fmla="val 188"/>
                  <a:gd name="f97" fmla="val 590"/>
                  <a:gd name="f98" fmla="val 197"/>
                  <a:gd name="f99" fmla="val 584"/>
                  <a:gd name="f100" fmla="val 206"/>
                  <a:gd name="f101" fmla="val 215"/>
                  <a:gd name="f102" fmla="val 588"/>
                  <a:gd name="f103" fmla="val 220"/>
                  <a:gd name="f104" fmla="val 595"/>
                  <a:gd name="f105" fmla="val 223"/>
                  <a:gd name="f106" fmla="val 602"/>
                  <a:gd name="f107" fmla="val 225"/>
                  <a:gd name="f108" fmla="val 609"/>
                  <a:gd name="f109" fmla="val 222"/>
                  <a:gd name="f110" fmla="val 619"/>
                  <a:gd name="f111" fmla="val 218"/>
                  <a:gd name="f112" fmla="val 628"/>
                  <a:gd name="f113" fmla="val 211"/>
                  <a:gd name="f114" fmla="val 639"/>
                  <a:gd name="f115" fmla="val 204"/>
                  <a:gd name="f116" fmla="val 649"/>
                  <a:gd name="f117" fmla="val 655"/>
                  <a:gd name="f118" fmla="val 191"/>
                  <a:gd name="f119" fmla="val 662"/>
                  <a:gd name="f120" fmla="val 670"/>
                  <a:gd name="f121" fmla="val 703"/>
                  <a:gd name="f122" fmla="val 186"/>
                  <a:gd name="f123" fmla="val 183"/>
                  <a:gd name="f124" fmla="val 179"/>
                  <a:gd name="f125" fmla="val 728"/>
                  <a:gd name="f126" fmla="val 735"/>
                  <a:gd name="f127" fmla="val 740"/>
                  <a:gd name="f128" fmla="val 742"/>
                  <a:gd name="f129" fmla="val 209"/>
                  <a:gd name="f130" fmla="val 216"/>
                  <a:gd name="f131" fmla="val 746"/>
                  <a:gd name="f132" fmla="val 226"/>
                  <a:gd name="f133" fmla="val 771"/>
                  <a:gd name="f134" fmla="val 230"/>
                  <a:gd name="f135" fmla="val 783"/>
                  <a:gd name="f136" fmla="val 227"/>
                  <a:gd name="f137" fmla="val 219"/>
                  <a:gd name="f138" fmla="val 812"/>
                  <a:gd name="f139" fmla="val 831"/>
                  <a:gd name="f140" fmla="val 231"/>
                  <a:gd name="f141" fmla="val 843"/>
                  <a:gd name="f142" fmla="val 855"/>
                  <a:gd name="f143" fmla="val 863"/>
                  <a:gd name="f144" fmla="val 865"/>
                  <a:gd name="f145" fmla="val 198"/>
                  <a:gd name="f146" fmla="val 859"/>
                  <a:gd name="f147" fmla="val 190"/>
                  <a:gd name="f148" fmla="val 856"/>
                  <a:gd name="f149" fmla="val 168"/>
                  <a:gd name="f150" fmla="val 858"/>
                  <a:gd name="f151" fmla="val 154"/>
                  <a:gd name="f152" fmla="val 862"/>
                  <a:gd name="f153" fmla="val 141"/>
                  <a:gd name="f154" fmla="val 867"/>
                  <a:gd name="f155" fmla="val 130"/>
                  <a:gd name="f156" fmla="val 870"/>
                  <a:gd name="f157" fmla="val 123"/>
                  <a:gd name="f158" fmla="val 116"/>
                  <a:gd name="f159" fmla="val 105"/>
                  <a:gd name="f160" fmla="val 93"/>
                  <a:gd name="f161" fmla="val 851"/>
                  <a:gd name="f162" fmla="val 84"/>
                  <a:gd name="f163" fmla="val 844"/>
                  <a:gd name="f164" fmla="val 75"/>
                  <a:gd name="f165" fmla="val 48"/>
                  <a:gd name="f166" fmla="val 881"/>
                  <a:gd name="f167" fmla="val 61"/>
                  <a:gd name="f168" fmla="val 891"/>
                  <a:gd name="f169" fmla="val 73"/>
                  <a:gd name="f170" fmla="val 899"/>
                  <a:gd name="f171" fmla="val 83"/>
                  <a:gd name="f172" fmla="val 906"/>
                  <a:gd name="f173" fmla="val 90"/>
                  <a:gd name="f174" fmla="val 910"/>
                  <a:gd name="f175" fmla="val 913"/>
                  <a:gd name="f176" fmla="val 916"/>
                  <a:gd name="f177" fmla="val 924"/>
                  <a:gd name="f178" fmla="val 925"/>
                  <a:gd name="f179" fmla="val 89"/>
                  <a:gd name="f180" fmla="val 928"/>
                  <a:gd name="f181" fmla="val 930"/>
                  <a:gd name="f182" fmla="val 91"/>
                  <a:gd name="f183" fmla="val 104"/>
                  <a:gd name="f184" fmla="val 927"/>
                  <a:gd name="f185" fmla="val 115"/>
                  <a:gd name="f186" fmla="val 125"/>
                  <a:gd name="f187" fmla="val 134"/>
                  <a:gd name="f188" fmla="val 140"/>
                  <a:gd name="f189" fmla="val 932"/>
                  <a:gd name="f190" fmla="val 143"/>
                  <a:gd name="f191" fmla="val 936"/>
                  <a:gd name="f192" fmla="val 144"/>
                  <a:gd name="f193" fmla="val 941"/>
                  <a:gd name="f194" fmla="val 147"/>
                  <a:gd name="f195" fmla="val 946"/>
                  <a:gd name="f196" fmla="val 152"/>
                  <a:gd name="f197" fmla="val 948"/>
                  <a:gd name="f198" fmla="val 155"/>
                  <a:gd name="f199" fmla="val 157"/>
                  <a:gd name="f200" fmla="val 159"/>
                  <a:gd name="f201" fmla="val 161"/>
                  <a:gd name="f202" fmla="val 934"/>
                  <a:gd name="f203" fmla="val 920"/>
                  <a:gd name="f204" fmla="val 163"/>
                  <a:gd name="f205" fmla="val 170"/>
                  <a:gd name="f206" fmla="val 182"/>
                  <a:gd name="f207" fmla="val 912"/>
                  <a:gd name="f208" fmla="val 195"/>
                  <a:gd name="f209" fmla="val 907"/>
                  <a:gd name="f210" fmla="val 903"/>
                  <a:gd name="f211" fmla="val 896"/>
                  <a:gd name="f212" fmla="val 890"/>
                  <a:gd name="f213" fmla="val 240"/>
                  <a:gd name="f214" fmla="val 884"/>
                  <a:gd name="f215" fmla="val 248"/>
                  <a:gd name="f216" fmla="val 880"/>
                  <a:gd name="f217" fmla="val 874"/>
                  <a:gd name="f218" fmla="val 263"/>
                  <a:gd name="f219" fmla="val 270"/>
                  <a:gd name="f220" fmla="val 272"/>
                  <a:gd name="f221" fmla="val 274"/>
                  <a:gd name="f222" fmla="val 277"/>
                  <a:gd name="f223" fmla="val 861"/>
                  <a:gd name="f224" fmla="val 280"/>
                  <a:gd name="f225" fmla="val 281"/>
                  <a:gd name="f226" fmla="val 283"/>
                  <a:gd name="f227" fmla="val 877"/>
                  <a:gd name="f228" fmla="val 883"/>
                  <a:gd name="f229" fmla="val 288"/>
                  <a:gd name="f230" fmla="val 323"/>
                  <a:gd name="f231" fmla="val 848"/>
                  <a:gd name="f232" fmla="val 334"/>
                  <a:gd name="f233" fmla="val 838"/>
                  <a:gd name="f234" fmla="val 347"/>
                  <a:gd name="f235" fmla="val 826"/>
                  <a:gd name="f236" fmla="val 362"/>
                  <a:gd name="f237" fmla="val 814"/>
                  <a:gd name="f238" fmla="val 373"/>
                  <a:gd name="f239" fmla="val 809"/>
                  <a:gd name="f240" fmla="val 377"/>
                  <a:gd name="f241" fmla="val 807"/>
                  <a:gd name="f242" fmla="val 384"/>
                  <a:gd name="f243" fmla="val 392"/>
                  <a:gd name="f244" fmla="val 401"/>
                  <a:gd name="f245" fmla="val 408"/>
                  <a:gd name="f246" fmla="val 412"/>
                  <a:gd name="f247" fmla="val 794"/>
                  <a:gd name="f248" fmla="val 415"/>
                  <a:gd name="f249" fmla="val 778"/>
                  <a:gd name="f250" fmla="val 406"/>
                  <a:gd name="f251" fmla="val 773"/>
                  <a:gd name="f252" fmla="val 767"/>
                  <a:gd name="f253" fmla="val 410"/>
                  <a:gd name="f254" fmla="val 416"/>
                  <a:gd name="f255" fmla="val 419"/>
                  <a:gd name="f256" fmla="val 744"/>
                  <a:gd name="f257" fmla="val 423"/>
                  <a:gd name="f258" fmla="val 743"/>
                  <a:gd name="f259" fmla="val 430"/>
                  <a:gd name="f260" fmla="val 474"/>
                  <a:gd name="f261" fmla="val 491"/>
                  <a:gd name="f262" fmla="val 528"/>
                  <a:gd name="f263" fmla="val 530"/>
                  <a:gd name="f264" fmla="val 526"/>
                  <a:gd name="f265" fmla="val 520"/>
                  <a:gd name="f266" fmla="val 762"/>
                  <a:gd name="f267" fmla="val 519"/>
                  <a:gd name="f268" fmla="val 527"/>
                  <a:gd name="f269" fmla="val 779"/>
                  <a:gd name="f270" fmla="val 786"/>
                  <a:gd name="f271" fmla="val 524"/>
                  <a:gd name="f272" fmla="val 521"/>
                  <a:gd name="f273" fmla="val 534"/>
                  <a:gd name="f274" fmla="val 823"/>
                  <a:gd name="f275" fmla="val 542"/>
                  <a:gd name="f276" fmla="val 829"/>
                  <a:gd name="f277" fmla="val 550"/>
                  <a:gd name="f278" fmla="val 557"/>
                  <a:gd name="f279" fmla="val 566"/>
                  <a:gd name="f280" fmla="val 825"/>
                  <a:gd name="f281" fmla="val 574"/>
                  <a:gd name="f282" fmla="val 816"/>
                  <a:gd name="f283" fmla="val 582"/>
                  <a:gd name="f284" fmla="val 808"/>
                  <a:gd name="f285" fmla="val 591"/>
                  <a:gd name="f286" fmla="val 793"/>
                  <a:gd name="f287" fmla="val 589"/>
                  <a:gd name="f288" fmla="val 785"/>
                  <a:gd name="f289" fmla="val 585"/>
                  <a:gd name="f290" fmla="val 776"/>
                  <a:gd name="f291" fmla="val 769"/>
                  <a:gd name="f292" fmla="val 587"/>
                  <a:gd name="f293" fmla="val 593"/>
                  <a:gd name="f294" fmla="val 754"/>
                  <a:gd name="f295" fmla="val 610"/>
                  <a:gd name="f296" fmla="val 758"/>
                  <a:gd name="f297" fmla="val 616"/>
                  <a:gd name="f298" fmla="val 631"/>
                  <a:gd name="f299" fmla="val 782"/>
                  <a:gd name="f300" fmla="val 636"/>
                  <a:gd name="f301" fmla="val 790"/>
                  <a:gd name="f302" fmla="val 641"/>
                  <a:gd name="f303" fmla="val 796"/>
                  <a:gd name="f304" fmla="val 642"/>
                  <a:gd name="f305" fmla="val 638"/>
                  <a:gd name="f306" fmla="val 811"/>
                  <a:gd name="f307" fmla="val 621"/>
                  <a:gd name="f308" fmla="val 818"/>
                  <a:gd name="f309" fmla="val 605"/>
                  <a:gd name="f310" fmla="val 600"/>
                  <a:gd name="f311" fmla="val 617"/>
                  <a:gd name="f312" fmla="val 894"/>
                  <a:gd name="f313" fmla="val 648"/>
                  <a:gd name="f314" fmla="val 901"/>
                  <a:gd name="f315" fmla="val 656"/>
                  <a:gd name="f316" fmla="val 685"/>
                  <a:gd name="f317" fmla="val 919"/>
                  <a:gd name="f318" fmla="val 923"/>
                  <a:gd name="f319" fmla="val 717"/>
                  <a:gd name="f320" fmla="val 727"/>
                  <a:gd name="f321" fmla="val 729"/>
                  <a:gd name="f322" fmla="val 935"/>
                  <a:gd name="f323" fmla="val 725"/>
                  <a:gd name="f324" fmla="val 945"/>
                  <a:gd name="f325" fmla="val 954"/>
                  <a:gd name="f326" fmla="val 967"/>
                  <a:gd name="f327" fmla="val 981"/>
                  <a:gd name="f328" fmla="val 681"/>
                  <a:gd name="f329" fmla="val 993"/>
                  <a:gd name="f330" fmla="val 1011"/>
                  <a:gd name="f331" fmla="val 666"/>
                  <a:gd name="f332" fmla="val 1026"/>
                  <a:gd name="f333" fmla="val 1040"/>
                  <a:gd name="f334" fmla="val 661"/>
                  <a:gd name="f335" fmla="val 1051"/>
                  <a:gd name="f336" fmla="val 1071"/>
                  <a:gd name="f337" fmla="val 1080"/>
                  <a:gd name="f338" fmla="val 630"/>
                  <a:gd name="f339" fmla="val 1087"/>
                  <a:gd name="f340" fmla="val 620"/>
                  <a:gd name="f341" fmla="val 1090"/>
                  <a:gd name="f342" fmla="val 1094"/>
                  <a:gd name="f343" fmla="val 603"/>
                  <a:gd name="f344" fmla="val 1105"/>
                  <a:gd name="f345" fmla="val 596"/>
                  <a:gd name="f346" fmla="val 1130"/>
                  <a:gd name="f347" fmla="val 1140"/>
                  <a:gd name="f348" fmla="val 580"/>
                  <a:gd name="f349" fmla="val 1142"/>
                  <a:gd name="f350" fmla="val 578"/>
                  <a:gd name="f351" fmla="val 1145"/>
                  <a:gd name="f352" fmla="val 1148"/>
                  <a:gd name="f353" fmla="val 1153"/>
                  <a:gd name="f354" fmla="val 1156"/>
                  <a:gd name="f355" fmla="val 1159"/>
                  <a:gd name="f356" fmla="val 1162"/>
                  <a:gd name="f357" fmla="val 1164"/>
                  <a:gd name="f358" fmla="val 1169"/>
                  <a:gd name="f359" fmla="val 1173"/>
                  <a:gd name="f360" fmla="val 1182"/>
                  <a:gd name="f361" fmla="val 1189"/>
                  <a:gd name="f362" fmla="val 635"/>
                  <a:gd name="f363" fmla="val 1188"/>
                  <a:gd name="f364" fmla="val 650"/>
                  <a:gd name="f365" fmla="val 1177"/>
                  <a:gd name="f366" fmla="val 684"/>
                  <a:gd name="f367" fmla="val 1170"/>
                  <a:gd name="f368" fmla="val 720"/>
                  <a:gd name="f369" fmla="val 1151"/>
                  <a:gd name="f370" fmla="val 736"/>
                  <a:gd name="f371" fmla="val 1129"/>
                  <a:gd name="f372" fmla="val 753"/>
                  <a:gd name="f373" fmla="val 1134"/>
                  <a:gd name="f374" fmla="val 760"/>
                  <a:gd name="f375" fmla="val 1137"/>
                  <a:gd name="f376" fmla="val 1141"/>
                  <a:gd name="f377" fmla="val 1144"/>
                  <a:gd name="f378" fmla="val 813"/>
                  <a:gd name="f379" fmla="val 1135"/>
                  <a:gd name="f380" fmla="val 822"/>
                  <a:gd name="f381" fmla="val 828"/>
                  <a:gd name="f382" fmla="val 833"/>
                  <a:gd name="f383" fmla="val 1155"/>
                  <a:gd name="f384" fmla="val 839"/>
                  <a:gd name="f385" fmla="val 845"/>
                  <a:gd name="f386" fmla="val 1163"/>
                  <a:gd name="f387" fmla="val 1158"/>
                  <a:gd name="f388" fmla="val 871"/>
                  <a:gd name="f389" fmla="val 1149"/>
                  <a:gd name="f390" fmla="val 914"/>
                  <a:gd name="f391" fmla="val 921"/>
                  <a:gd name="f392" fmla="val 1127"/>
                  <a:gd name="f393" fmla="val 926"/>
                  <a:gd name="f394" fmla="val 1123"/>
                  <a:gd name="f395" fmla="val 929"/>
                  <a:gd name="f396" fmla="val 1122"/>
                  <a:gd name="f397" fmla="val 931"/>
                  <a:gd name="f398" fmla="val 1120"/>
                  <a:gd name="f399" fmla="val 933"/>
                  <a:gd name="f400" fmla="val 1131"/>
                  <a:gd name="f401" fmla="val 944"/>
                  <a:gd name="f402" fmla="val 1133"/>
                  <a:gd name="f403" fmla="val 947"/>
                  <a:gd name="f404" fmla="val 964"/>
                  <a:gd name="f405" fmla="val 1124"/>
                  <a:gd name="f406" fmla="val 976"/>
                  <a:gd name="f407" fmla="val 1119"/>
                  <a:gd name="f408" fmla="val 987"/>
                  <a:gd name="f409" fmla="val 1112"/>
                  <a:gd name="f410" fmla="val 997"/>
                  <a:gd name="f411" fmla="val 1106"/>
                  <a:gd name="f412" fmla="val 1004"/>
                  <a:gd name="f413" fmla="val 1095"/>
                  <a:gd name="f414" fmla="val 1019"/>
                  <a:gd name="f415" fmla="val 1068"/>
                  <a:gd name="f416" fmla="val 1029"/>
                  <a:gd name="f417" fmla="val 1059"/>
                  <a:gd name="f418" fmla="val 1039"/>
                  <a:gd name="f419" fmla="val 1054"/>
                  <a:gd name="f420" fmla="val 1044"/>
                  <a:gd name="f421" fmla="val 1053"/>
                  <a:gd name="f422" fmla="val 1030"/>
                  <a:gd name="f423" fmla="val 1061"/>
                  <a:gd name="f424" fmla="val 1017"/>
                  <a:gd name="f425" fmla="val 1000"/>
                  <a:gd name="f426" fmla="val 986"/>
                  <a:gd name="f427" fmla="val 1089"/>
                  <a:gd name="f428" fmla="val 974"/>
                  <a:gd name="f429" fmla="val 966"/>
                  <a:gd name="f430" fmla="val 959"/>
                  <a:gd name="f431" fmla="val 952"/>
                  <a:gd name="f432" fmla="val 1076"/>
                  <a:gd name="f433" fmla="val 939"/>
                  <a:gd name="f434" fmla="val 1064"/>
                  <a:gd name="f435" fmla="val 1046"/>
                  <a:gd name="f436" fmla="val 917"/>
                  <a:gd name="f437" fmla="val 1014"/>
                  <a:gd name="f438" fmla="val 909"/>
                  <a:gd name="f439" fmla="val 1001"/>
                  <a:gd name="f440" fmla="val 902"/>
                  <a:gd name="f441" fmla="val 994"/>
                  <a:gd name="f442" fmla="val 985"/>
                  <a:gd name="f443" fmla="val 887"/>
                  <a:gd name="f444" fmla="val 971"/>
                  <a:gd name="f445" fmla="val 878"/>
                  <a:gd name="f446" fmla="val 955"/>
                  <a:gd name="f447" fmla="val 900"/>
                  <a:gd name="f448" fmla="val 854"/>
                  <a:gd name="f449" fmla="val 820"/>
                  <a:gd name="f450" fmla="val 819"/>
                  <a:gd name="f451" fmla="val 860"/>
                  <a:gd name="f452" fmla="val 849"/>
                  <a:gd name="f453" fmla="val 832"/>
                  <a:gd name="f454" fmla="val 817"/>
                  <a:gd name="f455" fmla="val 806"/>
                  <a:gd name="f456" fmla="val 784"/>
                  <a:gd name="f457" fmla="val 788"/>
                  <a:gd name="f458" fmla="val 789"/>
                  <a:gd name="f459" fmla="val 774"/>
                  <a:gd name="f460" fmla="val 836"/>
                  <a:gd name="f461" fmla="val 734"/>
                  <a:gd name="f462" fmla="val 714"/>
                  <a:gd name="f463" fmla="val 707"/>
                  <a:gd name="f464" fmla="val 698"/>
                  <a:gd name="f465" fmla="val 682"/>
                  <a:gd name="f466" fmla="val 653"/>
                  <a:gd name="f467" fmla="val 667"/>
                  <a:gd name="f468" fmla="val 613"/>
                  <a:gd name="f469" fmla="val 606"/>
                  <a:gd name="f470" fmla="val 592"/>
                  <a:gd name="f471" fmla="val 575"/>
                  <a:gd name="f472" fmla="val 555"/>
                  <a:gd name="f473" fmla="val 625"/>
                  <a:gd name="f474" fmla="val 537"/>
                  <a:gd name="f475" fmla="val 623"/>
                  <a:gd name="f476" fmla="val 523"/>
                  <a:gd name="f477" fmla="val 515"/>
                  <a:gd name="f478" fmla="val 618"/>
                  <a:gd name="f479" fmla="val 439"/>
                  <a:gd name="f480" fmla="val 431"/>
                  <a:gd name="f481" fmla="val 418"/>
                  <a:gd name="f482" fmla="val 367"/>
                  <a:gd name="f483" fmla="val 358"/>
                  <a:gd name="f484" fmla="val 352"/>
                  <a:gd name="f485" fmla="val 341"/>
                  <a:gd name="f486" fmla="val 326"/>
                  <a:gd name="f487" fmla="val 693"/>
                  <a:gd name="f488" fmla="val 695"/>
                  <a:gd name="f489" fmla="val 265"/>
                  <a:gd name="f490" fmla="val 257"/>
                  <a:gd name="f491" fmla="val 247"/>
                  <a:gd name="f492" fmla="val 228"/>
                  <a:gd name="f493" fmla="val 221"/>
                  <a:gd name="f494" fmla="val 213"/>
                  <a:gd name="f495" fmla="val 199"/>
                  <a:gd name="f496" fmla="val 775"/>
                  <a:gd name="f497" fmla="val 185"/>
                  <a:gd name="f498" fmla="val 175"/>
                  <a:gd name="f499" fmla="val 799"/>
                  <a:gd name="f500" fmla="val 827"/>
                  <a:gd name="f501" fmla="val 153"/>
                  <a:gd name="f502" fmla="val 149"/>
                  <a:gd name="f503" fmla="val 135"/>
                  <a:gd name="f504" fmla="val 120"/>
                  <a:gd name="f505" fmla="val 110"/>
                  <a:gd name="f506" fmla="val 102"/>
                  <a:gd name="f507" fmla="val 97"/>
                  <a:gd name="f508" fmla="val 99"/>
                  <a:gd name="f509" fmla="val 840"/>
                  <a:gd name="f510" fmla="val 106"/>
                  <a:gd name="f511" fmla="val 117"/>
                  <a:gd name="f512" fmla="val 857"/>
                  <a:gd name="f513" fmla="val 131"/>
                  <a:gd name="f514" fmla="val 892"/>
                  <a:gd name="f515" fmla="val 95"/>
                  <a:gd name="f516" fmla="val 918"/>
                  <a:gd name="f517" fmla="val 69"/>
                  <a:gd name="f518" fmla="val 43"/>
                  <a:gd name="f519" fmla="val 51"/>
                  <a:gd name="f520" fmla="val 886"/>
                  <a:gd name="f521" fmla="val 868"/>
                  <a:gd name="f522" fmla="val 76"/>
                  <a:gd name="f523" fmla="val 81"/>
                  <a:gd name="f524" fmla="val 80"/>
                  <a:gd name="f525" fmla="val 70"/>
                  <a:gd name="f526" fmla="val 44"/>
                  <a:gd name="f527" fmla="val 16"/>
                  <a:gd name="f528" fmla="val 5"/>
                  <a:gd name="f529" fmla="val 741"/>
                  <a:gd name="f530" fmla="val 1"/>
                  <a:gd name="f531" fmla="val 11"/>
                  <a:gd name="f532" fmla="val 15"/>
                  <a:gd name="f533" fmla="val 711"/>
                  <a:gd name="f534" fmla="val 14"/>
                  <a:gd name="f535" fmla="val 9"/>
                  <a:gd name="f536" fmla="val 7"/>
                  <a:gd name="f537" fmla="val 646"/>
                  <a:gd name="f538" fmla="val 54"/>
                  <a:gd name="f539" fmla="val 598"/>
                  <a:gd name="f540" fmla="val 62"/>
                  <a:gd name="f541" fmla="val 573"/>
                  <a:gd name="f542" fmla="val 563"/>
                  <a:gd name="f543" fmla="val 548"/>
                  <a:gd name="f544" fmla="val 535"/>
                  <a:gd name="f545" fmla="val 67"/>
                  <a:gd name="f546" fmla="val 510"/>
                  <a:gd name="f547" fmla="val 65"/>
                  <a:gd name="f548" fmla="val 503"/>
                  <a:gd name="f549" fmla="val 496"/>
                  <a:gd name="f550" fmla="val 74"/>
                  <a:gd name="f551" fmla="val 85"/>
                  <a:gd name="f552" fmla="val 480"/>
                  <a:gd name="f553" fmla="val 467"/>
                  <a:gd name="f554" fmla="val 451"/>
                  <a:gd name="f555" fmla="val 387"/>
                  <a:gd name="f556" fmla="val 200"/>
                  <a:gd name="f557" fmla="val 374"/>
                  <a:gd name="f558" fmla="val 210"/>
                  <a:gd name="f559" fmla="val 366"/>
                  <a:gd name="f560" fmla="val 235"/>
                  <a:gd name="f561" fmla="val 335"/>
                  <a:gd name="f562" fmla="val 319"/>
                  <a:gd name="f563" fmla="val 312"/>
                  <a:gd name="f564" fmla="val 331"/>
                  <a:gd name="f565" fmla="val 286"/>
                  <a:gd name="f566" fmla="val 336"/>
                  <a:gd name="f567" fmla="val 340"/>
                  <a:gd name="f568" fmla="val 345"/>
                  <a:gd name="f569" fmla="val 353"/>
                  <a:gd name="f570" fmla="val 370"/>
                  <a:gd name="f571" fmla="val 256"/>
                  <a:gd name="f572" fmla="val 378"/>
                  <a:gd name="f573" fmla="val 249"/>
                  <a:gd name="f574" fmla="val 244"/>
                  <a:gd name="f575" fmla="val 238"/>
                  <a:gd name="f576" fmla="val 395"/>
                  <a:gd name="f577" fmla="val 389"/>
                  <a:gd name="f578" fmla="val 208"/>
                  <a:gd name="f579" fmla="val 381"/>
                  <a:gd name="f580" fmla="val 376"/>
                  <a:gd name="f581" fmla="val 172"/>
                  <a:gd name="f582" fmla="val 382"/>
                  <a:gd name="f583" fmla="val 398"/>
                  <a:gd name="f584" fmla="val 127"/>
                  <a:gd name="f585" fmla="val 399"/>
                  <a:gd name="f586" fmla="val 126"/>
                  <a:gd name="f587" fmla="val 400"/>
                  <a:gd name="f588" fmla="val 429"/>
                  <a:gd name="f589" fmla="val 442"/>
                  <a:gd name="f590" fmla="val 452"/>
                  <a:gd name="f591" fmla="val 464"/>
                  <a:gd name="f592" fmla="val 478"/>
                  <a:gd name="f593" fmla="val 494"/>
                  <a:gd name="f594" fmla="val 525"/>
                  <a:gd name="f595" fmla="val 536"/>
                  <a:gd name="f596" fmla="val 554"/>
                  <a:gd name="f597" fmla="val 72"/>
                  <a:gd name="f598" fmla="val 569"/>
                  <a:gd name="f599" fmla="val 66"/>
                  <a:gd name="f600" fmla="val 57"/>
                  <a:gd name="f601" fmla="val 594"/>
                  <a:gd name="f602" fmla="val 50"/>
                  <a:gd name="f603" fmla="val 40"/>
                  <a:gd name="f604" fmla="val 10"/>
                  <a:gd name="f605" fmla="+- 0 0 -90"/>
                  <a:gd name="f606" fmla="*/ f3 1 1193"/>
                  <a:gd name="f607" fmla="*/ f4 1 1097"/>
                  <a:gd name="f608" fmla="+- f7 0 f5"/>
                  <a:gd name="f609" fmla="+- f6 0 f5"/>
                  <a:gd name="f610" fmla="*/ f605 f0 1"/>
                  <a:gd name="f611" fmla="*/ f609 1 1193"/>
                  <a:gd name="f612" fmla="*/ f608 1 1097"/>
                  <a:gd name="f613" fmla="*/ f610 1 f2"/>
                  <a:gd name="f614" fmla="*/ 702 1 f611"/>
                  <a:gd name="f615" fmla="*/ 313 1 f612"/>
                  <a:gd name="f616" fmla="*/ 780 1 f611"/>
                  <a:gd name="f617" fmla="*/ 259 1 f612"/>
                  <a:gd name="f618" fmla="*/ 787 1 f611"/>
                  <a:gd name="f619" fmla="*/ 309 1 f612"/>
                  <a:gd name="f620" fmla="*/ 791 1 f611"/>
                  <a:gd name="f621" fmla="*/ 686 1 f611"/>
                  <a:gd name="f622" fmla="*/ 58 1 f612"/>
                  <a:gd name="f623" fmla="*/ 644 1 f611"/>
                  <a:gd name="f624" fmla="*/ 150 1 f612"/>
                  <a:gd name="f625" fmla="*/ 602 1 f611"/>
                  <a:gd name="f626" fmla="*/ 225 1 f612"/>
                  <a:gd name="f627" fmla="*/ 692 1 f611"/>
                  <a:gd name="f628" fmla="*/ 191 1 f612"/>
                  <a:gd name="f629" fmla="*/ 742 1 f611"/>
                  <a:gd name="f630" fmla="*/ 209 1 f612"/>
                  <a:gd name="f631" fmla="*/ 812 1 f611"/>
                  <a:gd name="f632" fmla="*/ 220 1 f612"/>
                  <a:gd name="f633" fmla="*/ 856 1 f611"/>
                  <a:gd name="f634" fmla="*/ 168 1 f612"/>
                  <a:gd name="f635" fmla="*/ 851 1 f611"/>
                  <a:gd name="f636" fmla="*/ 84 1 f612"/>
                  <a:gd name="f637" fmla="*/ 916 1 f611"/>
                  <a:gd name="f638" fmla="*/ 94 1 f612"/>
                  <a:gd name="f639" fmla="*/ 924 1 f611"/>
                  <a:gd name="f640" fmla="*/ 134 1 f612"/>
                  <a:gd name="f641" fmla="*/ 941 1 f611"/>
                  <a:gd name="f642" fmla="*/ 161 1 f612"/>
                  <a:gd name="f643" fmla="*/ 890 1 f611"/>
                  <a:gd name="f644" fmla="*/ 240 1 f612"/>
                  <a:gd name="f645" fmla="*/ 274 1 f612"/>
                  <a:gd name="f646" fmla="*/ 883 1 f611"/>
                  <a:gd name="f647" fmla="*/ 288 1 f612"/>
                  <a:gd name="f648" fmla="*/ 809 1 f611"/>
                  <a:gd name="f649" fmla="*/ 377 1 f612"/>
                  <a:gd name="f650" fmla="*/ 778 1 f611"/>
                  <a:gd name="f651" fmla="*/ 406 1 f612"/>
                  <a:gd name="f652" fmla="*/ 528 1 f612"/>
                  <a:gd name="f653" fmla="*/ 797 1 f611"/>
                  <a:gd name="f654" fmla="*/ 521 1 f612"/>
                  <a:gd name="f655" fmla="*/ 808 1 f611"/>
                  <a:gd name="f656" fmla="*/ 588 1 f612"/>
                  <a:gd name="f657" fmla="*/ 754 1 f611"/>
                  <a:gd name="f658" fmla="*/ 610 1 f612"/>
                  <a:gd name="f659" fmla="*/ 818 1 f611"/>
                  <a:gd name="f660" fmla="*/ 612 1 f612"/>
                  <a:gd name="f661" fmla="*/ 919 1 f611"/>
                  <a:gd name="f662" fmla="*/ 702 1 f612"/>
                  <a:gd name="f663" fmla="*/ 993 1 f611"/>
                  <a:gd name="f664" fmla="*/ 673 1 f612"/>
                  <a:gd name="f665" fmla="*/ 1094 1 f611"/>
                  <a:gd name="f666" fmla="*/ 603 1 f612"/>
                  <a:gd name="f667" fmla="*/ 1159 1 f611"/>
                  <a:gd name="f668" fmla="*/ 593 1 f612"/>
                  <a:gd name="f669" fmla="*/ 1188 1 f611"/>
                  <a:gd name="f670" fmla="*/ 650 1 f612"/>
                  <a:gd name="f671" fmla="*/ 1129 1 f611"/>
                  <a:gd name="f672" fmla="*/ 753 1 f612"/>
                  <a:gd name="f673" fmla="*/ 1137 1 f611"/>
                  <a:gd name="f674" fmla="*/ 828 1 f612"/>
                  <a:gd name="f675" fmla="*/ 1140 1 f611"/>
                  <a:gd name="f676" fmla="*/ 921 1 f612"/>
                  <a:gd name="f677" fmla="*/ 1124 1 f611"/>
                  <a:gd name="f678" fmla="*/ 976 1 f612"/>
                  <a:gd name="f679" fmla="*/ 1044 1 f611"/>
                  <a:gd name="f680" fmla="*/ 1053 1 f612"/>
                  <a:gd name="f681" fmla="*/ 945 1 f611"/>
                  <a:gd name="f682" fmla="*/ 1076 1 f612"/>
                  <a:gd name="f683" fmla="*/ 887 1 f611"/>
                  <a:gd name="f684" fmla="*/ 971 1 f612"/>
                  <a:gd name="f685" fmla="*/ 854 1 f611"/>
                  <a:gd name="f686" fmla="*/ 881 1 f612"/>
                  <a:gd name="f687" fmla="*/ 817 1 f612"/>
                  <a:gd name="f688" fmla="*/ 861 1 f611"/>
                  <a:gd name="f689" fmla="*/ 784 1 f612"/>
                  <a:gd name="f690" fmla="*/ 764 1 f611"/>
                  <a:gd name="f691" fmla="*/ 692 1 f612"/>
                  <a:gd name="f692" fmla="*/ 606 1 f611"/>
                  <a:gd name="f693" fmla="*/ 642 1 f612"/>
                  <a:gd name="f694" fmla="*/ 418 1 f611"/>
                  <a:gd name="f695" fmla="*/ 628 1 f612"/>
                  <a:gd name="f696" fmla="*/ 290 1 f611"/>
                  <a:gd name="f697" fmla="*/ 695 1 f612"/>
                  <a:gd name="f698" fmla="*/ 185 1 f611"/>
                  <a:gd name="f699" fmla="*/ 785 1 f612"/>
                  <a:gd name="f700" fmla="*/ 98 1 f611"/>
                  <a:gd name="f701" fmla="*/ 827 1 f612"/>
                  <a:gd name="f702" fmla="*/ 97 1 f611"/>
                  <a:gd name="f703" fmla="*/ 913 1 f612"/>
                  <a:gd name="f704" fmla="*/ 81 1 f611"/>
                  <a:gd name="f705" fmla="*/ 818 1 f612"/>
                  <a:gd name="f706" fmla="*/ 0 1 f611"/>
                  <a:gd name="f707" fmla="*/ 741 1 f612"/>
                  <a:gd name="f708" fmla="*/ 7 1 f611"/>
                  <a:gd name="f709" fmla="*/ 674 1 f612"/>
                  <a:gd name="f710" fmla="*/ 548 1 f612"/>
                  <a:gd name="f711" fmla="*/ 99 1 f611"/>
                  <a:gd name="f712" fmla="*/ 467 1 f612"/>
                  <a:gd name="f713" fmla="*/ 268 1 f611"/>
                  <a:gd name="f714" fmla="*/ 335 1 f612"/>
                  <a:gd name="f715" fmla="*/ 362 1 f611"/>
                  <a:gd name="f716" fmla="*/ 262 1 f612"/>
                  <a:gd name="f717" fmla="*/ 376 1 f611"/>
                  <a:gd name="f718" fmla="*/ 190 1 f612"/>
                  <a:gd name="f719" fmla="*/ 416 1 f611"/>
                  <a:gd name="f720" fmla="*/ 126 1 f612"/>
                  <a:gd name="f721" fmla="*/ 536 1 f611"/>
                  <a:gd name="f722" fmla="*/ 73 1 f612"/>
                  <a:gd name="f723" fmla="*/ 655 1 f611"/>
                  <a:gd name="f724" fmla="*/ 3 1 f612"/>
                  <a:gd name="f725" fmla="*/ f6 1 f611"/>
                  <a:gd name="f726" fmla="*/ 0 1 f612"/>
                  <a:gd name="f727" fmla="*/ f7 1 f612"/>
                  <a:gd name="f728" fmla="+- f613 0 f1"/>
                  <a:gd name="f729" fmla="*/ f706 f606 1"/>
                  <a:gd name="f730" fmla="*/ f725 f606 1"/>
                  <a:gd name="f731" fmla="*/ f727 f607 1"/>
                  <a:gd name="f732" fmla="*/ f726 f607 1"/>
                  <a:gd name="f733" fmla="*/ f614 f606 1"/>
                  <a:gd name="f734" fmla="*/ f615 f607 1"/>
                  <a:gd name="f735" fmla="*/ f616 f606 1"/>
                  <a:gd name="f736" fmla="*/ f617 f607 1"/>
                  <a:gd name="f737" fmla="*/ f618 f606 1"/>
                  <a:gd name="f738" fmla="*/ f619 f607 1"/>
                  <a:gd name="f739" fmla="*/ f620 f606 1"/>
                  <a:gd name="f740" fmla="*/ f621 f606 1"/>
                  <a:gd name="f741" fmla="*/ f622 f607 1"/>
                  <a:gd name="f742" fmla="*/ f623 f606 1"/>
                  <a:gd name="f743" fmla="*/ f624 f607 1"/>
                  <a:gd name="f744" fmla="*/ f625 f606 1"/>
                  <a:gd name="f745" fmla="*/ f626 f607 1"/>
                  <a:gd name="f746" fmla="*/ f627 f606 1"/>
                  <a:gd name="f747" fmla="*/ f628 f607 1"/>
                  <a:gd name="f748" fmla="*/ f629 f606 1"/>
                  <a:gd name="f749" fmla="*/ f630 f607 1"/>
                  <a:gd name="f750" fmla="*/ f631 f606 1"/>
                  <a:gd name="f751" fmla="*/ f632 f607 1"/>
                  <a:gd name="f752" fmla="*/ f633 f606 1"/>
                  <a:gd name="f753" fmla="*/ f634 f607 1"/>
                  <a:gd name="f754" fmla="*/ f635 f606 1"/>
                  <a:gd name="f755" fmla="*/ f636 f607 1"/>
                  <a:gd name="f756" fmla="*/ f637 f606 1"/>
                  <a:gd name="f757" fmla="*/ f638 f607 1"/>
                  <a:gd name="f758" fmla="*/ f639 f606 1"/>
                  <a:gd name="f759" fmla="*/ f640 f607 1"/>
                  <a:gd name="f760" fmla="*/ f641 f606 1"/>
                  <a:gd name="f761" fmla="*/ f642 f607 1"/>
                  <a:gd name="f762" fmla="*/ f643 f606 1"/>
                  <a:gd name="f763" fmla="*/ f644 f607 1"/>
                  <a:gd name="f764" fmla="*/ f645 f607 1"/>
                  <a:gd name="f765" fmla="*/ f646 f606 1"/>
                  <a:gd name="f766" fmla="*/ f647 f607 1"/>
                  <a:gd name="f767" fmla="*/ f648 f606 1"/>
                  <a:gd name="f768" fmla="*/ f649 f607 1"/>
                  <a:gd name="f769" fmla="*/ f650 f606 1"/>
                  <a:gd name="f770" fmla="*/ f651 f607 1"/>
                  <a:gd name="f771" fmla="*/ f652 f607 1"/>
                  <a:gd name="f772" fmla="*/ f653 f606 1"/>
                  <a:gd name="f773" fmla="*/ f654 f607 1"/>
                  <a:gd name="f774" fmla="*/ f655 f606 1"/>
                  <a:gd name="f775" fmla="*/ f656 f607 1"/>
                  <a:gd name="f776" fmla="*/ f657 f606 1"/>
                  <a:gd name="f777" fmla="*/ f658 f607 1"/>
                  <a:gd name="f778" fmla="*/ f659 f606 1"/>
                  <a:gd name="f779" fmla="*/ f660 f607 1"/>
                  <a:gd name="f780" fmla="*/ f661 f606 1"/>
                  <a:gd name="f781" fmla="*/ f662 f607 1"/>
                  <a:gd name="f782" fmla="*/ f663 f606 1"/>
                  <a:gd name="f783" fmla="*/ f664 f607 1"/>
                  <a:gd name="f784" fmla="*/ f665 f606 1"/>
                  <a:gd name="f785" fmla="*/ f666 f607 1"/>
                  <a:gd name="f786" fmla="*/ f667 f606 1"/>
                  <a:gd name="f787" fmla="*/ f668 f607 1"/>
                  <a:gd name="f788" fmla="*/ f669 f606 1"/>
                  <a:gd name="f789" fmla="*/ f670 f607 1"/>
                  <a:gd name="f790" fmla="*/ f671 f606 1"/>
                  <a:gd name="f791" fmla="*/ f672 f607 1"/>
                  <a:gd name="f792" fmla="*/ f673 f606 1"/>
                  <a:gd name="f793" fmla="*/ f674 f607 1"/>
                  <a:gd name="f794" fmla="*/ f675 f606 1"/>
                  <a:gd name="f795" fmla="*/ f676 f607 1"/>
                  <a:gd name="f796" fmla="*/ f677 f606 1"/>
                  <a:gd name="f797" fmla="*/ f678 f607 1"/>
                  <a:gd name="f798" fmla="*/ f679 f606 1"/>
                  <a:gd name="f799" fmla="*/ f680 f607 1"/>
                  <a:gd name="f800" fmla="*/ f681 f606 1"/>
                  <a:gd name="f801" fmla="*/ f682 f607 1"/>
                  <a:gd name="f802" fmla="*/ f683 f606 1"/>
                  <a:gd name="f803" fmla="*/ f684 f607 1"/>
                  <a:gd name="f804" fmla="*/ f685 f606 1"/>
                  <a:gd name="f805" fmla="*/ f686 f607 1"/>
                  <a:gd name="f806" fmla="*/ f687 f607 1"/>
                  <a:gd name="f807" fmla="*/ f688 f606 1"/>
                  <a:gd name="f808" fmla="*/ f689 f607 1"/>
                  <a:gd name="f809" fmla="*/ f690 f606 1"/>
                  <a:gd name="f810" fmla="*/ f691 f607 1"/>
                  <a:gd name="f811" fmla="*/ f692 f606 1"/>
                  <a:gd name="f812" fmla="*/ f693 f607 1"/>
                  <a:gd name="f813" fmla="*/ f694 f606 1"/>
                  <a:gd name="f814" fmla="*/ f695 f607 1"/>
                  <a:gd name="f815" fmla="*/ f696 f606 1"/>
                  <a:gd name="f816" fmla="*/ f697 f607 1"/>
                  <a:gd name="f817" fmla="*/ f698 f606 1"/>
                  <a:gd name="f818" fmla="*/ f699 f607 1"/>
                  <a:gd name="f819" fmla="*/ f700 f606 1"/>
                  <a:gd name="f820" fmla="*/ f701 f607 1"/>
                  <a:gd name="f821" fmla="*/ f702 f606 1"/>
                  <a:gd name="f822" fmla="*/ f703 f607 1"/>
                  <a:gd name="f823" fmla="*/ f704 f606 1"/>
                  <a:gd name="f824" fmla="*/ f705 f607 1"/>
                  <a:gd name="f825" fmla="*/ f707 f607 1"/>
                  <a:gd name="f826" fmla="*/ f708 f606 1"/>
                  <a:gd name="f827" fmla="*/ f709 f607 1"/>
                  <a:gd name="f828" fmla="*/ f710 f607 1"/>
                  <a:gd name="f829" fmla="*/ f711 f606 1"/>
                  <a:gd name="f830" fmla="*/ f712 f607 1"/>
                  <a:gd name="f831" fmla="*/ f713 f606 1"/>
                  <a:gd name="f832" fmla="*/ f714 f607 1"/>
                  <a:gd name="f833" fmla="*/ f715 f606 1"/>
                  <a:gd name="f834" fmla="*/ f716 f607 1"/>
                  <a:gd name="f835" fmla="*/ f717 f606 1"/>
                  <a:gd name="f836" fmla="*/ f718 f607 1"/>
                  <a:gd name="f837" fmla="*/ f719 f606 1"/>
                  <a:gd name="f838" fmla="*/ f720 f607 1"/>
                  <a:gd name="f839" fmla="*/ f721 f606 1"/>
                  <a:gd name="f840" fmla="*/ f722 f607 1"/>
                  <a:gd name="f841" fmla="*/ f723 f606 1"/>
                  <a:gd name="f842" fmla="*/ f724 f60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728">
                    <a:pos x="f733" y="f734"/>
                  </a:cxn>
                  <a:cxn ang="f728">
                    <a:pos x="f735" y="f736"/>
                  </a:cxn>
                  <a:cxn ang="f728">
                    <a:pos x="f737" y="f738"/>
                  </a:cxn>
                  <a:cxn ang="f728">
                    <a:pos x="f739" y="f736"/>
                  </a:cxn>
                  <a:cxn ang="f728">
                    <a:pos x="f740" y="f741"/>
                  </a:cxn>
                  <a:cxn ang="f728">
                    <a:pos x="f742" y="f743"/>
                  </a:cxn>
                  <a:cxn ang="f728">
                    <a:pos x="f744" y="f745"/>
                  </a:cxn>
                  <a:cxn ang="f728">
                    <a:pos x="f746" y="f747"/>
                  </a:cxn>
                  <a:cxn ang="f728">
                    <a:pos x="f748" y="f749"/>
                  </a:cxn>
                  <a:cxn ang="f728">
                    <a:pos x="f750" y="f751"/>
                  </a:cxn>
                  <a:cxn ang="f728">
                    <a:pos x="f752" y="f753"/>
                  </a:cxn>
                  <a:cxn ang="f728">
                    <a:pos x="f754" y="f755"/>
                  </a:cxn>
                  <a:cxn ang="f728">
                    <a:pos x="f756" y="f757"/>
                  </a:cxn>
                  <a:cxn ang="f728">
                    <a:pos x="f758" y="f759"/>
                  </a:cxn>
                  <a:cxn ang="f728">
                    <a:pos x="f760" y="f761"/>
                  </a:cxn>
                  <a:cxn ang="f728">
                    <a:pos x="f762" y="f763"/>
                  </a:cxn>
                  <a:cxn ang="f728">
                    <a:pos x="f752" y="f764"/>
                  </a:cxn>
                  <a:cxn ang="f728">
                    <a:pos x="f765" y="f766"/>
                  </a:cxn>
                  <a:cxn ang="f728">
                    <a:pos x="f767" y="f768"/>
                  </a:cxn>
                  <a:cxn ang="f728">
                    <a:pos x="f769" y="f770"/>
                  </a:cxn>
                  <a:cxn ang="f728">
                    <a:pos x="f748" y="f771"/>
                  </a:cxn>
                  <a:cxn ang="f728">
                    <a:pos x="f772" y="f773"/>
                  </a:cxn>
                  <a:cxn ang="f728">
                    <a:pos x="f774" y="f775"/>
                  </a:cxn>
                  <a:cxn ang="f728">
                    <a:pos x="f776" y="f777"/>
                  </a:cxn>
                  <a:cxn ang="f728">
                    <a:pos x="f778" y="f779"/>
                  </a:cxn>
                  <a:cxn ang="f728">
                    <a:pos x="f780" y="f781"/>
                  </a:cxn>
                  <a:cxn ang="f728">
                    <a:pos x="f782" y="f783"/>
                  </a:cxn>
                  <a:cxn ang="f728">
                    <a:pos x="f784" y="f785"/>
                  </a:cxn>
                  <a:cxn ang="f728">
                    <a:pos x="f786" y="f787"/>
                  </a:cxn>
                  <a:cxn ang="f728">
                    <a:pos x="f788" y="f789"/>
                  </a:cxn>
                  <a:cxn ang="f728">
                    <a:pos x="f790" y="f791"/>
                  </a:cxn>
                  <a:cxn ang="f728">
                    <a:pos x="f792" y="f793"/>
                  </a:cxn>
                  <a:cxn ang="f728">
                    <a:pos x="f794" y="f795"/>
                  </a:cxn>
                  <a:cxn ang="f728">
                    <a:pos x="f796" y="f797"/>
                  </a:cxn>
                  <a:cxn ang="f728">
                    <a:pos x="f798" y="f799"/>
                  </a:cxn>
                  <a:cxn ang="f728">
                    <a:pos x="f800" y="f801"/>
                  </a:cxn>
                  <a:cxn ang="f728">
                    <a:pos x="f802" y="f803"/>
                  </a:cxn>
                  <a:cxn ang="f728">
                    <a:pos x="f804" y="f805"/>
                  </a:cxn>
                  <a:cxn ang="f728">
                    <a:pos x="f778" y="f806"/>
                  </a:cxn>
                  <a:cxn ang="f728">
                    <a:pos x="f807" y="f808"/>
                  </a:cxn>
                  <a:cxn ang="f728">
                    <a:pos x="f809" y="f810"/>
                  </a:cxn>
                  <a:cxn ang="f728">
                    <a:pos x="f811" y="f812"/>
                  </a:cxn>
                  <a:cxn ang="f728">
                    <a:pos x="f813" y="f814"/>
                  </a:cxn>
                  <a:cxn ang="f728">
                    <a:pos x="f815" y="f816"/>
                  </a:cxn>
                  <a:cxn ang="f728">
                    <a:pos x="f817" y="f818"/>
                  </a:cxn>
                  <a:cxn ang="f728">
                    <a:pos x="f819" y="f820"/>
                  </a:cxn>
                  <a:cxn ang="f728">
                    <a:pos x="f821" y="f822"/>
                  </a:cxn>
                  <a:cxn ang="f728">
                    <a:pos x="f823" y="f824"/>
                  </a:cxn>
                  <a:cxn ang="f728">
                    <a:pos x="f729" y="f825"/>
                  </a:cxn>
                  <a:cxn ang="f728">
                    <a:pos x="f826" y="f827"/>
                  </a:cxn>
                  <a:cxn ang="f728">
                    <a:pos x="f819" y="f828"/>
                  </a:cxn>
                  <a:cxn ang="f728">
                    <a:pos x="f829" y="f830"/>
                  </a:cxn>
                  <a:cxn ang="f728">
                    <a:pos x="f831" y="f832"/>
                  </a:cxn>
                  <a:cxn ang="f728">
                    <a:pos x="f833" y="f834"/>
                  </a:cxn>
                  <a:cxn ang="f728">
                    <a:pos x="f835" y="f836"/>
                  </a:cxn>
                  <a:cxn ang="f728">
                    <a:pos x="f837" y="f838"/>
                  </a:cxn>
                  <a:cxn ang="f728">
                    <a:pos x="f839" y="f840"/>
                  </a:cxn>
                  <a:cxn ang="f728">
                    <a:pos x="f841" y="f842"/>
                  </a:cxn>
                </a:cxnLst>
                <a:rect l="f729" t="f732" r="f730" b="f731"/>
                <a:pathLst>
                  <a:path w="1193" h="1097">
                    <a:moveTo>
                      <a:pt x="f8" y="f9"/>
                    </a:move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14" y="f26"/>
                    </a:lnTo>
                    <a:lnTo>
                      <a:pt x="f27" y="f28"/>
                    </a:lnTo>
                    <a:lnTo>
                      <a:pt x="f29" y="f26"/>
                    </a:lnTo>
                    <a:lnTo>
                      <a:pt x="f30" y="f31"/>
                    </a:lnTo>
                    <a:lnTo>
                      <a:pt x="f32" y="f15"/>
                    </a:lnTo>
                    <a:lnTo>
                      <a:pt x="f32" y="f9"/>
                    </a:lnTo>
                    <a:lnTo>
                      <a:pt x="f8" y="f9"/>
                    </a:lnTo>
                    <a:close/>
                    <a:moveTo>
                      <a:pt x="f33" y="f34"/>
                    </a:move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39" y="f31"/>
                    </a:lnTo>
                    <a:lnTo>
                      <a:pt x="f33" y="f31"/>
                    </a:lnTo>
                    <a:lnTo>
                      <a:pt x="f50" y="f23"/>
                    </a:lnTo>
                    <a:lnTo>
                      <a:pt x="f51" y="f49"/>
                    </a:lnTo>
                    <a:lnTo>
                      <a:pt x="f52" y="f19"/>
                    </a:lnTo>
                    <a:lnTo>
                      <a:pt x="f53" y="f54"/>
                    </a:lnTo>
                    <a:lnTo>
                      <a:pt x="f53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36"/>
                    </a:lnTo>
                    <a:lnTo>
                      <a:pt x="f61" y="f36"/>
                    </a:lnTo>
                    <a:lnTo>
                      <a:pt x="f33" y="f34"/>
                    </a:lnTo>
                    <a:close/>
                    <a:moveTo>
                      <a:pt x="f62" y="f5"/>
                    </a:moveTo>
                    <a:lnTo>
                      <a:pt x="f63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7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20" y="f84"/>
                    </a:lnTo>
                    <a:lnTo>
                      <a:pt x="f77" y="f85"/>
                    </a:lnTo>
                    <a:lnTo>
                      <a:pt x="f69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99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6" y="f98"/>
                    </a:lnTo>
                    <a:lnTo>
                      <a:pt x="f117" y="f118"/>
                    </a:lnTo>
                    <a:lnTo>
                      <a:pt x="f119" y="f96"/>
                    </a:lnTo>
                    <a:lnTo>
                      <a:pt x="f120" y="f96"/>
                    </a:lnTo>
                    <a:lnTo>
                      <a:pt x="f82" y="f118"/>
                    </a:lnTo>
                    <a:lnTo>
                      <a:pt x="f121" y="f118"/>
                    </a:lnTo>
                    <a:lnTo>
                      <a:pt x="f14" y="f96"/>
                    </a:lnTo>
                    <a:lnTo>
                      <a:pt x="f27" y="f122"/>
                    </a:lnTo>
                    <a:lnTo>
                      <a:pt x="f29" y="f123"/>
                    </a:lnTo>
                    <a:lnTo>
                      <a:pt x="f30" y="f124"/>
                    </a:lnTo>
                    <a:lnTo>
                      <a:pt x="f125" y="f96"/>
                    </a:lnTo>
                    <a:lnTo>
                      <a:pt x="f126" y="f98"/>
                    </a:lnTo>
                    <a:lnTo>
                      <a:pt x="f127" y="f115"/>
                    </a:lnTo>
                    <a:lnTo>
                      <a:pt x="f128" y="f129"/>
                    </a:lnTo>
                    <a:lnTo>
                      <a:pt x="f128" y="f130"/>
                    </a:lnTo>
                    <a:lnTo>
                      <a:pt x="f131" y="f109"/>
                    </a:lnTo>
                    <a:lnTo>
                      <a:pt x="f48" y="f132"/>
                    </a:lnTo>
                    <a:lnTo>
                      <a:pt x="f133" y="f134"/>
                    </a:lnTo>
                    <a:lnTo>
                      <a:pt x="f135" y="f134"/>
                    </a:lnTo>
                    <a:lnTo>
                      <a:pt x="f61" y="f136"/>
                    </a:lnTo>
                    <a:lnTo>
                      <a:pt x="f60" y="f109"/>
                    </a:lnTo>
                    <a:lnTo>
                      <a:pt x="f53" y="f137"/>
                    </a:lnTo>
                    <a:lnTo>
                      <a:pt x="f138" y="f103"/>
                    </a:lnTo>
                    <a:lnTo>
                      <a:pt x="f139" y="f140"/>
                    </a:lnTo>
                    <a:lnTo>
                      <a:pt x="f141" y="f140"/>
                    </a:lnTo>
                    <a:lnTo>
                      <a:pt x="f142" y="f132"/>
                    </a:lnTo>
                    <a:lnTo>
                      <a:pt x="f143" y="f130"/>
                    </a:lnTo>
                    <a:lnTo>
                      <a:pt x="f144" y="f100"/>
                    </a:lnTo>
                    <a:lnTo>
                      <a:pt x="f143" y="f145"/>
                    </a:lnTo>
                    <a:lnTo>
                      <a:pt x="f146" y="f147"/>
                    </a:lnTo>
                    <a:lnTo>
                      <a:pt x="f148" y="f2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4" y="f158"/>
                    </a:lnTo>
                    <a:lnTo>
                      <a:pt x="f146" y="f159"/>
                    </a:lnTo>
                    <a:lnTo>
                      <a:pt x="f150" y="f84"/>
                    </a:lnTo>
                    <a:lnTo>
                      <a:pt x="f148" y="f160"/>
                    </a:lnTo>
                    <a:lnTo>
                      <a:pt x="f161" y="f162"/>
                    </a:lnTo>
                    <a:lnTo>
                      <a:pt x="f163" y="f164"/>
                    </a:lnTo>
                    <a:lnTo>
                      <a:pt x="f156" y="f165"/>
                    </a:lnTo>
                    <a:lnTo>
                      <a:pt x="f166" y="f167"/>
                    </a:lnTo>
                    <a:lnTo>
                      <a:pt x="f168" y="f169"/>
                    </a:lnTo>
                    <a:lnTo>
                      <a:pt x="f170" y="f171"/>
                    </a:lnTo>
                    <a:lnTo>
                      <a:pt x="f172" y="f173"/>
                    </a:lnTo>
                    <a:lnTo>
                      <a:pt x="f174" y="f160"/>
                    </a:lnTo>
                    <a:lnTo>
                      <a:pt x="f175" y="f83"/>
                    </a:lnTo>
                    <a:lnTo>
                      <a:pt x="f176" y="f83"/>
                    </a:lnTo>
                    <a:lnTo>
                      <a:pt x="f177" y="f173"/>
                    </a:lnTo>
                    <a:lnTo>
                      <a:pt x="f178" y="f179"/>
                    </a:lnTo>
                    <a:lnTo>
                      <a:pt x="f180" y="f179"/>
                    </a:lnTo>
                    <a:lnTo>
                      <a:pt x="f181" y="f182"/>
                    </a:lnTo>
                    <a:lnTo>
                      <a:pt x="f181" y="f83"/>
                    </a:lnTo>
                    <a:lnTo>
                      <a:pt x="f180" y="f183"/>
                    </a:lnTo>
                    <a:lnTo>
                      <a:pt x="f184" y="f185"/>
                    </a:lnTo>
                    <a:lnTo>
                      <a:pt x="f177" y="f186"/>
                    </a:lnTo>
                    <a:lnTo>
                      <a:pt x="f177" y="f187"/>
                    </a:lnTo>
                    <a:lnTo>
                      <a:pt x="f180" y="f188"/>
                    </a:lnTo>
                    <a:lnTo>
                      <a:pt x="f189" y="f190"/>
                    </a:lnTo>
                    <a:lnTo>
                      <a:pt x="f191" y="f192"/>
                    </a:lnTo>
                    <a:lnTo>
                      <a:pt x="f193" y="f194"/>
                    </a:lnTo>
                    <a:lnTo>
                      <a:pt x="f195" y="f196"/>
                    </a:lnTo>
                    <a:lnTo>
                      <a:pt x="f197" y="f198"/>
                    </a:lnTo>
                    <a:lnTo>
                      <a:pt x="f197" y="f199"/>
                    </a:lnTo>
                    <a:lnTo>
                      <a:pt x="f195" y="f200"/>
                    </a:lnTo>
                    <a:lnTo>
                      <a:pt x="f193" y="f201"/>
                    </a:lnTo>
                    <a:lnTo>
                      <a:pt x="f202" y="f201"/>
                    </a:lnTo>
                    <a:lnTo>
                      <a:pt x="f203" y="f204"/>
                    </a:lnTo>
                    <a:lnTo>
                      <a:pt x="f176" y="f205"/>
                    </a:lnTo>
                    <a:lnTo>
                      <a:pt x="f175" y="f206"/>
                    </a:lnTo>
                    <a:lnTo>
                      <a:pt x="f207" y="f208"/>
                    </a:lnTo>
                    <a:lnTo>
                      <a:pt x="f209" y="f129"/>
                    </a:lnTo>
                    <a:lnTo>
                      <a:pt x="f210" y="f109"/>
                    </a:lnTo>
                    <a:lnTo>
                      <a:pt x="f211" y="f140"/>
                    </a:lnTo>
                    <a:lnTo>
                      <a:pt x="f212" y="f213"/>
                    </a:lnTo>
                    <a:lnTo>
                      <a:pt x="f214" y="f215"/>
                    </a:lnTo>
                    <a:lnTo>
                      <a:pt x="f216" y="f34"/>
                    </a:lnTo>
                    <a:lnTo>
                      <a:pt x="f217" y="f218"/>
                    </a:lnTo>
                    <a:lnTo>
                      <a:pt x="f154" y="f38"/>
                    </a:lnTo>
                    <a:lnTo>
                      <a:pt x="f143" y="f38"/>
                    </a:lnTo>
                    <a:lnTo>
                      <a:pt x="f146" y="f55"/>
                    </a:lnTo>
                    <a:lnTo>
                      <a:pt x="f150" y="f219"/>
                    </a:lnTo>
                    <a:lnTo>
                      <a:pt x="f148" y="f220"/>
                    </a:lnTo>
                    <a:lnTo>
                      <a:pt x="f148" y="f221"/>
                    </a:lnTo>
                    <a:lnTo>
                      <a:pt x="f146" y="f222"/>
                    </a:lnTo>
                    <a:lnTo>
                      <a:pt x="f223" y="f224"/>
                    </a:lnTo>
                    <a:lnTo>
                      <a:pt x="f144" y="f225"/>
                    </a:lnTo>
                    <a:lnTo>
                      <a:pt x="f154" y="f226"/>
                    </a:lnTo>
                    <a:lnTo>
                      <a:pt x="f217" y="f226"/>
                    </a:lnTo>
                    <a:lnTo>
                      <a:pt x="f227" y="f13"/>
                    </a:lnTo>
                    <a:lnTo>
                      <a:pt x="f216" y="f13"/>
                    </a:lnTo>
                    <a:lnTo>
                      <a:pt x="f228" y="f41"/>
                    </a:lnTo>
                    <a:lnTo>
                      <a:pt x="f228" y="f229"/>
                    </a:lnTo>
                    <a:lnTo>
                      <a:pt x="f166" y="f54"/>
                    </a:lnTo>
                    <a:lnTo>
                      <a:pt x="f216" y="f43"/>
                    </a:lnTo>
                    <a:lnTo>
                      <a:pt x="f156" y="f23"/>
                    </a:lnTo>
                    <a:lnTo>
                      <a:pt x="f150" y="f230"/>
                    </a:lnTo>
                    <a:lnTo>
                      <a:pt x="f231" y="f232"/>
                    </a:lnTo>
                    <a:lnTo>
                      <a:pt x="f233" y="f234"/>
                    </a:lnTo>
                    <a:lnTo>
                      <a:pt x="f235" y="f236"/>
                    </a:lnTo>
                    <a:lnTo>
                      <a:pt x="f237" y="f238"/>
                    </a:lnTo>
                    <a:lnTo>
                      <a:pt x="f239" y="f240"/>
                    </a:lnTo>
                    <a:lnTo>
                      <a:pt x="f241" y="f242"/>
                    </a:lnTo>
                    <a:lnTo>
                      <a:pt x="f241" y="f243"/>
                    </a:lnTo>
                    <a:lnTo>
                      <a:pt x="f53" y="f244"/>
                    </a:lnTo>
                    <a:lnTo>
                      <a:pt x="f52" y="f245"/>
                    </a:lnTo>
                    <a:lnTo>
                      <a:pt x="f51" y="f246"/>
                    </a:lnTo>
                    <a:lnTo>
                      <a:pt x="f247" y="f248"/>
                    </a:lnTo>
                    <a:lnTo>
                      <a:pt x="f33" y="f248"/>
                    </a:lnTo>
                    <a:lnTo>
                      <a:pt x="f135" y="f246"/>
                    </a:lnTo>
                    <a:lnTo>
                      <a:pt x="f249" y="f250"/>
                    </a:lnTo>
                    <a:lnTo>
                      <a:pt x="f251" y="f250"/>
                    </a:lnTo>
                    <a:lnTo>
                      <a:pt x="f252" y="f253"/>
                    </a:lnTo>
                    <a:lnTo>
                      <a:pt x="f48" y="f254"/>
                    </a:lnTo>
                    <a:lnTo>
                      <a:pt x="f46" y="f255"/>
                    </a:lnTo>
                    <a:lnTo>
                      <a:pt x="f256" y="f257"/>
                    </a:lnTo>
                    <a:lnTo>
                      <a:pt x="f258" y="f259"/>
                    </a:lnTo>
                    <a:lnTo>
                      <a:pt x="f258" y="f260"/>
                    </a:lnTo>
                    <a:lnTo>
                      <a:pt x="f128" y="f261"/>
                    </a:lnTo>
                    <a:lnTo>
                      <a:pt x="f128" y="f262"/>
                    </a:lnTo>
                    <a:lnTo>
                      <a:pt x="f256" y="f263"/>
                    </a:lnTo>
                    <a:lnTo>
                      <a:pt x="f42" y="f264"/>
                    </a:lnTo>
                    <a:lnTo>
                      <a:pt x="f40" y="f265"/>
                    </a:lnTo>
                    <a:lnTo>
                      <a:pt x="f266" y="f267"/>
                    </a:lnTo>
                    <a:lnTo>
                      <a:pt x="f251" y="f268"/>
                    </a:lnTo>
                    <a:lnTo>
                      <a:pt x="f269" y="f268"/>
                    </a:lnTo>
                    <a:lnTo>
                      <a:pt x="f270" y="f271"/>
                    </a:lnTo>
                    <a:lnTo>
                      <a:pt x="f61" y="f272"/>
                    </a:lnTo>
                    <a:lnTo>
                      <a:pt x="f50" y="f272"/>
                    </a:lnTo>
                    <a:lnTo>
                      <a:pt x="f53" y="f264"/>
                    </a:lnTo>
                    <a:lnTo>
                      <a:pt x="f237" y="f273"/>
                    </a:lnTo>
                    <a:lnTo>
                      <a:pt x="f274" y="f275"/>
                    </a:lnTo>
                    <a:lnTo>
                      <a:pt x="f276" y="f277"/>
                    </a:lnTo>
                    <a:lnTo>
                      <a:pt x="f139" y="f278"/>
                    </a:lnTo>
                    <a:lnTo>
                      <a:pt x="f276" y="f279"/>
                    </a:lnTo>
                    <a:lnTo>
                      <a:pt x="f280" y="f281"/>
                    </a:lnTo>
                    <a:lnTo>
                      <a:pt x="f282" y="f283"/>
                    </a:lnTo>
                    <a:lnTo>
                      <a:pt x="f284" y="f102"/>
                    </a:lnTo>
                    <a:lnTo>
                      <a:pt x="f51" y="f285"/>
                    </a:lnTo>
                    <a:lnTo>
                      <a:pt x="f286" y="f287"/>
                    </a:lnTo>
                    <a:lnTo>
                      <a:pt x="f288" y="f289"/>
                    </a:lnTo>
                    <a:lnTo>
                      <a:pt x="f290" y="f283"/>
                    </a:lnTo>
                    <a:lnTo>
                      <a:pt x="f291" y="f283"/>
                    </a:lnTo>
                    <a:lnTo>
                      <a:pt x="f266" y="f292"/>
                    </a:lnTo>
                    <a:lnTo>
                      <a:pt x="f40" y="f293"/>
                    </a:lnTo>
                    <a:lnTo>
                      <a:pt x="f294" y="f106"/>
                    </a:lnTo>
                    <a:lnTo>
                      <a:pt x="f294" y="f295"/>
                    </a:lnTo>
                    <a:lnTo>
                      <a:pt x="f296" y="f297"/>
                    </a:lnTo>
                    <a:lnTo>
                      <a:pt x="f251" y="f298"/>
                    </a:lnTo>
                    <a:lnTo>
                      <a:pt x="f299" y="f300"/>
                    </a:lnTo>
                    <a:lnTo>
                      <a:pt x="f301" y="f302"/>
                    </a:lnTo>
                    <a:lnTo>
                      <a:pt x="f303" y="f304"/>
                    </a:lnTo>
                    <a:lnTo>
                      <a:pt x="f58" y="f305"/>
                    </a:lnTo>
                    <a:lnTo>
                      <a:pt x="f53" y="f298"/>
                    </a:lnTo>
                    <a:lnTo>
                      <a:pt x="f306" y="f307"/>
                    </a:lnTo>
                    <a:lnTo>
                      <a:pt x="f308" y="f93"/>
                    </a:lnTo>
                    <a:lnTo>
                      <a:pt x="f280" y="f309"/>
                    </a:lnTo>
                    <a:lnTo>
                      <a:pt x="f139" y="f310"/>
                    </a:lnTo>
                    <a:lnTo>
                      <a:pt x="f233" y="f106"/>
                    </a:lnTo>
                    <a:lnTo>
                      <a:pt x="f142" y="f311"/>
                    </a:lnTo>
                    <a:lnTo>
                      <a:pt x="f312" y="f313"/>
                    </a:lnTo>
                    <a:lnTo>
                      <a:pt x="f314" y="f315"/>
                    </a:lnTo>
                    <a:lnTo>
                      <a:pt x="f209" y="f120"/>
                    </a:lnTo>
                    <a:lnTo>
                      <a:pt x="f175" y="f316"/>
                    </a:lnTo>
                    <a:lnTo>
                      <a:pt x="f317" y="f24"/>
                    </a:lnTo>
                    <a:lnTo>
                      <a:pt x="f318" y="f319"/>
                    </a:lnTo>
                    <a:lnTo>
                      <a:pt x="f184" y="f320"/>
                    </a:lnTo>
                    <a:lnTo>
                      <a:pt x="f181" y="f321"/>
                    </a:lnTo>
                    <a:lnTo>
                      <a:pt x="f322" y="f323"/>
                    </a:lnTo>
                    <a:lnTo>
                      <a:pt x="f324" y="f319"/>
                    </a:lnTo>
                    <a:lnTo>
                      <a:pt x="f325" y="f14"/>
                    </a:lnTo>
                    <a:lnTo>
                      <a:pt x="f326" y="f82"/>
                    </a:lnTo>
                    <a:lnTo>
                      <a:pt x="f327" y="f328"/>
                    </a:lnTo>
                    <a:lnTo>
                      <a:pt x="f329" y="f65"/>
                    </a:lnTo>
                    <a:lnTo>
                      <a:pt x="f330" y="f331"/>
                    </a:lnTo>
                    <a:lnTo>
                      <a:pt x="f332" y="f62"/>
                    </a:lnTo>
                    <a:lnTo>
                      <a:pt x="f333" y="f334"/>
                    </a:lnTo>
                    <a:lnTo>
                      <a:pt x="f335" y="f315"/>
                    </a:lnTo>
                    <a:lnTo>
                      <a:pt x="f336" y="f114"/>
                    </a:lnTo>
                    <a:lnTo>
                      <a:pt x="f337" y="f338"/>
                    </a:lnTo>
                    <a:lnTo>
                      <a:pt x="f339" y="f340"/>
                    </a:lnTo>
                    <a:lnTo>
                      <a:pt x="f341" y="f93"/>
                    </a:lnTo>
                    <a:lnTo>
                      <a:pt x="f342" y="f343"/>
                    </a:lnTo>
                    <a:lnTo>
                      <a:pt x="f344" y="f345"/>
                    </a:lnTo>
                    <a:lnTo>
                      <a:pt x="f346" y="f289"/>
                    </a:lnTo>
                    <a:lnTo>
                      <a:pt x="f347" y="f348"/>
                    </a:lnTo>
                    <a:lnTo>
                      <a:pt x="f349" y="f350"/>
                    </a:lnTo>
                    <a:lnTo>
                      <a:pt x="f351" y="f350"/>
                    </a:lnTo>
                    <a:lnTo>
                      <a:pt x="f352" y="f348"/>
                    </a:lnTo>
                    <a:lnTo>
                      <a:pt x="f353" y="f285"/>
                    </a:lnTo>
                    <a:lnTo>
                      <a:pt x="f354" y="f293"/>
                    </a:lnTo>
                    <a:lnTo>
                      <a:pt x="f355" y="f293"/>
                    </a:lnTo>
                    <a:lnTo>
                      <a:pt x="f356" y="f102"/>
                    </a:lnTo>
                    <a:lnTo>
                      <a:pt x="f357" y="f289"/>
                    </a:lnTo>
                    <a:lnTo>
                      <a:pt x="f358" y="f283"/>
                    </a:lnTo>
                    <a:lnTo>
                      <a:pt x="f359" y="f350"/>
                    </a:lnTo>
                    <a:lnTo>
                      <a:pt x="f360" y="f285"/>
                    </a:lnTo>
                    <a:lnTo>
                      <a:pt x="f361" y="f309"/>
                    </a:lnTo>
                    <a:lnTo>
                      <a:pt x="f6" y="f311"/>
                    </a:lnTo>
                    <a:lnTo>
                      <a:pt x="f6" y="f362"/>
                    </a:lnTo>
                    <a:lnTo>
                      <a:pt x="f363" y="f364"/>
                    </a:lnTo>
                    <a:lnTo>
                      <a:pt x="f360" y="f62"/>
                    </a:lnTo>
                    <a:lnTo>
                      <a:pt x="f365" y="f65"/>
                    </a:lnTo>
                    <a:lnTo>
                      <a:pt x="f359" y="f366"/>
                    </a:lnTo>
                    <a:lnTo>
                      <a:pt x="f359" y="f27"/>
                    </a:lnTo>
                    <a:lnTo>
                      <a:pt x="f367" y="f368"/>
                    </a:lnTo>
                    <a:lnTo>
                      <a:pt x="f356" y="f125"/>
                    </a:lnTo>
                    <a:lnTo>
                      <a:pt x="f369" y="f370"/>
                    </a:lnTo>
                    <a:lnTo>
                      <a:pt x="f346" y="f46"/>
                    </a:lnTo>
                    <a:lnTo>
                      <a:pt x="f371" y="f372"/>
                    </a:lnTo>
                    <a:lnTo>
                      <a:pt x="f346" y="f48"/>
                    </a:lnTo>
                    <a:lnTo>
                      <a:pt x="f373" y="f374"/>
                    </a:lnTo>
                    <a:lnTo>
                      <a:pt x="f375" y="f39"/>
                    </a:lnTo>
                    <a:lnTo>
                      <a:pt x="f376" y="f133"/>
                    </a:lnTo>
                    <a:lnTo>
                      <a:pt x="f377" y="f288"/>
                    </a:lnTo>
                    <a:lnTo>
                      <a:pt x="f349" y="f58"/>
                    </a:lnTo>
                    <a:lnTo>
                      <a:pt x="f347" y="f378"/>
                    </a:lnTo>
                    <a:lnTo>
                      <a:pt x="f379" y="f380"/>
                    </a:lnTo>
                    <a:lnTo>
                      <a:pt x="f375" y="f381"/>
                    </a:lnTo>
                    <a:lnTo>
                      <a:pt x="f351" y="f382"/>
                    </a:lnTo>
                    <a:lnTo>
                      <a:pt x="f383" y="f384"/>
                    </a:lnTo>
                    <a:lnTo>
                      <a:pt x="f356" y="f385"/>
                    </a:lnTo>
                    <a:lnTo>
                      <a:pt x="f386" y="f161"/>
                    </a:lnTo>
                    <a:lnTo>
                      <a:pt x="f387" y="f388"/>
                    </a:lnTo>
                    <a:lnTo>
                      <a:pt x="f387" y="f312"/>
                    </a:lnTo>
                    <a:lnTo>
                      <a:pt x="f354" y="f172"/>
                    </a:lnTo>
                    <a:lnTo>
                      <a:pt x="f389" y="f390"/>
                    </a:lnTo>
                    <a:lnTo>
                      <a:pt x="f347" y="f391"/>
                    </a:lnTo>
                    <a:lnTo>
                      <a:pt x="f392" y="f393"/>
                    </a:lnTo>
                    <a:lnTo>
                      <a:pt x="f394" y="f395"/>
                    </a:lnTo>
                    <a:lnTo>
                      <a:pt x="f396" y="f397"/>
                    </a:lnTo>
                    <a:lnTo>
                      <a:pt x="f398" y="f399"/>
                    </a:lnTo>
                    <a:lnTo>
                      <a:pt x="f400" y="f401"/>
                    </a:lnTo>
                    <a:lnTo>
                      <a:pt x="f402" y="f403"/>
                    </a:lnTo>
                    <a:lnTo>
                      <a:pt x="f402" y="f325"/>
                    </a:lnTo>
                    <a:lnTo>
                      <a:pt x="f346" y="f404"/>
                    </a:lnTo>
                    <a:lnTo>
                      <a:pt x="f405" y="f406"/>
                    </a:lnTo>
                    <a:lnTo>
                      <a:pt x="f407" y="f408"/>
                    </a:lnTo>
                    <a:lnTo>
                      <a:pt x="f409" y="f410"/>
                    </a:lnTo>
                    <a:lnTo>
                      <a:pt x="f411" y="f412"/>
                    </a:lnTo>
                    <a:lnTo>
                      <a:pt x="f413" y="f330"/>
                    </a:lnTo>
                    <a:lnTo>
                      <a:pt x="f337" y="f414"/>
                    </a:lnTo>
                    <a:lnTo>
                      <a:pt x="f415" y="f416"/>
                    </a:lnTo>
                    <a:lnTo>
                      <a:pt x="f417" y="f418"/>
                    </a:lnTo>
                    <a:lnTo>
                      <a:pt x="f419" y="f420"/>
                    </a:lnTo>
                    <a:lnTo>
                      <a:pt x="f420" y="f421"/>
                    </a:lnTo>
                    <a:lnTo>
                      <a:pt x="f422" y="f423"/>
                    </a:lnTo>
                    <a:lnTo>
                      <a:pt x="f424" y="f336"/>
                    </a:lnTo>
                    <a:lnTo>
                      <a:pt x="f425" y="f337"/>
                    </a:lnTo>
                    <a:lnTo>
                      <a:pt x="f426" y="f427"/>
                    </a:lnTo>
                    <a:lnTo>
                      <a:pt x="f428" y="f342"/>
                    </a:lnTo>
                    <a:lnTo>
                      <a:pt x="f429" y="f7"/>
                    </a:lnTo>
                    <a:lnTo>
                      <a:pt x="f430" y="f342"/>
                    </a:lnTo>
                    <a:lnTo>
                      <a:pt x="f431" y="f339"/>
                    </a:lnTo>
                    <a:lnTo>
                      <a:pt x="f324" y="f432"/>
                    </a:lnTo>
                    <a:lnTo>
                      <a:pt x="f433" y="f434"/>
                    </a:lnTo>
                    <a:lnTo>
                      <a:pt x="f191" y="f421"/>
                    </a:lnTo>
                    <a:lnTo>
                      <a:pt x="f202" y="f435"/>
                    </a:lnTo>
                    <a:lnTo>
                      <a:pt x="f177" y="f332"/>
                    </a:lnTo>
                    <a:lnTo>
                      <a:pt x="f436" y="f437"/>
                    </a:lnTo>
                    <a:lnTo>
                      <a:pt x="f438" y="f439"/>
                    </a:lnTo>
                    <a:lnTo>
                      <a:pt x="f440" y="f441"/>
                    </a:lnTo>
                    <a:lnTo>
                      <a:pt x="f312" y="f442"/>
                    </a:lnTo>
                    <a:lnTo>
                      <a:pt x="f443" y="f444"/>
                    </a:lnTo>
                    <a:lnTo>
                      <a:pt x="f445" y="f446"/>
                    </a:lnTo>
                    <a:lnTo>
                      <a:pt x="f156" y="f401"/>
                    </a:lnTo>
                    <a:lnTo>
                      <a:pt x="f144" y="f322"/>
                    </a:lnTo>
                    <a:lnTo>
                      <a:pt x="f143" y="f177"/>
                    </a:lnTo>
                    <a:lnTo>
                      <a:pt x="f143" y="f175"/>
                    </a:lnTo>
                    <a:lnTo>
                      <a:pt x="f144" y="f447"/>
                    </a:lnTo>
                    <a:lnTo>
                      <a:pt x="f144" y="f212"/>
                    </a:lnTo>
                    <a:lnTo>
                      <a:pt x="f223" y="f228"/>
                    </a:lnTo>
                    <a:lnTo>
                      <a:pt x="f448" y="f166"/>
                    </a:lnTo>
                    <a:lnTo>
                      <a:pt x="f280" y="f166"/>
                    </a:lnTo>
                    <a:lnTo>
                      <a:pt x="f449" y="f445"/>
                    </a:lnTo>
                    <a:lnTo>
                      <a:pt x="f450" y="f156"/>
                    </a:lnTo>
                    <a:lnTo>
                      <a:pt x="f449" y="f451"/>
                    </a:lnTo>
                    <a:lnTo>
                      <a:pt x="f380" y="f452"/>
                    </a:lnTo>
                    <a:lnTo>
                      <a:pt x="f274" y="f384"/>
                    </a:lnTo>
                    <a:lnTo>
                      <a:pt x="f280" y="f453"/>
                    </a:lnTo>
                    <a:lnTo>
                      <a:pt x="f274" y="f280"/>
                    </a:lnTo>
                    <a:lnTo>
                      <a:pt x="f308" y="f454"/>
                    </a:lnTo>
                    <a:lnTo>
                      <a:pt x="f239" y="f455"/>
                    </a:lnTo>
                    <a:lnTo>
                      <a:pt x="f50" y="f301"/>
                    </a:lnTo>
                    <a:lnTo>
                      <a:pt x="f56" y="f270"/>
                    </a:lnTo>
                    <a:lnTo>
                      <a:pt x="f239" y="f456"/>
                    </a:lnTo>
                    <a:lnTo>
                      <a:pt x="f450" y="f288"/>
                    </a:lnTo>
                    <a:lnTo>
                      <a:pt x="f139" y="f457"/>
                    </a:lnTo>
                    <a:lnTo>
                      <a:pt x="f163" y="f458"/>
                    </a:lnTo>
                    <a:lnTo>
                      <a:pt x="f448" y="f457"/>
                    </a:lnTo>
                    <a:lnTo>
                      <a:pt x="f223" y="f456"/>
                    </a:lnTo>
                    <a:lnTo>
                      <a:pt x="f143" y="f459"/>
                    </a:lnTo>
                    <a:lnTo>
                      <a:pt x="f223" y="f374"/>
                    </a:lnTo>
                    <a:lnTo>
                      <a:pt x="f452" y="f131"/>
                    </a:lnTo>
                    <a:lnTo>
                      <a:pt x="f460" y="f461"/>
                    </a:lnTo>
                    <a:lnTo>
                      <a:pt x="f53" y="f462"/>
                    </a:lnTo>
                    <a:lnTo>
                      <a:pt x="f286" y="f463"/>
                    </a:lnTo>
                    <a:lnTo>
                      <a:pt x="f33" y="f121"/>
                    </a:lnTo>
                    <a:lnTo>
                      <a:pt x="f269" y="f464"/>
                    </a:lnTo>
                    <a:lnTo>
                      <a:pt x="f39" y="f82"/>
                    </a:lnTo>
                    <a:lnTo>
                      <a:pt x="f128" y="f75"/>
                    </a:lnTo>
                    <a:lnTo>
                      <a:pt x="f29" y="f465"/>
                    </a:lnTo>
                    <a:lnTo>
                      <a:pt x="f20" y="f73"/>
                    </a:lnTo>
                    <a:lnTo>
                      <a:pt x="f69" y="f67"/>
                    </a:lnTo>
                    <a:lnTo>
                      <a:pt x="f466" y="f467"/>
                    </a:lnTo>
                    <a:lnTo>
                      <a:pt x="f362" y="f334"/>
                    </a:lnTo>
                    <a:lnTo>
                      <a:pt x="f307" y="f117"/>
                    </a:lnTo>
                    <a:lnTo>
                      <a:pt x="f468" y="f313"/>
                    </a:lnTo>
                    <a:lnTo>
                      <a:pt x="f469" y="f304"/>
                    </a:lnTo>
                    <a:lnTo>
                      <a:pt x="f470" y="f300"/>
                    </a:lnTo>
                    <a:lnTo>
                      <a:pt x="f471" y="f298"/>
                    </a:lnTo>
                    <a:lnTo>
                      <a:pt x="f472" y="f473"/>
                    </a:lnTo>
                    <a:lnTo>
                      <a:pt x="f474" y="f475"/>
                    </a:lnTo>
                    <a:lnTo>
                      <a:pt x="f476" y="f340"/>
                    </a:lnTo>
                    <a:lnTo>
                      <a:pt x="f477" y="f478"/>
                    </a:lnTo>
                    <a:lnTo>
                      <a:pt x="f479" y="f478"/>
                    </a:lnTo>
                    <a:lnTo>
                      <a:pt x="f480" y="f307"/>
                    </a:lnTo>
                    <a:lnTo>
                      <a:pt x="f481" y="f112"/>
                    </a:lnTo>
                    <a:lnTo>
                      <a:pt x="f250" y="f300"/>
                    </a:lnTo>
                    <a:lnTo>
                      <a:pt x="f243" y="f313"/>
                    </a:lnTo>
                    <a:lnTo>
                      <a:pt x="f482" y="f120"/>
                    </a:lnTo>
                    <a:lnTo>
                      <a:pt x="f483" y="f73"/>
                    </a:lnTo>
                    <a:lnTo>
                      <a:pt x="f484" y="f366"/>
                    </a:lnTo>
                    <a:lnTo>
                      <a:pt x="f485" y="f80"/>
                    </a:lnTo>
                    <a:lnTo>
                      <a:pt x="f486" y="f82"/>
                    </a:lnTo>
                    <a:lnTo>
                      <a:pt x="f47" y="f487"/>
                    </a:lnTo>
                    <a:lnTo>
                      <a:pt x="f15" y="f488"/>
                    </a:lnTo>
                    <a:lnTo>
                      <a:pt x="f9" y="f488"/>
                    </a:lnTo>
                    <a:lnTo>
                      <a:pt x="f489" y="f464"/>
                    </a:lnTo>
                    <a:lnTo>
                      <a:pt x="f490" y="f463"/>
                    </a:lnTo>
                    <a:lnTo>
                      <a:pt x="f491" y="f10"/>
                    </a:lnTo>
                    <a:lnTo>
                      <a:pt x="f492" y="f258"/>
                    </a:lnTo>
                    <a:lnTo>
                      <a:pt x="f493" y="f48"/>
                    </a:lnTo>
                    <a:lnTo>
                      <a:pt x="f494" y="f252"/>
                    </a:lnTo>
                    <a:lnTo>
                      <a:pt x="f495" y="f496"/>
                    </a:lnTo>
                    <a:lnTo>
                      <a:pt x="f497" y="f288"/>
                    </a:lnTo>
                    <a:lnTo>
                      <a:pt x="f498" y="f499"/>
                    </a:lnTo>
                    <a:lnTo>
                      <a:pt x="f201" y="f500"/>
                    </a:lnTo>
                    <a:lnTo>
                      <a:pt x="f501" y="f384"/>
                    </a:lnTo>
                    <a:lnTo>
                      <a:pt x="f502" y="f385"/>
                    </a:lnTo>
                    <a:lnTo>
                      <a:pt x="f503" y="f233"/>
                    </a:lnTo>
                    <a:lnTo>
                      <a:pt x="f504" y="f381"/>
                    </a:lnTo>
                    <a:lnTo>
                      <a:pt x="f505" y="f380"/>
                    </a:lnTo>
                    <a:lnTo>
                      <a:pt x="f506" y="f380"/>
                    </a:lnTo>
                    <a:lnTo>
                      <a:pt x="f84" y="f500"/>
                    </a:lnTo>
                    <a:lnTo>
                      <a:pt x="f507" y="f382"/>
                    </a:lnTo>
                    <a:lnTo>
                      <a:pt x="f508" y="f509"/>
                    </a:lnTo>
                    <a:lnTo>
                      <a:pt x="f510" y="f452"/>
                    </a:lnTo>
                    <a:lnTo>
                      <a:pt x="f511" y="f512"/>
                    </a:lnTo>
                    <a:lnTo>
                      <a:pt x="f513" y="f154"/>
                    </a:lnTo>
                    <a:lnTo>
                      <a:pt x="f504" y="f166"/>
                    </a:lnTo>
                    <a:lnTo>
                      <a:pt x="f505" y="f514"/>
                    </a:lnTo>
                    <a:lnTo>
                      <a:pt x="f506" y="f210"/>
                    </a:lnTo>
                    <a:lnTo>
                      <a:pt x="f507" y="f175"/>
                    </a:lnTo>
                    <a:lnTo>
                      <a:pt x="f515" y="f516"/>
                    </a:lnTo>
                    <a:lnTo>
                      <a:pt x="f515" y="f391"/>
                    </a:lnTo>
                    <a:lnTo>
                      <a:pt x="f517" y="f390"/>
                    </a:lnTo>
                    <a:lnTo>
                      <a:pt x="f518" y="f210"/>
                    </a:lnTo>
                    <a:lnTo>
                      <a:pt x="f519" y="f520"/>
                    </a:lnTo>
                    <a:lnTo>
                      <a:pt x="f167" y="f521"/>
                    </a:lnTo>
                    <a:lnTo>
                      <a:pt x="f517" y="f452"/>
                    </a:lnTo>
                    <a:lnTo>
                      <a:pt x="f522" y="f453"/>
                    </a:lnTo>
                    <a:lnTo>
                      <a:pt x="f523" y="f308"/>
                    </a:lnTo>
                    <a:lnTo>
                      <a:pt x="f171" y="f284"/>
                    </a:lnTo>
                    <a:lnTo>
                      <a:pt x="f524" y="f56"/>
                    </a:lnTo>
                    <a:lnTo>
                      <a:pt x="f525" y="f286"/>
                    </a:lnTo>
                    <a:lnTo>
                      <a:pt x="f76" y="f288"/>
                    </a:lnTo>
                    <a:lnTo>
                      <a:pt x="f526" y="f496"/>
                    </a:lnTo>
                    <a:lnTo>
                      <a:pt x="f70" y="f39"/>
                    </a:lnTo>
                    <a:lnTo>
                      <a:pt x="f527" y="f48"/>
                    </a:lnTo>
                    <a:lnTo>
                      <a:pt x="f528" y="f44"/>
                    </a:lnTo>
                    <a:lnTo>
                      <a:pt x="f5" y="f529"/>
                    </a:lnTo>
                    <a:lnTo>
                      <a:pt x="f530" y="f126"/>
                    </a:lnTo>
                    <a:lnTo>
                      <a:pt x="f531" y="f320"/>
                    </a:lnTo>
                    <a:lnTo>
                      <a:pt x="f532" y="f368"/>
                    </a:lnTo>
                    <a:lnTo>
                      <a:pt x="f68" y="f533"/>
                    </a:lnTo>
                    <a:lnTo>
                      <a:pt x="f527" y="f121"/>
                    </a:lnTo>
                    <a:lnTo>
                      <a:pt x="f534" y="f20"/>
                    </a:lnTo>
                    <a:lnTo>
                      <a:pt x="f535" y="f80"/>
                    </a:lnTo>
                    <a:lnTo>
                      <a:pt x="f536" y="f465"/>
                    </a:lnTo>
                    <a:lnTo>
                      <a:pt x="f536" y="f67"/>
                    </a:lnTo>
                    <a:lnTo>
                      <a:pt x="f534" y="f331"/>
                    </a:lnTo>
                    <a:lnTo>
                      <a:pt x="f70" y="f537"/>
                    </a:lnTo>
                    <a:lnTo>
                      <a:pt x="f518" y="f475"/>
                    </a:lnTo>
                    <a:lnTo>
                      <a:pt x="f538" y="f539"/>
                    </a:lnTo>
                    <a:lnTo>
                      <a:pt x="f540" y="f99"/>
                    </a:lnTo>
                    <a:lnTo>
                      <a:pt x="f169" y="f541"/>
                    </a:lnTo>
                    <a:lnTo>
                      <a:pt x="f162" y="f542"/>
                    </a:lnTo>
                    <a:lnTo>
                      <a:pt x="f83" y="f472"/>
                    </a:lnTo>
                    <a:lnTo>
                      <a:pt x="f84" y="f543"/>
                    </a:lnTo>
                    <a:lnTo>
                      <a:pt x="f515" y="f275"/>
                    </a:lnTo>
                    <a:lnTo>
                      <a:pt x="f173" y="f544"/>
                    </a:lnTo>
                    <a:lnTo>
                      <a:pt x="f169" y="f267"/>
                    </a:lnTo>
                    <a:lnTo>
                      <a:pt x="f545" y="f546"/>
                    </a:lnTo>
                    <a:lnTo>
                      <a:pt x="f547" y="f548"/>
                    </a:lnTo>
                    <a:lnTo>
                      <a:pt x="f545" y="f549"/>
                    </a:lnTo>
                    <a:lnTo>
                      <a:pt x="f550" y="f261"/>
                    </a:lnTo>
                    <a:lnTo>
                      <a:pt x="f551" y="f552"/>
                    </a:lnTo>
                    <a:lnTo>
                      <a:pt x="f508" y="f553"/>
                    </a:lnTo>
                    <a:lnTo>
                      <a:pt x="f158" y="f554"/>
                    </a:lnTo>
                    <a:lnTo>
                      <a:pt x="f205" y="f244"/>
                    </a:lnTo>
                    <a:lnTo>
                      <a:pt x="f122" y="f555"/>
                    </a:lnTo>
                    <a:lnTo>
                      <a:pt x="f556" y="f557"/>
                    </a:lnTo>
                    <a:lnTo>
                      <a:pt x="f558" y="f559"/>
                    </a:lnTo>
                    <a:lnTo>
                      <a:pt x="f101" y="f236"/>
                    </a:lnTo>
                    <a:lnTo>
                      <a:pt x="f109" y="f483"/>
                    </a:lnTo>
                    <a:lnTo>
                      <a:pt x="f560" y="f484"/>
                    </a:lnTo>
                    <a:lnTo>
                      <a:pt x="f55" y="f561"/>
                    </a:lnTo>
                    <a:lnTo>
                      <a:pt x="f226" y="f486"/>
                    </a:lnTo>
                    <a:lnTo>
                      <a:pt x="f17" y="f562"/>
                    </a:lnTo>
                    <a:lnTo>
                      <a:pt x="f21" y="f563"/>
                    </a:lnTo>
                    <a:lnTo>
                      <a:pt x="f564" y="f565"/>
                    </a:lnTo>
                    <a:lnTo>
                      <a:pt x="f566" y="f222"/>
                    </a:lnTo>
                    <a:lnTo>
                      <a:pt x="f567" y="f220"/>
                    </a:lnTo>
                    <a:lnTo>
                      <a:pt x="f568" y="f55"/>
                    </a:lnTo>
                    <a:lnTo>
                      <a:pt x="f569" y="f38"/>
                    </a:lnTo>
                    <a:lnTo>
                      <a:pt x="f236" y="f57"/>
                    </a:lnTo>
                    <a:lnTo>
                      <a:pt x="f570" y="f571"/>
                    </a:lnTo>
                    <a:lnTo>
                      <a:pt x="f572" y="f573"/>
                    </a:lnTo>
                    <a:lnTo>
                      <a:pt x="f555" y="f574"/>
                    </a:lnTo>
                    <a:lnTo>
                      <a:pt x="f243" y="f575"/>
                    </a:lnTo>
                    <a:lnTo>
                      <a:pt x="f576" y="f134"/>
                    </a:lnTo>
                    <a:lnTo>
                      <a:pt x="f576" y="f103"/>
                    </a:lnTo>
                    <a:lnTo>
                      <a:pt x="f577" y="f578"/>
                    </a:lnTo>
                    <a:lnTo>
                      <a:pt x="f579" y="f145"/>
                    </a:lnTo>
                    <a:lnTo>
                      <a:pt x="f580" y="f147"/>
                    </a:lnTo>
                    <a:lnTo>
                      <a:pt x="f557" y="f123"/>
                    </a:lnTo>
                    <a:lnTo>
                      <a:pt x="f572" y="f581"/>
                    </a:lnTo>
                    <a:lnTo>
                      <a:pt x="f582" y="f199"/>
                    </a:lnTo>
                    <a:lnTo>
                      <a:pt x="f577" y="f188"/>
                    </a:lnTo>
                    <a:lnTo>
                      <a:pt x="f583" y="f584"/>
                    </a:lnTo>
                    <a:lnTo>
                      <a:pt x="f585" y="f584"/>
                    </a:lnTo>
                    <a:lnTo>
                      <a:pt x="f585" y="f586"/>
                    </a:lnTo>
                    <a:lnTo>
                      <a:pt x="f587" y="f186"/>
                    </a:lnTo>
                    <a:lnTo>
                      <a:pt x="f254" y="f586"/>
                    </a:lnTo>
                    <a:lnTo>
                      <a:pt x="f588" y="f186"/>
                    </a:lnTo>
                    <a:lnTo>
                      <a:pt x="f589" y="f86"/>
                    </a:lnTo>
                    <a:lnTo>
                      <a:pt x="f590" y="f158"/>
                    </a:lnTo>
                    <a:lnTo>
                      <a:pt x="f591" y="f85"/>
                    </a:lnTo>
                    <a:lnTo>
                      <a:pt x="f592" y="f84"/>
                    </a:lnTo>
                    <a:lnTo>
                      <a:pt x="f593" y="f179"/>
                    </a:lnTo>
                    <a:lnTo>
                      <a:pt x="f546" y="f524"/>
                    </a:lnTo>
                    <a:lnTo>
                      <a:pt x="f594" y="f164"/>
                    </a:lnTo>
                    <a:lnTo>
                      <a:pt x="f595" y="f169"/>
                    </a:lnTo>
                    <a:lnTo>
                      <a:pt x="f596" y="f597"/>
                    </a:lnTo>
                    <a:lnTo>
                      <a:pt x="f598" y="f599"/>
                    </a:lnTo>
                    <a:lnTo>
                      <a:pt x="f99" y="f600"/>
                    </a:lnTo>
                    <a:lnTo>
                      <a:pt x="f601" y="f602"/>
                    </a:lnTo>
                    <a:lnTo>
                      <a:pt x="f309" y="f603"/>
                    </a:lnTo>
                    <a:lnTo>
                      <a:pt x="f311" y="f70"/>
                    </a:lnTo>
                    <a:lnTo>
                      <a:pt x="f298" y="f68"/>
                    </a:lnTo>
                    <a:lnTo>
                      <a:pt x="f89" y="f604"/>
                    </a:lnTo>
                    <a:lnTo>
                      <a:pt x="f117" y="f64"/>
                    </a:lnTo>
                    <a:lnTo>
                      <a:pt x="f62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53" name="Freeform 15">
                <a:extLst>
                  <a:ext uri="{FF2B5EF4-FFF2-40B4-BE49-F238E27FC236}">
                    <a16:creationId xmlns:a16="http://schemas.microsoft.com/office/drawing/2014/main" id="{AD3A0CB3-4732-4159-820C-B8A14477747C}"/>
                  </a:ext>
                </a:extLst>
              </p:cNvPr>
              <p:cNvSpPr/>
              <p:nvPr/>
            </p:nvSpPr>
            <p:spPr>
              <a:xfrm>
                <a:off x="4294616" y="2772762"/>
                <a:ext cx="9619" cy="862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8"/>
                  <a:gd name="f7" fmla="val 53"/>
                  <a:gd name="f8" fmla="val 40"/>
                  <a:gd name="f9" fmla="val 44"/>
                  <a:gd name="f10" fmla="val 1"/>
                  <a:gd name="f11" fmla="val 51"/>
                  <a:gd name="f12" fmla="val 3"/>
                  <a:gd name="f13" fmla="val 55"/>
                  <a:gd name="f14" fmla="val 4"/>
                  <a:gd name="f15" fmla="val 10"/>
                  <a:gd name="f16" fmla="val 33"/>
                  <a:gd name="f17" fmla="val 57"/>
                  <a:gd name="f18" fmla="val 43"/>
                  <a:gd name="f19" fmla="val 54"/>
                  <a:gd name="f20" fmla="val 50"/>
                  <a:gd name="f21" fmla="val 17"/>
                  <a:gd name="f22" fmla="val 9"/>
                  <a:gd name="f23" fmla="val 2"/>
                  <a:gd name="f24" fmla="val 48"/>
                  <a:gd name="f25" fmla="val 37"/>
                  <a:gd name="f26" fmla="val 29"/>
                  <a:gd name="f27" fmla="val 18"/>
                  <a:gd name="f28" fmla="val 25"/>
                  <a:gd name="f29" fmla="val 8"/>
                  <a:gd name="f30" fmla="+- 0 0 -90"/>
                  <a:gd name="f31" fmla="*/ f3 1 58"/>
                  <a:gd name="f32" fmla="*/ f4 1 53"/>
                  <a:gd name="f33" fmla="+- f7 0 f5"/>
                  <a:gd name="f34" fmla="+- f6 0 f5"/>
                  <a:gd name="f35" fmla="*/ f30 f0 1"/>
                  <a:gd name="f36" fmla="*/ f34 1 58"/>
                  <a:gd name="f37" fmla="*/ f33 1 53"/>
                  <a:gd name="f38" fmla="*/ f35 1 f2"/>
                  <a:gd name="f39" fmla="*/ 40 1 f36"/>
                  <a:gd name="f40" fmla="*/ 0 1 f37"/>
                  <a:gd name="f41" fmla="*/ 44 1 f36"/>
                  <a:gd name="f42" fmla="*/ 1 1 f37"/>
                  <a:gd name="f43" fmla="*/ 51 1 f36"/>
                  <a:gd name="f44" fmla="*/ 53 1 f36"/>
                  <a:gd name="f45" fmla="*/ 3 1 f37"/>
                  <a:gd name="f46" fmla="*/ 55 1 f36"/>
                  <a:gd name="f47" fmla="*/ 4 1 f37"/>
                  <a:gd name="f48" fmla="*/ 58 1 f36"/>
                  <a:gd name="f49" fmla="*/ 10 1 f37"/>
                  <a:gd name="f50" fmla="*/ 33 1 f37"/>
                  <a:gd name="f51" fmla="*/ 57 1 f36"/>
                  <a:gd name="f52" fmla="*/ 43 1 f37"/>
                  <a:gd name="f53" fmla="*/ 54 1 f36"/>
                  <a:gd name="f54" fmla="*/ 50 1 f37"/>
                  <a:gd name="f55" fmla="*/ 50 1 f36"/>
                  <a:gd name="f56" fmla="*/ 53 1 f37"/>
                  <a:gd name="f57" fmla="*/ 51 1 f37"/>
                  <a:gd name="f58" fmla="*/ 17 1 f36"/>
                  <a:gd name="f59" fmla="*/ 9 1 f36"/>
                  <a:gd name="f60" fmla="*/ 2 1 f36"/>
                  <a:gd name="f61" fmla="*/ 48 1 f37"/>
                  <a:gd name="f62" fmla="*/ 0 1 f36"/>
                  <a:gd name="f63" fmla="*/ 44 1 f37"/>
                  <a:gd name="f64" fmla="*/ 3 1 f36"/>
                  <a:gd name="f65" fmla="*/ 37 1 f37"/>
                  <a:gd name="f66" fmla="*/ 10 1 f36"/>
                  <a:gd name="f67" fmla="*/ 29 1 f37"/>
                  <a:gd name="f68" fmla="*/ 18 1 f37"/>
                  <a:gd name="f69" fmla="*/ 25 1 f36"/>
                  <a:gd name="f70" fmla="*/ 8 1 f37"/>
                  <a:gd name="f71" fmla="*/ 33 1 f36"/>
                  <a:gd name="f72" fmla="*/ f6 1 f36"/>
                  <a:gd name="f73" fmla="*/ f7 1 f37"/>
                  <a:gd name="f74" fmla="+- f38 0 f1"/>
                  <a:gd name="f75" fmla="*/ f62 f31 1"/>
                  <a:gd name="f76" fmla="*/ f72 f31 1"/>
                  <a:gd name="f77" fmla="*/ f73 f32 1"/>
                  <a:gd name="f78" fmla="*/ f40 f32 1"/>
                  <a:gd name="f79" fmla="*/ f39 f31 1"/>
                  <a:gd name="f80" fmla="*/ f41 f31 1"/>
                  <a:gd name="f81" fmla="*/ f42 f32 1"/>
                  <a:gd name="f82" fmla="*/ f43 f31 1"/>
                  <a:gd name="f83" fmla="*/ f44 f31 1"/>
                  <a:gd name="f84" fmla="*/ f45 f32 1"/>
                  <a:gd name="f85" fmla="*/ f46 f31 1"/>
                  <a:gd name="f86" fmla="*/ f47 f32 1"/>
                  <a:gd name="f87" fmla="*/ f48 f31 1"/>
                  <a:gd name="f88" fmla="*/ f49 f32 1"/>
                  <a:gd name="f89" fmla="*/ f50 f32 1"/>
                  <a:gd name="f90" fmla="*/ f51 f31 1"/>
                  <a:gd name="f91" fmla="*/ f52 f32 1"/>
                  <a:gd name="f92" fmla="*/ f53 f31 1"/>
                  <a:gd name="f93" fmla="*/ f54 f32 1"/>
                  <a:gd name="f94" fmla="*/ f55 f31 1"/>
                  <a:gd name="f95" fmla="*/ f56 f32 1"/>
                  <a:gd name="f96" fmla="*/ f57 f32 1"/>
                  <a:gd name="f97" fmla="*/ f58 f31 1"/>
                  <a:gd name="f98" fmla="*/ f59 f31 1"/>
                  <a:gd name="f99" fmla="*/ f60 f31 1"/>
                  <a:gd name="f100" fmla="*/ f61 f32 1"/>
                  <a:gd name="f101" fmla="*/ f63 f32 1"/>
                  <a:gd name="f102" fmla="*/ f64 f31 1"/>
                  <a:gd name="f103" fmla="*/ f65 f32 1"/>
                  <a:gd name="f104" fmla="*/ f66 f31 1"/>
                  <a:gd name="f105" fmla="*/ f67 f32 1"/>
                  <a:gd name="f106" fmla="*/ f68 f32 1"/>
                  <a:gd name="f107" fmla="*/ f69 f31 1"/>
                  <a:gd name="f108" fmla="*/ f70 f32 1"/>
                  <a:gd name="f109" fmla="*/ f71 f3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74">
                    <a:pos x="f79" y="f78"/>
                  </a:cxn>
                  <a:cxn ang="f74">
                    <a:pos x="f80" y="f81"/>
                  </a:cxn>
                  <a:cxn ang="f74">
                    <a:pos x="f82" y="f81"/>
                  </a:cxn>
                  <a:cxn ang="f74">
                    <a:pos x="f83" y="f84"/>
                  </a:cxn>
                  <a:cxn ang="f74">
                    <a:pos x="f85" y="f86"/>
                  </a:cxn>
                  <a:cxn ang="f74">
                    <a:pos x="f87" y="f88"/>
                  </a:cxn>
                  <a:cxn ang="f74">
                    <a:pos x="f87" y="f89"/>
                  </a:cxn>
                  <a:cxn ang="f74">
                    <a:pos x="f90" y="f91"/>
                  </a:cxn>
                  <a:cxn ang="f74">
                    <a:pos x="f92" y="f93"/>
                  </a:cxn>
                  <a:cxn ang="f74">
                    <a:pos x="f94" y="f95"/>
                  </a:cxn>
                  <a:cxn ang="f74">
                    <a:pos x="f79" y="f96"/>
                  </a:cxn>
                  <a:cxn ang="f74">
                    <a:pos x="f97" y="f96"/>
                  </a:cxn>
                  <a:cxn ang="f74">
                    <a:pos x="f98" y="f93"/>
                  </a:cxn>
                  <a:cxn ang="f74">
                    <a:pos x="f99" y="f100"/>
                  </a:cxn>
                  <a:cxn ang="f74">
                    <a:pos x="f75" y="f101"/>
                  </a:cxn>
                  <a:cxn ang="f74">
                    <a:pos x="f102" y="f103"/>
                  </a:cxn>
                  <a:cxn ang="f74">
                    <a:pos x="f104" y="f105"/>
                  </a:cxn>
                  <a:cxn ang="f74">
                    <a:pos x="f97" y="f106"/>
                  </a:cxn>
                  <a:cxn ang="f74">
                    <a:pos x="f107" y="f108"/>
                  </a:cxn>
                  <a:cxn ang="f74">
                    <a:pos x="f109" y="f81"/>
                  </a:cxn>
                  <a:cxn ang="f74">
                    <a:pos x="f79" y="f78"/>
                  </a:cxn>
                </a:cxnLst>
                <a:rect l="f75" t="f78" r="f76" b="f77"/>
                <a:pathLst>
                  <a:path w="58" h="53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0"/>
                    </a:lnTo>
                    <a:lnTo>
                      <a:pt x="f7" y="f12"/>
                    </a:lnTo>
                    <a:lnTo>
                      <a:pt x="f13" y="f14"/>
                    </a:lnTo>
                    <a:lnTo>
                      <a:pt x="f6" y="f15"/>
                    </a:lnTo>
                    <a:lnTo>
                      <a:pt x="f6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0" y="f7"/>
                    </a:lnTo>
                    <a:lnTo>
                      <a:pt x="f8" y="f11"/>
                    </a:lnTo>
                    <a:lnTo>
                      <a:pt x="f21" y="f11"/>
                    </a:lnTo>
                    <a:lnTo>
                      <a:pt x="f22" y="f20"/>
                    </a:lnTo>
                    <a:lnTo>
                      <a:pt x="f23" y="f24"/>
                    </a:lnTo>
                    <a:lnTo>
                      <a:pt x="f5" y="f9"/>
                    </a:lnTo>
                    <a:lnTo>
                      <a:pt x="f12" y="f25"/>
                    </a:lnTo>
                    <a:lnTo>
                      <a:pt x="f15" y="f26"/>
                    </a:lnTo>
                    <a:lnTo>
                      <a:pt x="f21" y="f27"/>
                    </a:lnTo>
                    <a:lnTo>
                      <a:pt x="f28" y="f29"/>
                    </a:lnTo>
                    <a:lnTo>
                      <a:pt x="f16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54" name="Freeform 16">
                <a:extLst>
                  <a:ext uri="{FF2B5EF4-FFF2-40B4-BE49-F238E27FC236}">
                    <a16:creationId xmlns:a16="http://schemas.microsoft.com/office/drawing/2014/main" id="{A65A4DE0-0B2F-4DF3-8A5F-6103E9A641D6}"/>
                  </a:ext>
                </a:extLst>
              </p:cNvPr>
              <p:cNvSpPr/>
              <p:nvPr/>
            </p:nvSpPr>
            <p:spPr>
              <a:xfrm>
                <a:off x="4286158" y="2775688"/>
                <a:ext cx="4974" cy="6675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0"/>
                  <a:gd name="f7" fmla="val 41"/>
                  <a:gd name="f8" fmla="val 28"/>
                  <a:gd name="f9" fmla="val 14"/>
                  <a:gd name="f10" fmla="val 25"/>
                  <a:gd name="f11" fmla="val 33"/>
                  <a:gd name="f12" fmla="val 19"/>
                  <a:gd name="f13" fmla="val 40"/>
                  <a:gd name="f14" fmla="val 10"/>
                  <a:gd name="f15" fmla="val 6"/>
                  <a:gd name="f16" fmla="val 37"/>
                  <a:gd name="f17" fmla="val 3"/>
                  <a:gd name="f18" fmla="val 35"/>
                  <a:gd name="f19" fmla="val 29"/>
                  <a:gd name="f20" fmla="val 1"/>
                  <a:gd name="f21" fmla="val 4"/>
                  <a:gd name="f22" fmla="val 21"/>
                  <a:gd name="f23" fmla="val 17"/>
                  <a:gd name="f24" fmla="val 8"/>
                  <a:gd name="f25" fmla="val 22"/>
                  <a:gd name="f26" fmla="+- 0 0 -90"/>
                  <a:gd name="f27" fmla="*/ f3 1 30"/>
                  <a:gd name="f28" fmla="*/ f4 1 41"/>
                  <a:gd name="f29" fmla="+- f7 0 f5"/>
                  <a:gd name="f30" fmla="+- f6 0 f5"/>
                  <a:gd name="f31" fmla="*/ f26 f0 1"/>
                  <a:gd name="f32" fmla="*/ f30 1 30"/>
                  <a:gd name="f33" fmla="*/ f29 1 41"/>
                  <a:gd name="f34" fmla="*/ f31 1 f2"/>
                  <a:gd name="f35" fmla="*/ 28 1 f32"/>
                  <a:gd name="f36" fmla="*/ 0 1 f33"/>
                  <a:gd name="f37" fmla="*/ 30 1 f32"/>
                  <a:gd name="f38" fmla="*/ 14 1 f33"/>
                  <a:gd name="f39" fmla="*/ 25 1 f32"/>
                  <a:gd name="f40" fmla="*/ 33 1 f33"/>
                  <a:gd name="f41" fmla="*/ 19 1 f32"/>
                  <a:gd name="f42" fmla="*/ 40 1 f33"/>
                  <a:gd name="f43" fmla="*/ 14 1 f32"/>
                  <a:gd name="f44" fmla="*/ 41 1 f33"/>
                  <a:gd name="f45" fmla="*/ 10 1 f32"/>
                  <a:gd name="f46" fmla="*/ 6 1 f32"/>
                  <a:gd name="f47" fmla="*/ 37 1 f33"/>
                  <a:gd name="f48" fmla="*/ 3 1 f32"/>
                  <a:gd name="f49" fmla="*/ 35 1 f33"/>
                  <a:gd name="f50" fmla="*/ 0 1 f32"/>
                  <a:gd name="f51" fmla="*/ 29 1 f33"/>
                  <a:gd name="f52" fmla="*/ 1 1 f32"/>
                  <a:gd name="f53" fmla="*/ 25 1 f33"/>
                  <a:gd name="f54" fmla="*/ 4 1 f32"/>
                  <a:gd name="f55" fmla="*/ 21 1 f33"/>
                  <a:gd name="f56" fmla="*/ 17 1 f32"/>
                  <a:gd name="f57" fmla="*/ 8 1 f33"/>
                  <a:gd name="f58" fmla="*/ 22 1 f32"/>
                  <a:gd name="f59" fmla="*/ 3 1 f33"/>
                  <a:gd name="f60" fmla="*/ f6 1 f32"/>
                  <a:gd name="f61" fmla="*/ f7 1 f33"/>
                  <a:gd name="f62" fmla="+- f34 0 f1"/>
                  <a:gd name="f63" fmla="*/ f50 f27 1"/>
                  <a:gd name="f64" fmla="*/ f60 f27 1"/>
                  <a:gd name="f65" fmla="*/ f61 f28 1"/>
                  <a:gd name="f66" fmla="*/ f36 f28 1"/>
                  <a:gd name="f67" fmla="*/ f35 f27 1"/>
                  <a:gd name="f68" fmla="*/ f37 f27 1"/>
                  <a:gd name="f69" fmla="*/ f38 f28 1"/>
                  <a:gd name="f70" fmla="*/ f39 f27 1"/>
                  <a:gd name="f71" fmla="*/ f40 f28 1"/>
                  <a:gd name="f72" fmla="*/ f41 f27 1"/>
                  <a:gd name="f73" fmla="*/ f42 f28 1"/>
                  <a:gd name="f74" fmla="*/ f43 f27 1"/>
                  <a:gd name="f75" fmla="*/ f44 f28 1"/>
                  <a:gd name="f76" fmla="*/ f45 f27 1"/>
                  <a:gd name="f77" fmla="*/ f46 f27 1"/>
                  <a:gd name="f78" fmla="*/ f47 f28 1"/>
                  <a:gd name="f79" fmla="*/ f48 f27 1"/>
                  <a:gd name="f80" fmla="*/ f49 f28 1"/>
                  <a:gd name="f81" fmla="*/ f51 f28 1"/>
                  <a:gd name="f82" fmla="*/ f52 f27 1"/>
                  <a:gd name="f83" fmla="*/ f53 f28 1"/>
                  <a:gd name="f84" fmla="*/ f54 f27 1"/>
                  <a:gd name="f85" fmla="*/ f55 f28 1"/>
                  <a:gd name="f86" fmla="*/ f56 f27 1"/>
                  <a:gd name="f87" fmla="*/ f57 f28 1"/>
                  <a:gd name="f88" fmla="*/ f58 f27 1"/>
                  <a:gd name="f89" fmla="*/ f59 f2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2">
                    <a:pos x="f67" y="f66"/>
                  </a:cxn>
                  <a:cxn ang="f62">
                    <a:pos x="f68" y="f66"/>
                  </a:cxn>
                  <a:cxn ang="f62">
                    <a:pos x="f68" y="f69"/>
                  </a:cxn>
                  <a:cxn ang="f62">
                    <a:pos x="f70" y="f71"/>
                  </a:cxn>
                  <a:cxn ang="f62">
                    <a:pos x="f72" y="f73"/>
                  </a:cxn>
                  <a:cxn ang="f62">
                    <a:pos x="f74" y="f75"/>
                  </a:cxn>
                  <a:cxn ang="f62">
                    <a:pos x="f76" y="f73"/>
                  </a:cxn>
                  <a:cxn ang="f62">
                    <a:pos x="f77" y="f78"/>
                  </a:cxn>
                  <a:cxn ang="f62">
                    <a:pos x="f79" y="f80"/>
                  </a:cxn>
                  <a:cxn ang="f62">
                    <a:pos x="f63" y="f81"/>
                  </a:cxn>
                  <a:cxn ang="f62">
                    <a:pos x="f82" y="f83"/>
                  </a:cxn>
                  <a:cxn ang="f62">
                    <a:pos x="f84" y="f85"/>
                  </a:cxn>
                  <a:cxn ang="f62">
                    <a:pos x="f76" y="f69"/>
                  </a:cxn>
                  <a:cxn ang="f62">
                    <a:pos x="f86" y="f87"/>
                  </a:cxn>
                  <a:cxn ang="f62">
                    <a:pos x="f88" y="f89"/>
                  </a:cxn>
                  <a:cxn ang="f62">
                    <a:pos x="f67" y="f66"/>
                  </a:cxn>
                </a:cxnLst>
                <a:rect l="f63" t="f66" r="f64" b="f65"/>
                <a:pathLst>
                  <a:path w="30" h="41">
                    <a:moveTo>
                      <a:pt x="f8" y="f5"/>
                    </a:moveTo>
                    <a:lnTo>
                      <a:pt x="f6" y="f5"/>
                    </a:lnTo>
                    <a:lnTo>
                      <a:pt x="f6" y="f9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9" y="f7"/>
                    </a:lnTo>
                    <a:lnTo>
                      <a:pt x="f14" y="f13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5" y="f19"/>
                    </a:lnTo>
                    <a:lnTo>
                      <a:pt x="f20" y="f10"/>
                    </a:lnTo>
                    <a:lnTo>
                      <a:pt x="f21" y="f22"/>
                    </a:lnTo>
                    <a:lnTo>
                      <a:pt x="f14" y="f9"/>
                    </a:lnTo>
                    <a:lnTo>
                      <a:pt x="f23" y="f24"/>
                    </a:lnTo>
                    <a:lnTo>
                      <a:pt x="f25" y="f17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55" name="Freeform 17">
                <a:extLst>
                  <a:ext uri="{FF2B5EF4-FFF2-40B4-BE49-F238E27FC236}">
                    <a16:creationId xmlns:a16="http://schemas.microsoft.com/office/drawing/2014/main" id="{7182839F-E56A-4DBA-82D5-B1BA95D57D9B}"/>
                  </a:ext>
                </a:extLst>
              </p:cNvPr>
              <p:cNvSpPr/>
              <p:nvPr/>
            </p:nvSpPr>
            <p:spPr>
              <a:xfrm>
                <a:off x="4290309" y="2742971"/>
                <a:ext cx="24716" cy="2539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49"/>
                  <a:gd name="f7" fmla="val 156"/>
                  <a:gd name="f8" fmla="val 123"/>
                  <a:gd name="f9" fmla="val 130"/>
                  <a:gd name="f10" fmla="val 9"/>
                  <a:gd name="f11" fmla="val 135"/>
                  <a:gd name="f12" fmla="val 18"/>
                  <a:gd name="f13" fmla="val 137"/>
                  <a:gd name="f14" fmla="val 23"/>
                  <a:gd name="f15" fmla="val 138"/>
                  <a:gd name="f16" fmla="val 30"/>
                  <a:gd name="f17" fmla="val 146"/>
                  <a:gd name="f18" fmla="val 41"/>
                  <a:gd name="f19" fmla="val 48"/>
                  <a:gd name="f20" fmla="val 55"/>
                  <a:gd name="f21" fmla="val 141"/>
                  <a:gd name="f22" fmla="val 66"/>
                  <a:gd name="f23" fmla="val 79"/>
                  <a:gd name="f24" fmla="val 93"/>
                  <a:gd name="f25" fmla="val 105"/>
                  <a:gd name="f26" fmla="val 115"/>
                  <a:gd name="f27" fmla="val 142"/>
                  <a:gd name="f28" fmla="val 144"/>
                  <a:gd name="f29" fmla="val 131"/>
                  <a:gd name="f30" fmla="val 134"/>
                  <a:gd name="f31" fmla="val 151"/>
                  <a:gd name="f32" fmla="val 122"/>
                  <a:gd name="f33" fmla="val 110"/>
                  <a:gd name="f34" fmla="val 91"/>
                  <a:gd name="f35" fmla="val 145"/>
                  <a:gd name="f36" fmla="val 84"/>
                  <a:gd name="f37" fmla="val 77"/>
                  <a:gd name="f38" fmla="val 147"/>
                  <a:gd name="f39" fmla="val 70"/>
                  <a:gd name="f40" fmla="val 152"/>
                  <a:gd name="f41" fmla="val 62"/>
                  <a:gd name="f42" fmla="val 155"/>
                  <a:gd name="f43" fmla="val 50"/>
                  <a:gd name="f44" fmla="val 35"/>
                  <a:gd name="f45" fmla="val 25"/>
                  <a:gd name="f46" fmla="val 21"/>
                  <a:gd name="f47" fmla="val 19"/>
                  <a:gd name="f48" fmla="val 129"/>
                  <a:gd name="f49" fmla="val 14"/>
                  <a:gd name="f50" fmla="val 7"/>
                  <a:gd name="f51" fmla="val 113"/>
                  <a:gd name="f52" fmla="val 104"/>
                  <a:gd name="f53" fmla="val 94"/>
                  <a:gd name="f54" fmla="val 28"/>
                  <a:gd name="f55" fmla="val 83"/>
                  <a:gd name="f56" fmla="val 43"/>
                  <a:gd name="f57" fmla="val 72"/>
                  <a:gd name="f58" fmla="val 57"/>
                  <a:gd name="f59" fmla="val 61"/>
                  <a:gd name="f60" fmla="val 69"/>
                  <a:gd name="f61" fmla="val 51"/>
                  <a:gd name="f62" fmla="val 86"/>
                  <a:gd name="f63" fmla="val 37"/>
                  <a:gd name="f64" fmla="+- 0 0 -90"/>
                  <a:gd name="f65" fmla="*/ f3 1 149"/>
                  <a:gd name="f66" fmla="*/ f4 1 156"/>
                  <a:gd name="f67" fmla="+- f7 0 f5"/>
                  <a:gd name="f68" fmla="+- f6 0 f5"/>
                  <a:gd name="f69" fmla="*/ f64 f0 1"/>
                  <a:gd name="f70" fmla="*/ f68 1 149"/>
                  <a:gd name="f71" fmla="*/ f67 1 156"/>
                  <a:gd name="f72" fmla="*/ f69 1 f2"/>
                  <a:gd name="f73" fmla="*/ 123 1 f70"/>
                  <a:gd name="f74" fmla="*/ 0 1 f71"/>
                  <a:gd name="f75" fmla="*/ 130 1 f70"/>
                  <a:gd name="f76" fmla="*/ 9 1 f71"/>
                  <a:gd name="f77" fmla="*/ 135 1 f70"/>
                  <a:gd name="f78" fmla="*/ 18 1 f71"/>
                  <a:gd name="f79" fmla="*/ 137 1 f70"/>
                  <a:gd name="f80" fmla="*/ 23 1 f71"/>
                  <a:gd name="f81" fmla="*/ 138 1 f70"/>
                  <a:gd name="f82" fmla="*/ 30 1 f71"/>
                  <a:gd name="f83" fmla="*/ 146 1 f70"/>
                  <a:gd name="f84" fmla="*/ 41 1 f71"/>
                  <a:gd name="f85" fmla="*/ 149 1 f70"/>
                  <a:gd name="f86" fmla="*/ 48 1 f71"/>
                  <a:gd name="f87" fmla="*/ 55 1 f71"/>
                  <a:gd name="f88" fmla="*/ 141 1 f70"/>
                  <a:gd name="f89" fmla="*/ 66 1 f71"/>
                  <a:gd name="f90" fmla="*/ 79 1 f71"/>
                  <a:gd name="f91" fmla="*/ 93 1 f71"/>
                  <a:gd name="f92" fmla="*/ 105 1 f71"/>
                  <a:gd name="f93" fmla="*/ 115 1 f71"/>
                  <a:gd name="f94" fmla="*/ 142 1 f70"/>
                  <a:gd name="f95" fmla="*/ 123 1 f71"/>
                  <a:gd name="f96" fmla="*/ 144 1 f70"/>
                  <a:gd name="f97" fmla="*/ 131 1 f71"/>
                  <a:gd name="f98" fmla="*/ 141 1 f71"/>
                  <a:gd name="f99" fmla="*/ 134 1 f70"/>
                  <a:gd name="f100" fmla="*/ 151 1 f71"/>
                  <a:gd name="f101" fmla="*/ 122 1 f70"/>
                  <a:gd name="f102" fmla="*/ 156 1 f71"/>
                  <a:gd name="f103" fmla="*/ 110 1 f70"/>
                  <a:gd name="f104" fmla="*/ 91 1 f70"/>
                  <a:gd name="f105" fmla="*/ 145 1 f71"/>
                  <a:gd name="f106" fmla="*/ 84 1 f70"/>
                  <a:gd name="f107" fmla="*/ 144 1 f71"/>
                  <a:gd name="f108" fmla="*/ 77 1 f70"/>
                  <a:gd name="f109" fmla="*/ 147 1 f71"/>
                  <a:gd name="f110" fmla="*/ 70 1 f70"/>
                  <a:gd name="f111" fmla="*/ 152 1 f71"/>
                  <a:gd name="f112" fmla="*/ 62 1 f70"/>
                  <a:gd name="f113" fmla="*/ 155 1 f71"/>
                  <a:gd name="f114" fmla="*/ 50 1 f70"/>
                  <a:gd name="f115" fmla="*/ 35 1 f70"/>
                  <a:gd name="f116" fmla="*/ 25 1 f70"/>
                  <a:gd name="f117" fmla="*/ 21 1 f70"/>
                  <a:gd name="f118" fmla="*/ 134 1 f71"/>
                  <a:gd name="f119" fmla="*/ 19 1 f70"/>
                  <a:gd name="f120" fmla="*/ 129 1 f71"/>
                  <a:gd name="f121" fmla="*/ 14 1 f70"/>
                  <a:gd name="f122" fmla="*/ 122 1 f71"/>
                  <a:gd name="f123" fmla="*/ 7 1 f70"/>
                  <a:gd name="f124" fmla="*/ 113 1 f71"/>
                  <a:gd name="f125" fmla="*/ 0 1 f70"/>
                  <a:gd name="f126" fmla="*/ 104 1 f71"/>
                  <a:gd name="f127" fmla="*/ 94 1 f71"/>
                  <a:gd name="f128" fmla="*/ 28 1 f70"/>
                  <a:gd name="f129" fmla="*/ 83 1 f71"/>
                  <a:gd name="f130" fmla="*/ 43 1 f70"/>
                  <a:gd name="f131" fmla="*/ 72 1 f71"/>
                  <a:gd name="f132" fmla="*/ 57 1 f70"/>
                  <a:gd name="f133" fmla="*/ 61 1 f71"/>
                  <a:gd name="f134" fmla="*/ 69 1 f70"/>
                  <a:gd name="f135" fmla="*/ 51 1 f71"/>
                  <a:gd name="f136" fmla="*/ 79 1 f70"/>
                  <a:gd name="f137" fmla="*/ 43 1 f71"/>
                  <a:gd name="f138" fmla="*/ 86 1 f70"/>
                  <a:gd name="f139" fmla="*/ 37 1 f71"/>
                  <a:gd name="f140" fmla="*/ f6 1 f70"/>
                  <a:gd name="f141" fmla="*/ f7 1 f71"/>
                  <a:gd name="f142" fmla="+- f72 0 f1"/>
                  <a:gd name="f143" fmla="*/ f125 f65 1"/>
                  <a:gd name="f144" fmla="*/ f140 f65 1"/>
                  <a:gd name="f145" fmla="*/ f141 f66 1"/>
                  <a:gd name="f146" fmla="*/ f74 f66 1"/>
                  <a:gd name="f147" fmla="*/ f73 f65 1"/>
                  <a:gd name="f148" fmla="*/ f75 f65 1"/>
                  <a:gd name="f149" fmla="*/ f76 f66 1"/>
                  <a:gd name="f150" fmla="*/ f77 f65 1"/>
                  <a:gd name="f151" fmla="*/ f78 f66 1"/>
                  <a:gd name="f152" fmla="*/ f79 f65 1"/>
                  <a:gd name="f153" fmla="*/ f80 f66 1"/>
                  <a:gd name="f154" fmla="*/ f81 f65 1"/>
                  <a:gd name="f155" fmla="*/ f82 f66 1"/>
                  <a:gd name="f156" fmla="*/ f83 f65 1"/>
                  <a:gd name="f157" fmla="*/ f84 f66 1"/>
                  <a:gd name="f158" fmla="*/ f85 f65 1"/>
                  <a:gd name="f159" fmla="*/ f86 f66 1"/>
                  <a:gd name="f160" fmla="*/ f87 f66 1"/>
                  <a:gd name="f161" fmla="*/ f88 f65 1"/>
                  <a:gd name="f162" fmla="*/ f89 f66 1"/>
                  <a:gd name="f163" fmla="*/ f90 f66 1"/>
                  <a:gd name="f164" fmla="*/ f91 f66 1"/>
                  <a:gd name="f165" fmla="*/ f92 f66 1"/>
                  <a:gd name="f166" fmla="*/ f93 f66 1"/>
                  <a:gd name="f167" fmla="*/ f94 f65 1"/>
                  <a:gd name="f168" fmla="*/ f95 f66 1"/>
                  <a:gd name="f169" fmla="*/ f96 f65 1"/>
                  <a:gd name="f170" fmla="*/ f97 f66 1"/>
                  <a:gd name="f171" fmla="*/ f98 f66 1"/>
                  <a:gd name="f172" fmla="*/ f99 f65 1"/>
                  <a:gd name="f173" fmla="*/ f100 f66 1"/>
                  <a:gd name="f174" fmla="*/ f101 f65 1"/>
                  <a:gd name="f175" fmla="*/ f102 f66 1"/>
                  <a:gd name="f176" fmla="*/ f103 f65 1"/>
                  <a:gd name="f177" fmla="*/ f104 f65 1"/>
                  <a:gd name="f178" fmla="*/ f105 f66 1"/>
                  <a:gd name="f179" fmla="*/ f106 f65 1"/>
                  <a:gd name="f180" fmla="*/ f107 f66 1"/>
                  <a:gd name="f181" fmla="*/ f108 f65 1"/>
                  <a:gd name="f182" fmla="*/ f109 f66 1"/>
                  <a:gd name="f183" fmla="*/ f110 f65 1"/>
                  <a:gd name="f184" fmla="*/ f111 f66 1"/>
                  <a:gd name="f185" fmla="*/ f112 f65 1"/>
                  <a:gd name="f186" fmla="*/ f113 f66 1"/>
                  <a:gd name="f187" fmla="*/ f114 f65 1"/>
                  <a:gd name="f188" fmla="*/ f115 f65 1"/>
                  <a:gd name="f189" fmla="*/ f116 f65 1"/>
                  <a:gd name="f190" fmla="*/ f117 f65 1"/>
                  <a:gd name="f191" fmla="*/ f118 f66 1"/>
                  <a:gd name="f192" fmla="*/ f119 f65 1"/>
                  <a:gd name="f193" fmla="*/ f120 f66 1"/>
                  <a:gd name="f194" fmla="*/ f121 f65 1"/>
                  <a:gd name="f195" fmla="*/ f122 f66 1"/>
                  <a:gd name="f196" fmla="*/ f123 f65 1"/>
                  <a:gd name="f197" fmla="*/ f124 f66 1"/>
                  <a:gd name="f198" fmla="*/ f126 f66 1"/>
                  <a:gd name="f199" fmla="*/ f127 f66 1"/>
                  <a:gd name="f200" fmla="*/ f128 f65 1"/>
                  <a:gd name="f201" fmla="*/ f129 f66 1"/>
                  <a:gd name="f202" fmla="*/ f130 f65 1"/>
                  <a:gd name="f203" fmla="*/ f131 f66 1"/>
                  <a:gd name="f204" fmla="*/ f132 f65 1"/>
                  <a:gd name="f205" fmla="*/ f133 f66 1"/>
                  <a:gd name="f206" fmla="*/ f134 f65 1"/>
                  <a:gd name="f207" fmla="*/ f135 f66 1"/>
                  <a:gd name="f208" fmla="*/ f136 f65 1"/>
                  <a:gd name="f209" fmla="*/ f137 f66 1"/>
                  <a:gd name="f210" fmla="*/ f138 f65 1"/>
                  <a:gd name="f211" fmla="*/ f139 f6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42">
                    <a:pos x="f147" y="f146"/>
                  </a:cxn>
                  <a:cxn ang="f142">
                    <a:pos x="f148" y="f149"/>
                  </a:cxn>
                  <a:cxn ang="f142">
                    <a:pos x="f150" y="f151"/>
                  </a:cxn>
                  <a:cxn ang="f142">
                    <a:pos x="f152" y="f153"/>
                  </a:cxn>
                  <a:cxn ang="f142">
                    <a:pos x="f154" y="f155"/>
                  </a:cxn>
                  <a:cxn ang="f142">
                    <a:pos x="f156" y="f157"/>
                  </a:cxn>
                  <a:cxn ang="f142">
                    <a:pos x="f158" y="f159"/>
                  </a:cxn>
                  <a:cxn ang="f142">
                    <a:pos x="f156" y="f160"/>
                  </a:cxn>
                  <a:cxn ang="f142">
                    <a:pos x="f161" y="f162"/>
                  </a:cxn>
                  <a:cxn ang="f142">
                    <a:pos x="f152" y="f163"/>
                  </a:cxn>
                  <a:cxn ang="f142">
                    <a:pos x="f150" y="f164"/>
                  </a:cxn>
                  <a:cxn ang="f142">
                    <a:pos x="f150" y="f165"/>
                  </a:cxn>
                  <a:cxn ang="f142">
                    <a:pos x="f154" y="f166"/>
                  </a:cxn>
                  <a:cxn ang="f142">
                    <a:pos x="f167" y="f168"/>
                  </a:cxn>
                  <a:cxn ang="f142">
                    <a:pos x="f169" y="f170"/>
                  </a:cxn>
                  <a:cxn ang="f142">
                    <a:pos x="f167" y="f171"/>
                  </a:cxn>
                  <a:cxn ang="f142">
                    <a:pos x="f172" y="f173"/>
                  </a:cxn>
                  <a:cxn ang="f142">
                    <a:pos x="f174" y="f175"/>
                  </a:cxn>
                  <a:cxn ang="f142">
                    <a:pos x="f176" y="f175"/>
                  </a:cxn>
                  <a:cxn ang="f142">
                    <a:pos x="f177" y="f178"/>
                  </a:cxn>
                  <a:cxn ang="f142">
                    <a:pos x="f179" y="f180"/>
                  </a:cxn>
                  <a:cxn ang="f142">
                    <a:pos x="f181" y="f182"/>
                  </a:cxn>
                  <a:cxn ang="f142">
                    <a:pos x="f183" y="f184"/>
                  </a:cxn>
                  <a:cxn ang="f142">
                    <a:pos x="f185" y="f186"/>
                  </a:cxn>
                  <a:cxn ang="f142">
                    <a:pos x="f187" y="f186"/>
                  </a:cxn>
                  <a:cxn ang="f142">
                    <a:pos x="f188" y="f173"/>
                  </a:cxn>
                  <a:cxn ang="f142">
                    <a:pos x="f189" y="f182"/>
                  </a:cxn>
                  <a:cxn ang="f142">
                    <a:pos x="f190" y="f171"/>
                  </a:cxn>
                  <a:cxn ang="f142">
                    <a:pos x="f190" y="f191"/>
                  </a:cxn>
                  <a:cxn ang="f142">
                    <a:pos x="f192" y="f193"/>
                  </a:cxn>
                  <a:cxn ang="f142">
                    <a:pos x="f194" y="f195"/>
                  </a:cxn>
                  <a:cxn ang="f142">
                    <a:pos x="f196" y="f197"/>
                  </a:cxn>
                  <a:cxn ang="f142">
                    <a:pos x="f143" y="f198"/>
                  </a:cxn>
                  <a:cxn ang="f142">
                    <a:pos x="f194" y="f199"/>
                  </a:cxn>
                  <a:cxn ang="f142">
                    <a:pos x="f200" y="f201"/>
                  </a:cxn>
                  <a:cxn ang="f142">
                    <a:pos x="f202" y="f203"/>
                  </a:cxn>
                  <a:cxn ang="f142">
                    <a:pos x="f204" y="f205"/>
                  </a:cxn>
                  <a:cxn ang="f142">
                    <a:pos x="f206" y="f207"/>
                  </a:cxn>
                  <a:cxn ang="f142">
                    <a:pos x="f208" y="f209"/>
                  </a:cxn>
                  <a:cxn ang="f142">
                    <a:pos x="f210" y="f211"/>
                  </a:cxn>
                  <a:cxn ang="f142">
                    <a:pos x="f147" y="f146"/>
                  </a:cxn>
                </a:cxnLst>
                <a:rect l="f143" t="f146" r="f144" b="f145"/>
                <a:pathLst>
                  <a:path w="149" h="156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6" y="f19"/>
                    </a:lnTo>
                    <a:lnTo>
                      <a:pt x="f17" y="f20"/>
                    </a:lnTo>
                    <a:lnTo>
                      <a:pt x="f21" y="f22"/>
                    </a:lnTo>
                    <a:lnTo>
                      <a:pt x="f13" y="f23"/>
                    </a:lnTo>
                    <a:lnTo>
                      <a:pt x="f11" y="f24"/>
                    </a:lnTo>
                    <a:lnTo>
                      <a:pt x="f11" y="f25"/>
                    </a:lnTo>
                    <a:lnTo>
                      <a:pt x="f15" y="f26"/>
                    </a:lnTo>
                    <a:lnTo>
                      <a:pt x="f27" y="f8"/>
                    </a:lnTo>
                    <a:lnTo>
                      <a:pt x="f28" y="f29"/>
                    </a:lnTo>
                    <a:lnTo>
                      <a:pt x="f27" y="f21"/>
                    </a:lnTo>
                    <a:lnTo>
                      <a:pt x="f30" y="f31"/>
                    </a:lnTo>
                    <a:lnTo>
                      <a:pt x="f32" y="f7"/>
                    </a:lnTo>
                    <a:lnTo>
                      <a:pt x="f33" y="f7"/>
                    </a:lnTo>
                    <a:lnTo>
                      <a:pt x="f34" y="f35"/>
                    </a:lnTo>
                    <a:lnTo>
                      <a:pt x="f36" y="f28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2"/>
                    </a:lnTo>
                    <a:lnTo>
                      <a:pt x="f44" y="f31"/>
                    </a:lnTo>
                    <a:lnTo>
                      <a:pt x="f45" y="f38"/>
                    </a:lnTo>
                    <a:lnTo>
                      <a:pt x="f46" y="f21"/>
                    </a:lnTo>
                    <a:lnTo>
                      <a:pt x="f46" y="f30"/>
                    </a:lnTo>
                    <a:lnTo>
                      <a:pt x="f47" y="f48"/>
                    </a:lnTo>
                    <a:lnTo>
                      <a:pt x="f49" y="f32"/>
                    </a:lnTo>
                    <a:lnTo>
                      <a:pt x="f50" y="f51"/>
                    </a:lnTo>
                    <a:lnTo>
                      <a:pt x="f5" y="f52"/>
                    </a:lnTo>
                    <a:lnTo>
                      <a:pt x="f49" y="f53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23" y="f56"/>
                    </a:lnTo>
                    <a:lnTo>
                      <a:pt x="f62" y="f63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56" name="Freeform 18">
                <a:extLst>
                  <a:ext uri="{FF2B5EF4-FFF2-40B4-BE49-F238E27FC236}">
                    <a16:creationId xmlns:a16="http://schemas.microsoft.com/office/drawing/2014/main" id="{B7711037-3861-4BB6-BED0-8F65481D7560}"/>
                  </a:ext>
                </a:extLst>
              </p:cNvPr>
              <p:cNvSpPr/>
              <p:nvPr/>
            </p:nvSpPr>
            <p:spPr>
              <a:xfrm>
                <a:off x="4399461" y="2598267"/>
                <a:ext cx="18077" cy="11393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09"/>
                  <a:gd name="f7" fmla="val 70"/>
                  <a:gd name="f8" fmla="val 16"/>
                  <a:gd name="f9" fmla="val 20"/>
                  <a:gd name="f10" fmla="val 26"/>
                  <a:gd name="f11" fmla="val 2"/>
                  <a:gd name="f12" fmla="val 31"/>
                  <a:gd name="f13" fmla="val 8"/>
                  <a:gd name="f14" fmla="val 40"/>
                  <a:gd name="f15" fmla="val 14"/>
                  <a:gd name="f16" fmla="val 48"/>
                  <a:gd name="f17" fmla="val 15"/>
                  <a:gd name="f18" fmla="val 56"/>
                  <a:gd name="f19" fmla="val 66"/>
                  <a:gd name="f20" fmla="val 9"/>
                  <a:gd name="f21" fmla="val 73"/>
                  <a:gd name="f22" fmla="val 4"/>
                  <a:gd name="f23" fmla="val 85"/>
                  <a:gd name="f24" fmla="val 96"/>
                  <a:gd name="f25" fmla="val 106"/>
                  <a:gd name="f26" fmla="val 22"/>
                  <a:gd name="f27" fmla="val 30"/>
                  <a:gd name="f28" fmla="val 54"/>
                  <a:gd name="f29" fmla="val 99"/>
                  <a:gd name="f30" fmla="val 58"/>
                  <a:gd name="f31" fmla="val 89"/>
                  <a:gd name="f32" fmla="val 62"/>
                  <a:gd name="f33" fmla="val 74"/>
                  <a:gd name="f34" fmla="val 65"/>
                  <a:gd name="f35" fmla="val 68"/>
                  <a:gd name="f36" fmla="val 42"/>
                  <a:gd name="f37" fmla="val 33"/>
                  <a:gd name="f38" fmla="val 19"/>
                  <a:gd name="f39" fmla="val 18"/>
                  <a:gd name="f40" fmla="val 50"/>
                  <a:gd name="f41" fmla="val 47"/>
                  <a:gd name="f42" fmla="val 23"/>
                  <a:gd name="f43" fmla="val 45"/>
                  <a:gd name="f44" fmla="val 41"/>
                  <a:gd name="f45" fmla="val 36"/>
                  <a:gd name="f46" fmla="val 5"/>
                  <a:gd name="f47" fmla="val 25"/>
                  <a:gd name="f48" fmla="val 13"/>
                  <a:gd name="f49" fmla="+- 0 0 -90"/>
                  <a:gd name="f50" fmla="*/ f3 1 109"/>
                  <a:gd name="f51" fmla="*/ f4 1 70"/>
                  <a:gd name="f52" fmla="+- f7 0 f5"/>
                  <a:gd name="f53" fmla="+- f6 0 f5"/>
                  <a:gd name="f54" fmla="*/ f49 f0 1"/>
                  <a:gd name="f55" fmla="*/ f53 1 109"/>
                  <a:gd name="f56" fmla="*/ f52 1 70"/>
                  <a:gd name="f57" fmla="*/ f54 1 f2"/>
                  <a:gd name="f58" fmla="*/ 16 1 f55"/>
                  <a:gd name="f59" fmla="*/ 0 1 f56"/>
                  <a:gd name="f60" fmla="*/ 20 1 f55"/>
                  <a:gd name="f61" fmla="*/ 26 1 f55"/>
                  <a:gd name="f62" fmla="*/ 2 1 f56"/>
                  <a:gd name="f63" fmla="*/ 31 1 f55"/>
                  <a:gd name="f64" fmla="*/ 8 1 f56"/>
                  <a:gd name="f65" fmla="*/ 40 1 f55"/>
                  <a:gd name="f66" fmla="*/ 14 1 f56"/>
                  <a:gd name="f67" fmla="*/ 48 1 f55"/>
                  <a:gd name="f68" fmla="*/ 15 1 f56"/>
                  <a:gd name="f69" fmla="*/ 56 1 f55"/>
                  <a:gd name="f70" fmla="*/ 66 1 f55"/>
                  <a:gd name="f71" fmla="*/ 9 1 f56"/>
                  <a:gd name="f72" fmla="*/ 73 1 f55"/>
                  <a:gd name="f73" fmla="*/ 4 1 f56"/>
                  <a:gd name="f74" fmla="*/ 85 1 f55"/>
                  <a:gd name="f75" fmla="*/ 96 1 f55"/>
                  <a:gd name="f76" fmla="*/ 106 1 f55"/>
                  <a:gd name="f77" fmla="*/ 22 1 f56"/>
                  <a:gd name="f78" fmla="*/ 109 1 f55"/>
                  <a:gd name="f79" fmla="*/ 30 1 f56"/>
                  <a:gd name="f80" fmla="*/ 40 1 f56"/>
                  <a:gd name="f81" fmla="*/ 54 1 f56"/>
                  <a:gd name="f82" fmla="*/ 99 1 f55"/>
                  <a:gd name="f83" fmla="*/ 58 1 f56"/>
                  <a:gd name="f84" fmla="*/ 89 1 f55"/>
                  <a:gd name="f85" fmla="*/ 62 1 f56"/>
                  <a:gd name="f86" fmla="*/ 74 1 f55"/>
                  <a:gd name="f87" fmla="*/ 65 1 f56"/>
                  <a:gd name="f88" fmla="*/ 58 1 f55"/>
                  <a:gd name="f89" fmla="*/ 68 1 f56"/>
                  <a:gd name="f90" fmla="*/ 42 1 f55"/>
                  <a:gd name="f91" fmla="*/ 70 1 f56"/>
                  <a:gd name="f92" fmla="*/ 33 1 f55"/>
                  <a:gd name="f93" fmla="*/ 19 1 f55"/>
                  <a:gd name="f94" fmla="*/ 9 1 f55"/>
                  <a:gd name="f95" fmla="*/ 18 1 f55"/>
                  <a:gd name="f96" fmla="*/ 50 1 f56"/>
                  <a:gd name="f97" fmla="*/ 47 1 f56"/>
                  <a:gd name="f98" fmla="*/ 23 1 f55"/>
                  <a:gd name="f99" fmla="*/ 45 1 f56"/>
                  <a:gd name="f100" fmla="*/ 41 1 f56"/>
                  <a:gd name="f101" fmla="*/ 36 1 f56"/>
                  <a:gd name="f102" fmla="*/ 5 1 f55"/>
                  <a:gd name="f103" fmla="*/ 25 1 f56"/>
                  <a:gd name="f104" fmla="*/ 0 1 f55"/>
                  <a:gd name="f105" fmla="*/ 19 1 f56"/>
                  <a:gd name="f106" fmla="*/ 5 1 f56"/>
                  <a:gd name="f107" fmla="*/ 13 1 f55"/>
                  <a:gd name="f108" fmla="*/ f6 1 f55"/>
                  <a:gd name="f109" fmla="*/ f7 1 f56"/>
                  <a:gd name="f110" fmla="+- f57 0 f1"/>
                  <a:gd name="f111" fmla="*/ f104 f50 1"/>
                  <a:gd name="f112" fmla="*/ f108 f50 1"/>
                  <a:gd name="f113" fmla="*/ f109 f51 1"/>
                  <a:gd name="f114" fmla="*/ f59 f51 1"/>
                  <a:gd name="f115" fmla="*/ f58 f50 1"/>
                  <a:gd name="f116" fmla="*/ f60 f50 1"/>
                  <a:gd name="f117" fmla="*/ f61 f50 1"/>
                  <a:gd name="f118" fmla="*/ f62 f51 1"/>
                  <a:gd name="f119" fmla="*/ f63 f50 1"/>
                  <a:gd name="f120" fmla="*/ f64 f51 1"/>
                  <a:gd name="f121" fmla="*/ f65 f50 1"/>
                  <a:gd name="f122" fmla="*/ f66 f51 1"/>
                  <a:gd name="f123" fmla="*/ f67 f50 1"/>
                  <a:gd name="f124" fmla="*/ f68 f51 1"/>
                  <a:gd name="f125" fmla="*/ f69 f50 1"/>
                  <a:gd name="f126" fmla="*/ f70 f50 1"/>
                  <a:gd name="f127" fmla="*/ f71 f51 1"/>
                  <a:gd name="f128" fmla="*/ f72 f50 1"/>
                  <a:gd name="f129" fmla="*/ f73 f51 1"/>
                  <a:gd name="f130" fmla="*/ f74 f50 1"/>
                  <a:gd name="f131" fmla="*/ f75 f50 1"/>
                  <a:gd name="f132" fmla="*/ f76 f50 1"/>
                  <a:gd name="f133" fmla="*/ f77 f51 1"/>
                  <a:gd name="f134" fmla="*/ f78 f50 1"/>
                  <a:gd name="f135" fmla="*/ f79 f51 1"/>
                  <a:gd name="f136" fmla="*/ f80 f51 1"/>
                  <a:gd name="f137" fmla="*/ f81 f51 1"/>
                  <a:gd name="f138" fmla="*/ f82 f50 1"/>
                  <a:gd name="f139" fmla="*/ f83 f51 1"/>
                  <a:gd name="f140" fmla="*/ f84 f50 1"/>
                  <a:gd name="f141" fmla="*/ f85 f51 1"/>
                  <a:gd name="f142" fmla="*/ f86 f50 1"/>
                  <a:gd name="f143" fmla="*/ f87 f51 1"/>
                  <a:gd name="f144" fmla="*/ f88 f50 1"/>
                  <a:gd name="f145" fmla="*/ f89 f51 1"/>
                  <a:gd name="f146" fmla="*/ f90 f50 1"/>
                  <a:gd name="f147" fmla="*/ f91 f51 1"/>
                  <a:gd name="f148" fmla="*/ f92 f50 1"/>
                  <a:gd name="f149" fmla="*/ f93 f50 1"/>
                  <a:gd name="f150" fmla="*/ f94 f50 1"/>
                  <a:gd name="f151" fmla="*/ f95 f50 1"/>
                  <a:gd name="f152" fmla="*/ f96 f51 1"/>
                  <a:gd name="f153" fmla="*/ f97 f51 1"/>
                  <a:gd name="f154" fmla="*/ f98 f50 1"/>
                  <a:gd name="f155" fmla="*/ f99 f51 1"/>
                  <a:gd name="f156" fmla="*/ f100 f51 1"/>
                  <a:gd name="f157" fmla="*/ f101 f51 1"/>
                  <a:gd name="f158" fmla="*/ f102 f50 1"/>
                  <a:gd name="f159" fmla="*/ f103 f51 1"/>
                  <a:gd name="f160" fmla="*/ f105 f51 1"/>
                  <a:gd name="f161" fmla="*/ f106 f51 1"/>
                  <a:gd name="f162" fmla="*/ f107 f5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10">
                    <a:pos x="f115" y="f114"/>
                  </a:cxn>
                  <a:cxn ang="f110">
                    <a:pos x="f116" y="f114"/>
                  </a:cxn>
                  <a:cxn ang="f110">
                    <a:pos x="f117" y="f118"/>
                  </a:cxn>
                  <a:cxn ang="f110">
                    <a:pos x="f119" y="f120"/>
                  </a:cxn>
                  <a:cxn ang="f110">
                    <a:pos x="f121" y="f122"/>
                  </a:cxn>
                  <a:cxn ang="f110">
                    <a:pos x="f123" y="f124"/>
                  </a:cxn>
                  <a:cxn ang="f110">
                    <a:pos x="f125" y="f122"/>
                  </a:cxn>
                  <a:cxn ang="f110">
                    <a:pos x="f126" y="f127"/>
                  </a:cxn>
                  <a:cxn ang="f110">
                    <a:pos x="f128" y="f129"/>
                  </a:cxn>
                  <a:cxn ang="f110">
                    <a:pos x="f130" y="f127"/>
                  </a:cxn>
                  <a:cxn ang="f110">
                    <a:pos x="f131" y="f124"/>
                  </a:cxn>
                  <a:cxn ang="f110">
                    <a:pos x="f132" y="f133"/>
                  </a:cxn>
                  <a:cxn ang="f110">
                    <a:pos x="f134" y="f135"/>
                  </a:cxn>
                  <a:cxn ang="f110">
                    <a:pos x="f134" y="f136"/>
                  </a:cxn>
                  <a:cxn ang="f110">
                    <a:pos x="f132" y="f137"/>
                  </a:cxn>
                  <a:cxn ang="f110">
                    <a:pos x="f138" y="f139"/>
                  </a:cxn>
                  <a:cxn ang="f110">
                    <a:pos x="f140" y="f141"/>
                  </a:cxn>
                  <a:cxn ang="f110">
                    <a:pos x="f142" y="f143"/>
                  </a:cxn>
                  <a:cxn ang="f110">
                    <a:pos x="f144" y="f145"/>
                  </a:cxn>
                  <a:cxn ang="f110">
                    <a:pos x="f146" y="f147"/>
                  </a:cxn>
                  <a:cxn ang="f110">
                    <a:pos x="f148" y="f147"/>
                  </a:cxn>
                  <a:cxn ang="f110">
                    <a:pos x="f117" y="f145"/>
                  </a:cxn>
                  <a:cxn ang="f110">
                    <a:pos x="f149" y="f141"/>
                  </a:cxn>
                  <a:cxn ang="f110">
                    <a:pos x="f150" y="f137"/>
                  </a:cxn>
                  <a:cxn ang="f110">
                    <a:pos x="f151" y="f152"/>
                  </a:cxn>
                  <a:cxn ang="f110">
                    <a:pos x="f116" y="f153"/>
                  </a:cxn>
                  <a:cxn ang="f110">
                    <a:pos x="f154" y="f155"/>
                  </a:cxn>
                  <a:cxn ang="f110">
                    <a:pos x="f154" y="f156"/>
                  </a:cxn>
                  <a:cxn ang="f110">
                    <a:pos x="f149" y="f157"/>
                  </a:cxn>
                  <a:cxn ang="f110">
                    <a:pos x="f158" y="f159"/>
                  </a:cxn>
                  <a:cxn ang="f110">
                    <a:pos x="f111" y="f160"/>
                  </a:cxn>
                  <a:cxn ang="f110">
                    <a:pos x="f111" y="f124"/>
                  </a:cxn>
                  <a:cxn ang="f110">
                    <a:pos x="f150" y="f161"/>
                  </a:cxn>
                  <a:cxn ang="f110">
                    <a:pos x="f162" y="f118"/>
                  </a:cxn>
                  <a:cxn ang="f110">
                    <a:pos x="f115" y="f114"/>
                  </a:cxn>
                </a:cxnLst>
                <a:rect l="f111" t="f114" r="f112" b="f113"/>
                <a:pathLst>
                  <a:path w="109" h="70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5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0"/>
                    </a:lnTo>
                    <a:lnTo>
                      <a:pt x="f24" y="f17"/>
                    </a:lnTo>
                    <a:lnTo>
                      <a:pt x="f25" y="f26"/>
                    </a:lnTo>
                    <a:lnTo>
                      <a:pt x="f6" y="f27"/>
                    </a:lnTo>
                    <a:lnTo>
                      <a:pt x="f6" y="f14"/>
                    </a:lnTo>
                    <a:lnTo>
                      <a:pt x="f25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0" y="f35"/>
                    </a:lnTo>
                    <a:lnTo>
                      <a:pt x="f36" y="f7"/>
                    </a:lnTo>
                    <a:lnTo>
                      <a:pt x="f37" y="f7"/>
                    </a:lnTo>
                    <a:lnTo>
                      <a:pt x="f10" y="f35"/>
                    </a:lnTo>
                    <a:lnTo>
                      <a:pt x="f38" y="f32"/>
                    </a:lnTo>
                    <a:lnTo>
                      <a:pt x="f20" y="f28"/>
                    </a:lnTo>
                    <a:lnTo>
                      <a:pt x="f39" y="f40"/>
                    </a:lnTo>
                    <a:lnTo>
                      <a:pt x="f9" y="f41"/>
                    </a:lnTo>
                    <a:lnTo>
                      <a:pt x="f42" y="f43"/>
                    </a:lnTo>
                    <a:lnTo>
                      <a:pt x="f42" y="f44"/>
                    </a:lnTo>
                    <a:lnTo>
                      <a:pt x="f38" y="f45"/>
                    </a:lnTo>
                    <a:lnTo>
                      <a:pt x="f46" y="f47"/>
                    </a:lnTo>
                    <a:lnTo>
                      <a:pt x="f5" y="f38"/>
                    </a:lnTo>
                    <a:lnTo>
                      <a:pt x="f5" y="f17"/>
                    </a:lnTo>
                    <a:lnTo>
                      <a:pt x="f20" y="f46"/>
                    </a:lnTo>
                    <a:lnTo>
                      <a:pt x="f48" y="f11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57" name="Freeform 19">
                <a:extLst>
                  <a:ext uri="{FF2B5EF4-FFF2-40B4-BE49-F238E27FC236}">
                    <a16:creationId xmlns:a16="http://schemas.microsoft.com/office/drawing/2014/main" id="{A0EEEEF8-1E44-49BD-A3B7-EC24D317D770}"/>
                  </a:ext>
                </a:extLst>
              </p:cNvPr>
              <p:cNvSpPr/>
              <p:nvPr/>
            </p:nvSpPr>
            <p:spPr>
              <a:xfrm>
                <a:off x="4559545" y="2526642"/>
                <a:ext cx="53419" cy="3613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22"/>
                  <a:gd name="f7" fmla="val 222"/>
                  <a:gd name="f8" fmla="val 154"/>
                  <a:gd name="f9" fmla="val 190"/>
                  <a:gd name="f10" fmla="val 198"/>
                  <a:gd name="f11" fmla="val 1"/>
                  <a:gd name="f12" fmla="val 203"/>
                  <a:gd name="f13" fmla="val 5"/>
                  <a:gd name="f14" fmla="val 205"/>
                  <a:gd name="f15" fmla="val 11"/>
                  <a:gd name="f16" fmla="val 18"/>
                  <a:gd name="f17" fmla="val 22"/>
                  <a:gd name="f18" fmla="val 26"/>
                  <a:gd name="f19" fmla="val 208"/>
                  <a:gd name="f20" fmla="val 30"/>
                  <a:gd name="f21" fmla="val 213"/>
                  <a:gd name="f22" fmla="val 37"/>
                  <a:gd name="f23" fmla="val 219"/>
                  <a:gd name="f24" fmla="val 46"/>
                  <a:gd name="f25" fmla="val 228"/>
                  <a:gd name="f26" fmla="val 55"/>
                  <a:gd name="f27" fmla="val 232"/>
                  <a:gd name="f28" fmla="val 239"/>
                  <a:gd name="f29" fmla="val 51"/>
                  <a:gd name="f30" fmla="val 245"/>
                  <a:gd name="f31" fmla="val 43"/>
                  <a:gd name="f32" fmla="val 246"/>
                  <a:gd name="f33" fmla="val 35"/>
                  <a:gd name="f34" fmla="val 19"/>
                  <a:gd name="f35" fmla="val 248"/>
                  <a:gd name="f36" fmla="val 15"/>
                  <a:gd name="f37" fmla="val 255"/>
                  <a:gd name="f38" fmla="val 14"/>
                  <a:gd name="f39" fmla="val 263"/>
                  <a:gd name="f40" fmla="val 17"/>
                  <a:gd name="f41" fmla="val 268"/>
                  <a:gd name="f42" fmla="val 25"/>
                  <a:gd name="f43" fmla="val 272"/>
                  <a:gd name="f44" fmla="val 36"/>
                  <a:gd name="f45" fmla="val 277"/>
                  <a:gd name="f46" fmla="val 44"/>
                  <a:gd name="f47" fmla="val 282"/>
                  <a:gd name="f48" fmla="val 50"/>
                  <a:gd name="f49" fmla="val 290"/>
                  <a:gd name="f50" fmla="val 300"/>
                  <a:gd name="f51" fmla="val 317"/>
                  <a:gd name="f52" fmla="val 54"/>
                  <a:gd name="f53" fmla="val 61"/>
                  <a:gd name="f54" fmla="val 72"/>
                  <a:gd name="f55" fmla="val 313"/>
                  <a:gd name="f56" fmla="val 85"/>
                  <a:gd name="f57" fmla="val 308"/>
                  <a:gd name="f58" fmla="val 96"/>
                  <a:gd name="f59" fmla="val 310"/>
                  <a:gd name="f60" fmla="val 105"/>
                  <a:gd name="f61" fmla="val 314"/>
                  <a:gd name="f62" fmla="val 114"/>
                  <a:gd name="f63" fmla="val 318"/>
                  <a:gd name="f64" fmla="val 121"/>
                  <a:gd name="f65" fmla="val 319"/>
                  <a:gd name="f66" fmla="val 128"/>
                  <a:gd name="f67" fmla="val 134"/>
                  <a:gd name="f68" fmla="val 315"/>
                  <a:gd name="f69" fmla="val 139"/>
                  <a:gd name="f70" fmla="val 146"/>
                  <a:gd name="f71" fmla="val 148"/>
                  <a:gd name="f72" fmla="val 321"/>
                  <a:gd name="f73" fmla="val 150"/>
                  <a:gd name="f74" fmla="val 306"/>
                  <a:gd name="f75" fmla="val 155"/>
                  <a:gd name="f76" fmla="val 289"/>
                  <a:gd name="f77" fmla="val 159"/>
                  <a:gd name="f78" fmla="val 275"/>
                  <a:gd name="f79" fmla="val 164"/>
                  <a:gd name="f80" fmla="val 266"/>
                  <a:gd name="f81" fmla="val 165"/>
                  <a:gd name="f82" fmla="val 259"/>
                  <a:gd name="f83" fmla="val 250"/>
                  <a:gd name="f84" fmla="val 161"/>
                  <a:gd name="f85" fmla="val 243"/>
                  <a:gd name="f86" fmla="val 158"/>
                  <a:gd name="f87" fmla="val 235"/>
                  <a:gd name="f88" fmla="val 157"/>
                  <a:gd name="f89" fmla="val 224"/>
                  <a:gd name="f90" fmla="val 221"/>
                  <a:gd name="f91" fmla="val 171"/>
                  <a:gd name="f92" fmla="val 184"/>
                  <a:gd name="f93" fmla="val 196"/>
                  <a:gd name="f94" fmla="val 204"/>
                  <a:gd name="f95" fmla="val 192"/>
                  <a:gd name="f96" fmla="val 202"/>
                  <a:gd name="f97" fmla="val 179"/>
                  <a:gd name="f98" fmla="val 166"/>
                  <a:gd name="f99" fmla="val 207"/>
                  <a:gd name="f100" fmla="val 152"/>
                  <a:gd name="f101" fmla="val 144"/>
                  <a:gd name="f102" fmla="val 201"/>
                  <a:gd name="f103" fmla="val 137"/>
                  <a:gd name="f104" fmla="val 130"/>
                  <a:gd name="f105" fmla="val 125"/>
                  <a:gd name="f106" fmla="val 212"/>
                  <a:gd name="f107" fmla="val 218"/>
                  <a:gd name="f108" fmla="val 220"/>
                  <a:gd name="f109" fmla="val 91"/>
                  <a:gd name="f110" fmla="val 74"/>
                  <a:gd name="f111" fmla="val 58"/>
                  <a:gd name="f112" fmla="val 216"/>
                  <a:gd name="f113" fmla="val 38"/>
                  <a:gd name="f114" fmla="val 211"/>
                  <a:gd name="f115" fmla="val 32"/>
                  <a:gd name="f116" fmla="val 24"/>
                  <a:gd name="f117" fmla="val 6"/>
                  <a:gd name="f118" fmla="val 200"/>
                  <a:gd name="f119" fmla="val 2"/>
                  <a:gd name="f120" fmla="val 197"/>
                  <a:gd name="f121" fmla="val 193"/>
                  <a:gd name="f122" fmla="val 3"/>
                  <a:gd name="f123" fmla="val 186"/>
                  <a:gd name="f124" fmla="val 7"/>
                  <a:gd name="f125" fmla="val 9"/>
                  <a:gd name="f126" fmla="val 13"/>
                  <a:gd name="f127" fmla="val 20"/>
                  <a:gd name="f128" fmla="val 28"/>
                  <a:gd name="f129" fmla="val 115"/>
                  <a:gd name="f130" fmla="val 39"/>
                  <a:gd name="f131" fmla="val 101"/>
                  <a:gd name="f132" fmla="val 47"/>
                  <a:gd name="f133" fmla="val 89"/>
                  <a:gd name="f134" fmla="val 56"/>
                  <a:gd name="f135" fmla="val 73"/>
                  <a:gd name="f136" fmla="val 65"/>
                  <a:gd name="f137" fmla="val 60"/>
                  <a:gd name="f138" fmla="val 48"/>
                  <a:gd name="f139" fmla="val 82"/>
                  <a:gd name="f140" fmla="val 42"/>
                  <a:gd name="f141" fmla="val 90"/>
                  <a:gd name="f142" fmla="val 123"/>
                  <a:gd name="f143" fmla="val 132"/>
                  <a:gd name="f144" fmla="val 156"/>
                  <a:gd name="f145" fmla="val 29"/>
                  <a:gd name="f146" fmla="val 143"/>
                  <a:gd name="f147" fmla="val 141"/>
                  <a:gd name="f148" fmla="+- 0 0 -90"/>
                  <a:gd name="f149" fmla="*/ f3 1 322"/>
                  <a:gd name="f150" fmla="*/ f4 1 222"/>
                  <a:gd name="f151" fmla="+- f7 0 f5"/>
                  <a:gd name="f152" fmla="+- f6 0 f5"/>
                  <a:gd name="f153" fmla="*/ f148 f0 1"/>
                  <a:gd name="f154" fmla="*/ f152 1 322"/>
                  <a:gd name="f155" fmla="*/ f151 1 222"/>
                  <a:gd name="f156" fmla="*/ f153 1 f2"/>
                  <a:gd name="f157" fmla="*/ 190 1 f154"/>
                  <a:gd name="f158" fmla="*/ 0 1 f155"/>
                  <a:gd name="f159" fmla="*/ 203 1 f154"/>
                  <a:gd name="f160" fmla="*/ 5 1 f155"/>
                  <a:gd name="f161" fmla="*/ 18 1 f155"/>
                  <a:gd name="f162" fmla="*/ 205 1 f154"/>
                  <a:gd name="f163" fmla="*/ 26 1 f155"/>
                  <a:gd name="f164" fmla="*/ 213 1 f154"/>
                  <a:gd name="f165" fmla="*/ 37 1 f155"/>
                  <a:gd name="f166" fmla="*/ 228 1 f154"/>
                  <a:gd name="f167" fmla="*/ 55 1 f155"/>
                  <a:gd name="f168" fmla="*/ 239 1 f154"/>
                  <a:gd name="f169" fmla="*/ 51 1 f155"/>
                  <a:gd name="f170" fmla="*/ 246 1 f154"/>
                  <a:gd name="f171" fmla="*/ 35 1 f155"/>
                  <a:gd name="f172" fmla="*/ 245 1 f154"/>
                  <a:gd name="f173" fmla="*/ 19 1 f155"/>
                  <a:gd name="f174" fmla="*/ 255 1 f154"/>
                  <a:gd name="f175" fmla="*/ 14 1 f155"/>
                  <a:gd name="f176" fmla="*/ 268 1 f154"/>
                  <a:gd name="f177" fmla="*/ 25 1 f155"/>
                  <a:gd name="f178" fmla="*/ 277 1 f154"/>
                  <a:gd name="f179" fmla="*/ 44 1 f155"/>
                  <a:gd name="f180" fmla="*/ 290 1 f154"/>
                  <a:gd name="f181" fmla="*/ 317 1 f154"/>
                  <a:gd name="f182" fmla="*/ 50 1 f155"/>
                  <a:gd name="f183" fmla="*/ 322 1 f154"/>
                  <a:gd name="f184" fmla="*/ 61 1 f155"/>
                  <a:gd name="f185" fmla="*/ 313 1 f154"/>
                  <a:gd name="f186" fmla="*/ 85 1 f155"/>
                  <a:gd name="f187" fmla="*/ 310 1 f154"/>
                  <a:gd name="f188" fmla="*/ 105 1 f155"/>
                  <a:gd name="f189" fmla="*/ 318 1 f154"/>
                  <a:gd name="f190" fmla="*/ 121 1 f155"/>
                  <a:gd name="f191" fmla="*/ 134 1 f155"/>
                  <a:gd name="f192" fmla="*/ 315 1 f154"/>
                  <a:gd name="f193" fmla="*/ 146 1 f155"/>
                  <a:gd name="f194" fmla="*/ 321 1 f154"/>
                  <a:gd name="f195" fmla="*/ 150 1 f155"/>
                  <a:gd name="f196" fmla="*/ 289 1 f154"/>
                  <a:gd name="f197" fmla="*/ 159 1 f155"/>
                  <a:gd name="f198" fmla="*/ 266 1 f154"/>
                  <a:gd name="f199" fmla="*/ 165 1 f155"/>
                  <a:gd name="f200" fmla="*/ 250 1 f154"/>
                  <a:gd name="f201" fmla="*/ 161 1 f155"/>
                  <a:gd name="f202" fmla="*/ 235 1 f154"/>
                  <a:gd name="f203" fmla="*/ 157 1 f155"/>
                  <a:gd name="f204" fmla="*/ 224 1 f154"/>
                  <a:gd name="f205" fmla="*/ 219 1 f154"/>
                  <a:gd name="f206" fmla="*/ 184 1 f155"/>
                  <a:gd name="f207" fmla="*/ 204 1 f155"/>
                  <a:gd name="f208" fmla="*/ 179 1 f154"/>
                  <a:gd name="f209" fmla="*/ 202 1 f155"/>
                  <a:gd name="f210" fmla="*/ 159 1 f154"/>
                  <a:gd name="f211" fmla="*/ 207 1 f155"/>
                  <a:gd name="f212" fmla="*/ 144 1 f154"/>
                  <a:gd name="f213" fmla="*/ 201 1 f155"/>
                  <a:gd name="f214" fmla="*/ 130 1 f154"/>
                  <a:gd name="f215" fmla="*/ 121 1 f154"/>
                  <a:gd name="f216" fmla="*/ 212 1 f155"/>
                  <a:gd name="f217" fmla="*/ 105 1 f154"/>
                  <a:gd name="f218" fmla="*/ 220 1 f155"/>
                  <a:gd name="f219" fmla="*/ 74 1 f154"/>
                  <a:gd name="f220" fmla="*/ 222 1 f155"/>
                  <a:gd name="f221" fmla="*/ 46 1 f154"/>
                  <a:gd name="f222" fmla="*/ 216 1 f155"/>
                  <a:gd name="f223" fmla="*/ 32 1 f154"/>
                  <a:gd name="f224" fmla="*/ 14 1 f154"/>
                  <a:gd name="f225" fmla="*/ 2 1 f154"/>
                  <a:gd name="f226" fmla="*/ 197 1 f155"/>
                  <a:gd name="f227" fmla="*/ 3 1 f154"/>
                  <a:gd name="f228" fmla="*/ 186 1 f155"/>
                  <a:gd name="f229" fmla="*/ 9 1 f154"/>
                  <a:gd name="f230" fmla="*/ 171 1 f155"/>
                  <a:gd name="f231" fmla="*/ 7 1 f154"/>
                  <a:gd name="f232" fmla="*/ 148 1 f155"/>
                  <a:gd name="f233" fmla="*/ 20 1 f154"/>
                  <a:gd name="f234" fmla="*/ 125 1 f155"/>
                  <a:gd name="f235" fmla="*/ 39 1 f154"/>
                  <a:gd name="f236" fmla="*/ 101 1 f155"/>
                  <a:gd name="f237" fmla="*/ 56 1 f154"/>
                  <a:gd name="f238" fmla="*/ 73 1 f155"/>
                  <a:gd name="f239" fmla="*/ 48 1 f155"/>
                  <a:gd name="f240" fmla="*/ 90 1 f154"/>
                  <a:gd name="f241" fmla="*/ 39 1 f155"/>
                  <a:gd name="f242" fmla="*/ 123 1 f154"/>
                  <a:gd name="f243" fmla="*/ 32 1 f155"/>
                  <a:gd name="f244" fmla="*/ 154 1 f154"/>
                  <a:gd name="f245" fmla="*/ 30 1 f155"/>
                  <a:gd name="f246" fmla="*/ 156 1 f154"/>
                  <a:gd name="f247" fmla="*/ 24 1 f155"/>
                  <a:gd name="f248" fmla="*/ 148 1 f154"/>
                  <a:gd name="f249" fmla="*/ 11 1 f155"/>
                  <a:gd name="f250" fmla="*/ 141 1 f154"/>
                  <a:gd name="f251" fmla="*/ 3 1 f155"/>
                  <a:gd name="f252" fmla="*/ 0 1 f154"/>
                  <a:gd name="f253" fmla="*/ f6 1 f154"/>
                  <a:gd name="f254" fmla="*/ f7 1 f155"/>
                  <a:gd name="f255" fmla="+- f156 0 f1"/>
                  <a:gd name="f256" fmla="*/ f252 f149 1"/>
                  <a:gd name="f257" fmla="*/ f253 f149 1"/>
                  <a:gd name="f258" fmla="*/ f254 f150 1"/>
                  <a:gd name="f259" fmla="*/ f158 f150 1"/>
                  <a:gd name="f260" fmla="*/ f157 f149 1"/>
                  <a:gd name="f261" fmla="*/ f159 f149 1"/>
                  <a:gd name="f262" fmla="*/ f160 f150 1"/>
                  <a:gd name="f263" fmla="*/ f161 f150 1"/>
                  <a:gd name="f264" fmla="*/ f162 f149 1"/>
                  <a:gd name="f265" fmla="*/ f163 f150 1"/>
                  <a:gd name="f266" fmla="*/ f164 f149 1"/>
                  <a:gd name="f267" fmla="*/ f165 f150 1"/>
                  <a:gd name="f268" fmla="*/ f166 f149 1"/>
                  <a:gd name="f269" fmla="*/ f167 f150 1"/>
                  <a:gd name="f270" fmla="*/ f168 f149 1"/>
                  <a:gd name="f271" fmla="*/ f169 f150 1"/>
                  <a:gd name="f272" fmla="*/ f170 f149 1"/>
                  <a:gd name="f273" fmla="*/ f171 f150 1"/>
                  <a:gd name="f274" fmla="*/ f172 f149 1"/>
                  <a:gd name="f275" fmla="*/ f173 f150 1"/>
                  <a:gd name="f276" fmla="*/ f174 f149 1"/>
                  <a:gd name="f277" fmla="*/ f175 f150 1"/>
                  <a:gd name="f278" fmla="*/ f176 f149 1"/>
                  <a:gd name="f279" fmla="*/ f177 f150 1"/>
                  <a:gd name="f280" fmla="*/ f178 f149 1"/>
                  <a:gd name="f281" fmla="*/ f179 f150 1"/>
                  <a:gd name="f282" fmla="*/ f180 f149 1"/>
                  <a:gd name="f283" fmla="*/ f181 f149 1"/>
                  <a:gd name="f284" fmla="*/ f182 f150 1"/>
                  <a:gd name="f285" fmla="*/ f183 f149 1"/>
                  <a:gd name="f286" fmla="*/ f184 f150 1"/>
                  <a:gd name="f287" fmla="*/ f185 f149 1"/>
                  <a:gd name="f288" fmla="*/ f186 f150 1"/>
                  <a:gd name="f289" fmla="*/ f187 f149 1"/>
                  <a:gd name="f290" fmla="*/ f188 f150 1"/>
                  <a:gd name="f291" fmla="*/ f189 f149 1"/>
                  <a:gd name="f292" fmla="*/ f190 f150 1"/>
                  <a:gd name="f293" fmla="*/ f191 f150 1"/>
                  <a:gd name="f294" fmla="*/ f192 f149 1"/>
                  <a:gd name="f295" fmla="*/ f193 f150 1"/>
                  <a:gd name="f296" fmla="*/ f194 f149 1"/>
                  <a:gd name="f297" fmla="*/ f195 f150 1"/>
                  <a:gd name="f298" fmla="*/ f196 f149 1"/>
                  <a:gd name="f299" fmla="*/ f197 f150 1"/>
                  <a:gd name="f300" fmla="*/ f198 f149 1"/>
                  <a:gd name="f301" fmla="*/ f199 f150 1"/>
                  <a:gd name="f302" fmla="*/ f200 f149 1"/>
                  <a:gd name="f303" fmla="*/ f201 f150 1"/>
                  <a:gd name="f304" fmla="*/ f202 f149 1"/>
                  <a:gd name="f305" fmla="*/ f203 f150 1"/>
                  <a:gd name="f306" fmla="*/ f204 f149 1"/>
                  <a:gd name="f307" fmla="*/ f205 f149 1"/>
                  <a:gd name="f308" fmla="*/ f206 f150 1"/>
                  <a:gd name="f309" fmla="*/ f207 f150 1"/>
                  <a:gd name="f310" fmla="*/ f208 f149 1"/>
                  <a:gd name="f311" fmla="*/ f209 f150 1"/>
                  <a:gd name="f312" fmla="*/ f210 f149 1"/>
                  <a:gd name="f313" fmla="*/ f211 f150 1"/>
                  <a:gd name="f314" fmla="*/ f212 f149 1"/>
                  <a:gd name="f315" fmla="*/ f213 f150 1"/>
                  <a:gd name="f316" fmla="*/ f214 f149 1"/>
                  <a:gd name="f317" fmla="*/ f215 f149 1"/>
                  <a:gd name="f318" fmla="*/ f216 f150 1"/>
                  <a:gd name="f319" fmla="*/ f217 f149 1"/>
                  <a:gd name="f320" fmla="*/ f218 f150 1"/>
                  <a:gd name="f321" fmla="*/ f219 f149 1"/>
                  <a:gd name="f322" fmla="*/ f220 f150 1"/>
                  <a:gd name="f323" fmla="*/ f221 f149 1"/>
                  <a:gd name="f324" fmla="*/ f222 f150 1"/>
                  <a:gd name="f325" fmla="*/ f223 f149 1"/>
                  <a:gd name="f326" fmla="*/ f224 f149 1"/>
                  <a:gd name="f327" fmla="*/ f225 f149 1"/>
                  <a:gd name="f328" fmla="*/ f226 f150 1"/>
                  <a:gd name="f329" fmla="*/ f227 f149 1"/>
                  <a:gd name="f330" fmla="*/ f228 f150 1"/>
                  <a:gd name="f331" fmla="*/ f229 f149 1"/>
                  <a:gd name="f332" fmla="*/ f230 f150 1"/>
                  <a:gd name="f333" fmla="*/ f231 f149 1"/>
                  <a:gd name="f334" fmla="*/ f232 f150 1"/>
                  <a:gd name="f335" fmla="*/ f233 f149 1"/>
                  <a:gd name="f336" fmla="*/ f234 f150 1"/>
                  <a:gd name="f337" fmla="*/ f235 f149 1"/>
                  <a:gd name="f338" fmla="*/ f236 f150 1"/>
                  <a:gd name="f339" fmla="*/ f237 f149 1"/>
                  <a:gd name="f340" fmla="*/ f238 f150 1"/>
                  <a:gd name="f341" fmla="*/ f239 f150 1"/>
                  <a:gd name="f342" fmla="*/ f240 f149 1"/>
                  <a:gd name="f343" fmla="*/ f241 f150 1"/>
                  <a:gd name="f344" fmla="*/ f242 f149 1"/>
                  <a:gd name="f345" fmla="*/ f243 f150 1"/>
                  <a:gd name="f346" fmla="*/ f244 f149 1"/>
                  <a:gd name="f347" fmla="*/ f245 f150 1"/>
                  <a:gd name="f348" fmla="*/ f246 f149 1"/>
                  <a:gd name="f349" fmla="*/ f247 f150 1"/>
                  <a:gd name="f350" fmla="*/ f248 f149 1"/>
                  <a:gd name="f351" fmla="*/ f249 f150 1"/>
                  <a:gd name="f352" fmla="*/ f250 f149 1"/>
                  <a:gd name="f353" fmla="*/ f251 f15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55">
                    <a:pos x="f260" y="f259"/>
                  </a:cxn>
                  <a:cxn ang="f255">
                    <a:pos x="f261" y="f262"/>
                  </a:cxn>
                  <a:cxn ang="f255">
                    <a:pos x="f261" y="f263"/>
                  </a:cxn>
                  <a:cxn ang="f255">
                    <a:pos x="f264" y="f265"/>
                  </a:cxn>
                  <a:cxn ang="f255">
                    <a:pos x="f266" y="f267"/>
                  </a:cxn>
                  <a:cxn ang="f255">
                    <a:pos x="f268" y="f269"/>
                  </a:cxn>
                  <a:cxn ang="f255">
                    <a:pos x="f270" y="f271"/>
                  </a:cxn>
                  <a:cxn ang="f255">
                    <a:pos x="f272" y="f273"/>
                  </a:cxn>
                  <a:cxn ang="f255">
                    <a:pos x="f274" y="f275"/>
                  </a:cxn>
                  <a:cxn ang="f255">
                    <a:pos x="f276" y="f277"/>
                  </a:cxn>
                  <a:cxn ang="f255">
                    <a:pos x="f278" y="f279"/>
                  </a:cxn>
                  <a:cxn ang="f255">
                    <a:pos x="f280" y="f281"/>
                  </a:cxn>
                  <a:cxn ang="f255">
                    <a:pos x="f282" y="f271"/>
                  </a:cxn>
                  <a:cxn ang="f255">
                    <a:pos x="f283" y="f284"/>
                  </a:cxn>
                  <a:cxn ang="f255">
                    <a:pos x="f285" y="f286"/>
                  </a:cxn>
                  <a:cxn ang="f255">
                    <a:pos x="f287" y="f288"/>
                  </a:cxn>
                  <a:cxn ang="f255">
                    <a:pos x="f289" y="f290"/>
                  </a:cxn>
                  <a:cxn ang="f255">
                    <a:pos x="f291" y="f292"/>
                  </a:cxn>
                  <a:cxn ang="f255">
                    <a:pos x="f283" y="f293"/>
                  </a:cxn>
                  <a:cxn ang="f255">
                    <a:pos x="f294" y="f295"/>
                  </a:cxn>
                  <a:cxn ang="f255">
                    <a:pos x="f296" y="f297"/>
                  </a:cxn>
                  <a:cxn ang="f255">
                    <a:pos x="f298" y="f299"/>
                  </a:cxn>
                  <a:cxn ang="f255">
                    <a:pos x="f300" y="f301"/>
                  </a:cxn>
                  <a:cxn ang="f255">
                    <a:pos x="f302" y="f303"/>
                  </a:cxn>
                  <a:cxn ang="f255">
                    <a:pos x="f304" y="f305"/>
                  </a:cxn>
                  <a:cxn ang="f255">
                    <a:pos x="f306" y="f303"/>
                  </a:cxn>
                  <a:cxn ang="f255">
                    <a:pos x="f307" y="f308"/>
                  </a:cxn>
                  <a:cxn ang="f255">
                    <a:pos x="f264" y="f309"/>
                  </a:cxn>
                  <a:cxn ang="f255">
                    <a:pos x="f310" y="f311"/>
                  </a:cxn>
                  <a:cxn ang="f255">
                    <a:pos x="f312" y="f313"/>
                  </a:cxn>
                  <a:cxn ang="f255">
                    <a:pos x="f314" y="f315"/>
                  </a:cxn>
                  <a:cxn ang="f255">
                    <a:pos x="f316" y="f315"/>
                  </a:cxn>
                  <a:cxn ang="f255">
                    <a:pos x="f317" y="f318"/>
                  </a:cxn>
                  <a:cxn ang="f255">
                    <a:pos x="f319" y="f320"/>
                  </a:cxn>
                  <a:cxn ang="f255">
                    <a:pos x="f321" y="f322"/>
                  </a:cxn>
                  <a:cxn ang="f255">
                    <a:pos x="f323" y="f324"/>
                  </a:cxn>
                  <a:cxn ang="f255">
                    <a:pos x="f325" y="f313"/>
                  </a:cxn>
                  <a:cxn ang="f255">
                    <a:pos x="f326" y="f315"/>
                  </a:cxn>
                  <a:cxn ang="f255">
                    <a:pos x="f327" y="f328"/>
                  </a:cxn>
                  <a:cxn ang="f255">
                    <a:pos x="f329" y="f330"/>
                  </a:cxn>
                  <a:cxn ang="f255">
                    <a:pos x="f331" y="f332"/>
                  </a:cxn>
                  <a:cxn ang="f255">
                    <a:pos x="f333" y="f334"/>
                  </a:cxn>
                  <a:cxn ang="f255">
                    <a:pos x="f335" y="f336"/>
                  </a:cxn>
                  <a:cxn ang="f255">
                    <a:pos x="f337" y="f338"/>
                  </a:cxn>
                  <a:cxn ang="f255">
                    <a:pos x="f339" y="f340"/>
                  </a:cxn>
                  <a:cxn ang="f255">
                    <a:pos x="f321" y="f341"/>
                  </a:cxn>
                  <a:cxn ang="f255">
                    <a:pos x="f342" y="f343"/>
                  </a:cxn>
                  <a:cxn ang="f255">
                    <a:pos x="f344" y="f345"/>
                  </a:cxn>
                  <a:cxn ang="f255">
                    <a:pos x="f346" y="f347"/>
                  </a:cxn>
                  <a:cxn ang="f255">
                    <a:pos x="f348" y="f349"/>
                  </a:cxn>
                  <a:cxn ang="f255">
                    <a:pos x="f350" y="f351"/>
                  </a:cxn>
                  <a:cxn ang="f255">
                    <a:pos x="f352" y="f353"/>
                  </a:cxn>
                  <a:cxn ang="f255">
                    <a:pos x="f346" y="f259"/>
                  </a:cxn>
                </a:cxnLst>
                <a:rect l="f256" t="f259" r="f257" b="f258"/>
                <a:pathLst>
                  <a:path w="322" h="222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2" y="f16"/>
                    </a:lnTo>
                    <a:lnTo>
                      <a:pt x="f12" y="f17"/>
                    </a:lnTo>
                    <a:lnTo>
                      <a:pt x="f14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6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2" y="f18"/>
                    </a:lnTo>
                    <a:lnTo>
                      <a:pt x="f30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49" y="f29"/>
                    </a:lnTo>
                    <a:lnTo>
                      <a:pt x="f50" y="f48"/>
                    </a:lnTo>
                    <a:lnTo>
                      <a:pt x="f51" y="f48"/>
                    </a:lnTo>
                    <a:lnTo>
                      <a:pt x="f6" y="f52"/>
                    </a:lnTo>
                    <a:lnTo>
                      <a:pt x="f6" y="f53"/>
                    </a:lnTo>
                    <a:lnTo>
                      <a:pt x="f51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51" y="f67"/>
                    </a:lnTo>
                    <a:lnTo>
                      <a:pt x="f68" y="f69"/>
                    </a:lnTo>
                    <a:lnTo>
                      <a:pt x="f68" y="f70"/>
                    </a:lnTo>
                    <a:lnTo>
                      <a:pt x="f63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79"/>
                    </a:lnTo>
                    <a:lnTo>
                      <a:pt x="f83" y="f84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25" y="f88"/>
                    </a:lnTo>
                    <a:lnTo>
                      <a:pt x="f89" y="f84"/>
                    </a:lnTo>
                    <a:lnTo>
                      <a:pt x="f90" y="f91"/>
                    </a:lnTo>
                    <a:lnTo>
                      <a:pt x="f23" y="f92"/>
                    </a:lnTo>
                    <a:lnTo>
                      <a:pt x="f21" y="f93"/>
                    </a:lnTo>
                    <a:lnTo>
                      <a:pt x="f14" y="f94"/>
                    </a:lnTo>
                    <a:lnTo>
                      <a:pt x="f95" y="f96"/>
                    </a:lnTo>
                    <a:lnTo>
                      <a:pt x="f97" y="f96"/>
                    </a:lnTo>
                    <a:lnTo>
                      <a:pt x="f98" y="f99"/>
                    </a:lnTo>
                    <a:lnTo>
                      <a:pt x="f77" y="f99"/>
                    </a:lnTo>
                    <a:lnTo>
                      <a:pt x="f100" y="f94"/>
                    </a:lnTo>
                    <a:lnTo>
                      <a:pt x="f101" y="f102"/>
                    </a:lnTo>
                    <a:lnTo>
                      <a:pt x="f103" y="f10"/>
                    </a:lnTo>
                    <a:lnTo>
                      <a:pt x="f104" y="f102"/>
                    </a:lnTo>
                    <a:lnTo>
                      <a:pt x="f105" y="f99"/>
                    </a:lnTo>
                    <a:lnTo>
                      <a:pt x="f64" y="f106"/>
                    </a:lnTo>
                    <a:lnTo>
                      <a:pt x="f62" y="f107"/>
                    </a:lnTo>
                    <a:lnTo>
                      <a:pt x="f60" y="f108"/>
                    </a:lnTo>
                    <a:lnTo>
                      <a:pt x="f109" y="f7"/>
                    </a:lnTo>
                    <a:lnTo>
                      <a:pt x="f110" y="f7"/>
                    </a:lnTo>
                    <a:lnTo>
                      <a:pt x="f111" y="f23"/>
                    </a:lnTo>
                    <a:lnTo>
                      <a:pt x="f24" y="f112"/>
                    </a:lnTo>
                    <a:lnTo>
                      <a:pt x="f113" y="f114"/>
                    </a:lnTo>
                    <a:lnTo>
                      <a:pt x="f115" y="f99"/>
                    </a:lnTo>
                    <a:lnTo>
                      <a:pt x="f116" y="f94"/>
                    </a:lnTo>
                    <a:lnTo>
                      <a:pt x="f38" y="f102"/>
                    </a:lnTo>
                    <a:lnTo>
                      <a:pt x="f117" y="f118"/>
                    </a:lnTo>
                    <a:lnTo>
                      <a:pt x="f119" y="f120"/>
                    </a:lnTo>
                    <a:lnTo>
                      <a:pt x="f5" y="f121"/>
                    </a:lnTo>
                    <a:lnTo>
                      <a:pt x="f122" y="f123"/>
                    </a:lnTo>
                    <a:lnTo>
                      <a:pt x="f124" y="f97"/>
                    </a:lnTo>
                    <a:lnTo>
                      <a:pt x="f125" y="f91"/>
                    </a:lnTo>
                    <a:lnTo>
                      <a:pt x="f124" y="f77"/>
                    </a:lnTo>
                    <a:lnTo>
                      <a:pt x="f124" y="f71"/>
                    </a:lnTo>
                    <a:lnTo>
                      <a:pt x="f126" y="f103"/>
                    </a:lnTo>
                    <a:lnTo>
                      <a:pt x="f127" y="f105"/>
                    </a:lnTo>
                    <a:lnTo>
                      <a:pt x="f128" y="f129"/>
                    </a:ln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10" y="f138"/>
                    </a:lnTo>
                    <a:lnTo>
                      <a:pt x="f139" y="f140"/>
                    </a:lnTo>
                    <a:lnTo>
                      <a:pt x="f141" y="f130"/>
                    </a:lnTo>
                    <a:lnTo>
                      <a:pt x="f131" y="f22"/>
                    </a:lnTo>
                    <a:lnTo>
                      <a:pt x="f142" y="f115"/>
                    </a:lnTo>
                    <a:lnTo>
                      <a:pt x="f143" y="f20"/>
                    </a:lnTo>
                    <a:lnTo>
                      <a:pt x="f8" y="f20"/>
                    </a:lnTo>
                    <a:lnTo>
                      <a:pt x="f144" y="f145"/>
                    </a:lnTo>
                    <a:lnTo>
                      <a:pt x="f144" y="f116"/>
                    </a:lnTo>
                    <a:lnTo>
                      <a:pt x="f100" y="f40"/>
                    </a:lnTo>
                    <a:lnTo>
                      <a:pt x="f71" y="f15"/>
                    </a:lnTo>
                    <a:lnTo>
                      <a:pt x="f146" y="f124"/>
                    </a:lnTo>
                    <a:lnTo>
                      <a:pt x="f147" y="f122"/>
                    </a:lnTo>
                    <a:lnTo>
                      <a:pt x="f101" y="f11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58" name="Freeform 20">
                <a:extLst>
                  <a:ext uri="{FF2B5EF4-FFF2-40B4-BE49-F238E27FC236}">
                    <a16:creationId xmlns:a16="http://schemas.microsoft.com/office/drawing/2014/main" id="{6C205C02-3A54-4027-B408-44E9EA3BEA43}"/>
                  </a:ext>
                </a:extLst>
              </p:cNvPr>
              <p:cNvSpPr/>
              <p:nvPr/>
            </p:nvSpPr>
            <p:spPr>
              <a:xfrm>
                <a:off x="4422358" y="2573523"/>
                <a:ext cx="16751" cy="1969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01"/>
                  <a:gd name="f7" fmla="val 121"/>
                  <a:gd name="f8" fmla="val 87"/>
                  <a:gd name="f9" fmla="val 94"/>
                  <a:gd name="f10" fmla="val 3"/>
                  <a:gd name="f11" fmla="val 98"/>
                  <a:gd name="f12" fmla="val 10"/>
                  <a:gd name="f13" fmla="val 18"/>
                  <a:gd name="f14" fmla="val 28"/>
                  <a:gd name="f15" fmla="val 35"/>
                  <a:gd name="f16" fmla="val 39"/>
                  <a:gd name="f17" fmla="val 41"/>
                  <a:gd name="f18" fmla="val 77"/>
                  <a:gd name="f19" fmla="val 42"/>
                  <a:gd name="f20" fmla="val 66"/>
                  <a:gd name="f21" fmla="val 45"/>
                  <a:gd name="f22" fmla="val 58"/>
                  <a:gd name="f23" fmla="val 48"/>
                  <a:gd name="f24" fmla="val 54"/>
                  <a:gd name="f25" fmla="val 52"/>
                  <a:gd name="f26" fmla="val 55"/>
                  <a:gd name="f27" fmla="val 57"/>
                  <a:gd name="f28" fmla="val 62"/>
                  <a:gd name="f29" fmla="val 73"/>
                  <a:gd name="f30" fmla="val 75"/>
                  <a:gd name="f31" fmla="val 85"/>
                  <a:gd name="f32" fmla="val 84"/>
                  <a:gd name="f33" fmla="val 70"/>
                  <a:gd name="f34" fmla="val 110"/>
                  <a:gd name="f35" fmla="val 118"/>
                  <a:gd name="f36" fmla="val 51"/>
                  <a:gd name="f37" fmla="val 111"/>
                  <a:gd name="f38" fmla="val 102"/>
                  <a:gd name="f39" fmla="val 38"/>
                  <a:gd name="f40" fmla="val 93"/>
                  <a:gd name="f41" fmla="val 36"/>
                  <a:gd name="f42" fmla="val 86"/>
                  <a:gd name="f43" fmla="val 32"/>
                  <a:gd name="f44" fmla="val 26"/>
                  <a:gd name="f45" fmla="val 89"/>
                  <a:gd name="f46" fmla="val 14"/>
                  <a:gd name="f47" fmla="val 7"/>
                  <a:gd name="f48" fmla="val 107"/>
                  <a:gd name="f49" fmla="val 1"/>
                  <a:gd name="f50" fmla="val 104"/>
                  <a:gd name="f51" fmla="val 96"/>
                  <a:gd name="f52" fmla="val 4"/>
                  <a:gd name="f53" fmla="val 9"/>
                  <a:gd name="f54" fmla="val 12"/>
                  <a:gd name="f55" fmla="val 50"/>
                  <a:gd name="f56" fmla="val 16"/>
                  <a:gd name="f57" fmla="val 34"/>
                  <a:gd name="f58" fmla="val 30"/>
                  <a:gd name="f59" fmla="val 21"/>
                  <a:gd name="f60" fmla="val 56"/>
                  <a:gd name="f61" fmla="+- 0 0 -90"/>
                  <a:gd name="f62" fmla="*/ f3 1 101"/>
                  <a:gd name="f63" fmla="*/ f4 1 121"/>
                  <a:gd name="f64" fmla="+- f7 0 f5"/>
                  <a:gd name="f65" fmla="+- f6 0 f5"/>
                  <a:gd name="f66" fmla="*/ f61 f0 1"/>
                  <a:gd name="f67" fmla="*/ f65 1 101"/>
                  <a:gd name="f68" fmla="*/ f64 1 121"/>
                  <a:gd name="f69" fmla="*/ f66 1 f2"/>
                  <a:gd name="f70" fmla="*/ 87 1 f67"/>
                  <a:gd name="f71" fmla="*/ 0 1 f68"/>
                  <a:gd name="f72" fmla="*/ 94 1 f67"/>
                  <a:gd name="f73" fmla="*/ 3 1 f68"/>
                  <a:gd name="f74" fmla="*/ 98 1 f67"/>
                  <a:gd name="f75" fmla="*/ 10 1 f68"/>
                  <a:gd name="f76" fmla="*/ 101 1 f67"/>
                  <a:gd name="f77" fmla="*/ 18 1 f68"/>
                  <a:gd name="f78" fmla="*/ 28 1 f68"/>
                  <a:gd name="f79" fmla="*/ 35 1 f68"/>
                  <a:gd name="f80" fmla="*/ 39 1 f68"/>
                  <a:gd name="f81" fmla="*/ 41 1 f68"/>
                  <a:gd name="f82" fmla="*/ 77 1 f67"/>
                  <a:gd name="f83" fmla="*/ 42 1 f68"/>
                  <a:gd name="f84" fmla="*/ 66 1 f67"/>
                  <a:gd name="f85" fmla="*/ 45 1 f68"/>
                  <a:gd name="f86" fmla="*/ 58 1 f67"/>
                  <a:gd name="f87" fmla="*/ 48 1 f68"/>
                  <a:gd name="f88" fmla="*/ 54 1 f67"/>
                  <a:gd name="f89" fmla="*/ 52 1 f68"/>
                  <a:gd name="f90" fmla="*/ 55 1 f67"/>
                  <a:gd name="f91" fmla="*/ 57 1 f68"/>
                  <a:gd name="f92" fmla="*/ 62 1 f67"/>
                  <a:gd name="f93" fmla="*/ 66 1 f68"/>
                  <a:gd name="f94" fmla="*/ 73 1 f67"/>
                  <a:gd name="f95" fmla="*/ 75 1 f68"/>
                  <a:gd name="f96" fmla="*/ 85 1 f67"/>
                  <a:gd name="f97" fmla="*/ 84 1 f68"/>
                  <a:gd name="f98" fmla="*/ 98 1 f68"/>
                  <a:gd name="f99" fmla="*/ 70 1 f67"/>
                  <a:gd name="f100" fmla="*/ 110 1 f68"/>
                  <a:gd name="f101" fmla="*/ 118 1 f68"/>
                  <a:gd name="f102" fmla="*/ 121 1 f68"/>
                  <a:gd name="f103" fmla="*/ 51 1 f67"/>
                  <a:gd name="f104" fmla="*/ 45 1 f67"/>
                  <a:gd name="f105" fmla="*/ 111 1 f68"/>
                  <a:gd name="f106" fmla="*/ 41 1 f67"/>
                  <a:gd name="f107" fmla="*/ 102 1 f68"/>
                  <a:gd name="f108" fmla="*/ 38 1 f67"/>
                  <a:gd name="f109" fmla="*/ 93 1 f68"/>
                  <a:gd name="f110" fmla="*/ 36 1 f67"/>
                  <a:gd name="f111" fmla="*/ 86 1 f68"/>
                  <a:gd name="f112" fmla="*/ 32 1 f67"/>
                  <a:gd name="f113" fmla="*/ 85 1 f68"/>
                  <a:gd name="f114" fmla="*/ 26 1 f67"/>
                  <a:gd name="f115" fmla="*/ 89 1 f68"/>
                  <a:gd name="f116" fmla="*/ 14 1 f67"/>
                  <a:gd name="f117" fmla="*/ 7 1 f67"/>
                  <a:gd name="f118" fmla="*/ 107 1 f68"/>
                  <a:gd name="f119" fmla="*/ 1 1 f67"/>
                  <a:gd name="f120" fmla="*/ 0 1 f67"/>
                  <a:gd name="f121" fmla="*/ 104 1 f68"/>
                  <a:gd name="f122" fmla="*/ 96 1 f68"/>
                  <a:gd name="f123" fmla="*/ 4 1 f67"/>
                  <a:gd name="f124" fmla="*/ 9 1 f67"/>
                  <a:gd name="f125" fmla="*/ 12 1 f67"/>
                  <a:gd name="f126" fmla="*/ 50 1 f68"/>
                  <a:gd name="f127" fmla="*/ 16 1 f67"/>
                  <a:gd name="f128" fmla="*/ 34 1 f68"/>
                  <a:gd name="f129" fmla="*/ 30 1 f67"/>
                  <a:gd name="f130" fmla="*/ 30 1 f68"/>
                  <a:gd name="f131" fmla="*/ 21 1 f68"/>
                  <a:gd name="f132" fmla="*/ 56 1 f67"/>
                  <a:gd name="f133" fmla="*/ 14 1 f68"/>
                  <a:gd name="f134" fmla="*/ 7 1 f68"/>
                  <a:gd name="f135" fmla="*/ f6 1 f67"/>
                  <a:gd name="f136" fmla="*/ f7 1 f68"/>
                  <a:gd name="f137" fmla="+- f69 0 f1"/>
                  <a:gd name="f138" fmla="*/ f120 f62 1"/>
                  <a:gd name="f139" fmla="*/ f135 f62 1"/>
                  <a:gd name="f140" fmla="*/ f136 f63 1"/>
                  <a:gd name="f141" fmla="*/ f71 f63 1"/>
                  <a:gd name="f142" fmla="*/ f70 f62 1"/>
                  <a:gd name="f143" fmla="*/ f72 f62 1"/>
                  <a:gd name="f144" fmla="*/ f73 f63 1"/>
                  <a:gd name="f145" fmla="*/ f74 f62 1"/>
                  <a:gd name="f146" fmla="*/ f75 f63 1"/>
                  <a:gd name="f147" fmla="*/ f76 f62 1"/>
                  <a:gd name="f148" fmla="*/ f77 f63 1"/>
                  <a:gd name="f149" fmla="*/ f78 f63 1"/>
                  <a:gd name="f150" fmla="*/ f79 f63 1"/>
                  <a:gd name="f151" fmla="*/ f80 f63 1"/>
                  <a:gd name="f152" fmla="*/ f81 f63 1"/>
                  <a:gd name="f153" fmla="*/ f82 f62 1"/>
                  <a:gd name="f154" fmla="*/ f83 f63 1"/>
                  <a:gd name="f155" fmla="*/ f84 f62 1"/>
                  <a:gd name="f156" fmla="*/ f85 f63 1"/>
                  <a:gd name="f157" fmla="*/ f86 f62 1"/>
                  <a:gd name="f158" fmla="*/ f87 f63 1"/>
                  <a:gd name="f159" fmla="*/ f88 f62 1"/>
                  <a:gd name="f160" fmla="*/ f89 f63 1"/>
                  <a:gd name="f161" fmla="*/ f90 f62 1"/>
                  <a:gd name="f162" fmla="*/ f91 f63 1"/>
                  <a:gd name="f163" fmla="*/ f92 f62 1"/>
                  <a:gd name="f164" fmla="*/ f93 f63 1"/>
                  <a:gd name="f165" fmla="*/ f94 f62 1"/>
                  <a:gd name="f166" fmla="*/ f95 f63 1"/>
                  <a:gd name="f167" fmla="*/ f96 f62 1"/>
                  <a:gd name="f168" fmla="*/ f97 f63 1"/>
                  <a:gd name="f169" fmla="*/ f98 f63 1"/>
                  <a:gd name="f170" fmla="*/ f99 f62 1"/>
                  <a:gd name="f171" fmla="*/ f100 f63 1"/>
                  <a:gd name="f172" fmla="*/ f101 f63 1"/>
                  <a:gd name="f173" fmla="*/ f102 f63 1"/>
                  <a:gd name="f174" fmla="*/ f103 f62 1"/>
                  <a:gd name="f175" fmla="*/ f104 f62 1"/>
                  <a:gd name="f176" fmla="*/ f105 f63 1"/>
                  <a:gd name="f177" fmla="*/ f106 f62 1"/>
                  <a:gd name="f178" fmla="*/ f107 f63 1"/>
                  <a:gd name="f179" fmla="*/ f108 f62 1"/>
                  <a:gd name="f180" fmla="*/ f109 f63 1"/>
                  <a:gd name="f181" fmla="*/ f110 f62 1"/>
                  <a:gd name="f182" fmla="*/ f111 f63 1"/>
                  <a:gd name="f183" fmla="*/ f112 f62 1"/>
                  <a:gd name="f184" fmla="*/ f113 f63 1"/>
                  <a:gd name="f185" fmla="*/ f114 f62 1"/>
                  <a:gd name="f186" fmla="*/ f115 f63 1"/>
                  <a:gd name="f187" fmla="*/ f116 f62 1"/>
                  <a:gd name="f188" fmla="*/ f117 f62 1"/>
                  <a:gd name="f189" fmla="*/ f118 f63 1"/>
                  <a:gd name="f190" fmla="*/ f119 f62 1"/>
                  <a:gd name="f191" fmla="*/ f121 f63 1"/>
                  <a:gd name="f192" fmla="*/ f122 f63 1"/>
                  <a:gd name="f193" fmla="*/ f123 f62 1"/>
                  <a:gd name="f194" fmla="*/ f124 f62 1"/>
                  <a:gd name="f195" fmla="*/ f125 f62 1"/>
                  <a:gd name="f196" fmla="*/ f126 f63 1"/>
                  <a:gd name="f197" fmla="*/ f127 f62 1"/>
                  <a:gd name="f198" fmla="*/ f128 f63 1"/>
                  <a:gd name="f199" fmla="*/ f129 f62 1"/>
                  <a:gd name="f200" fmla="*/ f130 f63 1"/>
                  <a:gd name="f201" fmla="*/ f131 f63 1"/>
                  <a:gd name="f202" fmla="*/ f132 f62 1"/>
                  <a:gd name="f203" fmla="*/ f133 f63 1"/>
                  <a:gd name="f204" fmla="*/ f134 f63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37">
                    <a:pos x="f142" y="f141"/>
                  </a:cxn>
                  <a:cxn ang="f137">
                    <a:pos x="f143" y="f144"/>
                  </a:cxn>
                  <a:cxn ang="f137">
                    <a:pos x="f145" y="f146"/>
                  </a:cxn>
                  <a:cxn ang="f137">
                    <a:pos x="f147" y="f148"/>
                  </a:cxn>
                  <a:cxn ang="f137">
                    <a:pos x="f147" y="f149"/>
                  </a:cxn>
                  <a:cxn ang="f137">
                    <a:pos x="f145" y="f150"/>
                  </a:cxn>
                  <a:cxn ang="f137">
                    <a:pos x="f143" y="f151"/>
                  </a:cxn>
                  <a:cxn ang="f137">
                    <a:pos x="f142" y="f152"/>
                  </a:cxn>
                  <a:cxn ang="f137">
                    <a:pos x="f153" y="f154"/>
                  </a:cxn>
                  <a:cxn ang="f137">
                    <a:pos x="f155" y="f156"/>
                  </a:cxn>
                  <a:cxn ang="f137">
                    <a:pos x="f157" y="f158"/>
                  </a:cxn>
                  <a:cxn ang="f137">
                    <a:pos x="f159" y="f160"/>
                  </a:cxn>
                  <a:cxn ang="f137">
                    <a:pos x="f161" y="f162"/>
                  </a:cxn>
                  <a:cxn ang="f137">
                    <a:pos x="f163" y="f164"/>
                  </a:cxn>
                  <a:cxn ang="f137">
                    <a:pos x="f165" y="f166"/>
                  </a:cxn>
                  <a:cxn ang="f137">
                    <a:pos x="f167" y="f168"/>
                  </a:cxn>
                  <a:cxn ang="f137">
                    <a:pos x="f153" y="f169"/>
                  </a:cxn>
                  <a:cxn ang="f137">
                    <a:pos x="f170" y="f171"/>
                  </a:cxn>
                  <a:cxn ang="f137">
                    <a:pos x="f163" y="f172"/>
                  </a:cxn>
                  <a:cxn ang="f137">
                    <a:pos x="f161" y="f173"/>
                  </a:cxn>
                  <a:cxn ang="f137">
                    <a:pos x="f174" y="f172"/>
                  </a:cxn>
                  <a:cxn ang="f137">
                    <a:pos x="f175" y="f176"/>
                  </a:cxn>
                  <a:cxn ang="f137">
                    <a:pos x="f177" y="f178"/>
                  </a:cxn>
                  <a:cxn ang="f137">
                    <a:pos x="f179" y="f180"/>
                  </a:cxn>
                  <a:cxn ang="f137">
                    <a:pos x="f181" y="f182"/>
                  </a:cxn>
                  <a:cxn ang="f137">
                    <a:pos x="f183" y="f184"/>
                  </a:cxn>
                  <a:cxn ang="f137">
                    <a:pos x="f185" y="f186"/>
                  </a:cxn>
                  <a:cxn ang="f137">
                    <a:pos x="f187" y="f178"/>
                  </a:cxn>
                  <a:cxn ang="f137">
                    <a:pos x="f188" y="f189"/>
                  </a:cxn>
                  <a:cxn ang="f137">
                    <a:pos x="f190" y="f189"/>
                  </a:cxn>
                  <a:cxn ang="f137">
                    <a:pos x="f138" y="f191"/>
                  </a:cxn>
                  <a:cxn ang="f137">
                    <a:pos x="f138" y="f192"/>
                  </a:cxn>
                  <a:cxn ang="f137">
                    <a:pos x="f193" y="f182"/>
                  </a:cxn>
                  <a:cxn ang="f137">
                    <a:pos x="f188" y="f166"/>
                  </a:cxn>
                  <a:cxn ang="f137">
                    <a:pos x="f194" y="f164"/>
                  </a:cxn>
                  <a:cxn ang="f137">
                    <a:pos x="f195" y="f196"/>
                  </a:cxn>
                  <a:cxn ang="f137">
                    <a:pos x="f197" y="f198"/>
                  </a:cxn>
                  <a:cxn ang="f137">
                    <a:pos x="f199" y="f200"/>
                  </a:cxn>
                  <a:cxn ang="f137">
                    <a:pos x="f175" y="f201"/>
                  </a:cxn>
                  <a:cxn ang="f137">
                    <a:pos x="f202" y="f203"/>
                  </a:cxn>
                  <a:cxn ang="f137">
                    <a:pos x="f155" y="f204"/>
                  </a:cxn>
                  <a:cxn ang="f137">
                    <a:pos x="f153" y="f144"/>
                  </a:cxn>
                  <a:cxn ang="f137">
                    <a:pos x="f142" y="f141"/>
                  </a:cxn>
                </a:cxnLst>
                <a:rect l="f138" t="f141" r="f139" b="f140"/>
                <a:pathLst>
                  <a:path w="101" h="121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6" y="f13"/>
                    </a:lnTo>
                    <a:lnTo>
                      <a:pt x="f6" y="f14"/>
                    </a:lnTo>
                    <a:lnTo>
                      <a:pt x="f11" y="f15"/>
                    </a:lnTo>
                    <a:lnTo>
                      <a:pt x="f9" y="f16"/>
                    </a:lnTo>
                    <a:lnTo>
                      <a:pt x="f8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0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18" y="f11"/>
                    </a:lnTo>
                    <a:lnTo>
                      <a:pt x="f33" y="f34"/>
                    </a:lnTo>
                    <a:lnTo>
                      <a:pt x="f28" y="f35"/>
                    </a:lnTo>
                    <a:lnTo>
                      <a:pt x="f26" y="f7"/>
                    </a:lnTo>
                    <a:lnTo>
                      <a:pt x="f36" y="f35"/>
                    </a:lnTo>
                    <a:lnTo>
                      <a:pt x="f21" y="f37"/>
                    </a:lnTo>
                    <a:lnTo>
                      <a:pt x="f1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31"/>
                    </a:lnTo>
                    <a:lnTo>
                      <a:pt x="f44" y="f45"/>
                    </a:lnTo>
                    <a:lnTo>
                      <a:pt x="f46" y="f38"/>
                    </a:lnTo>
                    <a:lnTo>
                      <a:pt x="f47" y="f48"/>
                    </a:lnTo>
                    <a:lnTo>
                      <a:pt x="f49" y="f48"/>
                    </a:lnTo>
                    <a:lnTo>
                      <a:pt x="f5" y="f50"/>
                    </a:lnTo>
                    <a:lnTo>
                      <a:pt x="f5" y="f51"/>
                    </a:lnTo>
                    <a:lnTo>
                      <a:pt x="f52" y="f42"/>
                    </a:lnTo>
                    <a:lnTo>
                      <a:pt x="f47" y="f30"/>
                    </a:lnTo>
                    <a:lnTo>
                      <a:pt x="f53" y="f20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8"/>
                    </a:lnTo>
                    <a:lnTo>
                      <a:pt x="f21" y="f59"/>
                    </a:lnTo>
                    <a:lnTo>
                      <a:pt x="f60" y="f46"/>
                    </a:lnTo>
                    <a:lnTo>
                      <a:pt x="f20" y="f47"/>
                    </a:lnTo>
                    <a:lnTo>
                      <a:pt x="f18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59" name="Freeform 21">
                <a:extLst>
                  <a:ext uri="{FF2B5EF4-FFF2-40B4-BE49-F238E27FC236}">
                    <a16:creationId xmlns:a16="http://schemas.microsoft.com/office/drawing/2014/main" id="{97559244-19DF-4B02-80B0-D16DF9E70294}"/>
                  </a:ext>
                </a:extLst>
              </p:cNvPr>
              <p:cNvSpPr/>
              <p:nvPr/>
            </p:nvSpPr>
            <p:spPr>
              <a:xfrm>
                <a:off x="4150964" y="2877753"/>
                <a:ext cx="56400" cy="41349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40"/>
                  <a:gd name="f7" fmla="val 254"/>
                  <a:gd name="f8" fmla="val 162"/>
                  <a:gd name="f9" fmla="val 188"/>
                  <a:gd name="f10" fmla="val 11"/>
                  <a:gd name="f11" fmla="val 214"/>
                  <a:gd name="f12" fmla="val 18"/>
                  <a:gd name="f13" fmla="val 213"/>
                  <a:gd name="f14" fmla="val 30"/>
                  <a:gd name="f15" fmla="val 209"/>
                  <a:gd name="f16" fmla="val 47"/>
                  <a:gd name="f17" fmla="val 204"/>
                  <a:gd name="f18" fmla="val 68"/>
                  <a:gd name="f19" fmla="val 199"/>
                  <a:gd name="f20" fmla="val 91"/>
                  <a:gd name="f21" fmla="val 195"/>
                  <a:gd name="f22" fmla="val 114"/>
                  <a:gd name="f23" fmla="val 191"/>
                  <a:gd name="f24" fmla="val 133"/>
                  <a:gd name="f25" fmla="val 148"/>
                  <a:gd name="f26" fmla="val 186"/>
                  <a:gd name="f27" fmla="val 157"/>
                  <a:gd name="f28" fmla="val 158"/>
                  <a:gd name="f29" fmla="val 192"/>
                  <a:gd name="f30" fmla="val 155"/>
                  <a:gd name="f31" fmla="val 198"/>
                  <a:gd name="f32" fmla="val 140"/>
                  <a:gd name="f33" fmla="val 129"/>
                  <a:gd name="f34" fmla="val 220"/>
                  <a:gd name="f35" fmla="val 119"/>
                  <a:gd name="f36" fmla="val 225"/>
                  <a:gd name="f37" fmla="val 109"/>
                  <a:gd name="f38" fmla="val 229"/>
                  <a:gd name="f39" fmla="val 102"/>
                  <a:gd name="f40" fmla="val 243"/>
                  <a:gd name="f41" fmla="val 82"/>
                  <a:gd name="f42" fmla="val 262"/>
                  <a:gd name="f43" fmla="val 51"/>
                  <a:gd name="f44" fmla="val 272"/>
                  <a:gd name="f45" fmla="val 37"/>
                  <a:gd name="f46" fmla="val 280"/>
                  <a:gd name="f47" fmla="val 28"/>
                  <a:gd name="f48" fmla="val 287"/>
                  <a:gd name="f49" fmla="val 46"/>
                  <a:gd name="f50" fmla="val 294"/>
                  <a:gd name="f51" fmla="val 61"/>
                  <a:gd name="f52" fmla="val 301"/>
                  <a:gd name="f53" fmla="val 72"/>
                  <a:gd name="f54" fmla="val 308"/>
                  <a:gd name="f55" fmla="val 76"/>
                  <a:gd name="f56" fmla="val 319"/>
                  <a:gd name="f57" fmla="val 75"/>
                  <a:gd name="f58" fmla="val 326"/>
                  <a:gd name="f59" fmla="val 71"/>
                  <a:gd name="f60" fmla="val 332"/>
                  <a:gd name="f61" fmla="val 69"/>
                  <a:gd name="f62" fmla="val 337"/>
                  <a:gd name="f63" fmla="val 73"/>
                  <a:gd name="f64" fmla="val 100"/>
                  <a:gd name="f65" fmla="val 336"/>
                  <a:gd name="f66" fmla="val 108"/>
                  <a:gd name="f67" fmla="val 329"/>
                  <a:gd name="f68" fmla="val 112"/>
                  <a:gd name="f69" fmla="val 322"/>
                  <a:gd name="f70" fmla="val 115"/>
                  <a:gd name="f71" fmla="val 312"/>
                  <a:gd name="f72" fmla="val 122"/>
                  <a:gd name="f73" fmla="val 300"/>
                  <a:gd name="f74" fmla="val 130"/>
                  <a:gd name="f75" fmla="val 286"/>
                  <a:gd name="f76" fmla="val 271"/>
                  <a:gd name="f77" fmla="val 150"/>
                  <a:gd name="f78" fmla="val 257"/>
                  <a:gd name="f79" fmla="val 161"/>
                  <a:gd name="f80" fmla="val 245"/>
                  <a:gd name="f81" fmla="val 169"/>
                  <a:gd name="f82" fmla="val 236"/>
                  <a:gd name="f83" fmla="val 176"/>
                  <a:gd name="f84" fmla="val 231"/>
                  <a:gd name="f85" fmla="val 228"/>
                  <a:gd name="f86" fmla="val 222"/>
                  <a:gd name="f87" fmla="val 216"/>
                  <a:gd name="f88" fmla="val 202"/>
                  <a:gd name="f89" fmla="val 174"/>
                  <a:gd name="f90" fmla="val 241"/>
                  <a:gd name="f91" fmla="val 152"/>
                  <a:gd name="f92" fmla="val 146"/>
                  <a:gd name="f93" fmla="val 138"/>
                  <a:gd name="f94" fmla="val 123"/>
                  <a:gd name="f95" fmla="val 233"/>
                  <a:gd name="f96" fmla="val 94"/>
                  <a:gd name="f97" fmla="val 238"/>
                  <a:gd name="f98" fmla="val 80"/>
                  <a:gd name="f99" fmla="val 59"/>
                  <a:gd name="f100" fmla="val 48"/>
                  <a:gd name="f101" fmla="val 244"/>
                  <a:gd name="f102" fmla="val 36"/>
                  <a:gd name="f103" fmla="val 247"/>
                  <a:gd name="f104" fmla="val 25"/>
                  <a:gd name="f105" fmla="val 251"/>
                  <a:gd name="f106" fmla="val 15"/>
                  <a:gd name="f107" fmla="val 252"/>
                  <a:gd name="f108" fmla="val 8"/>
                  <a:gd name="f109" fmla="val 6"/>
                  <a:gd name="f110" fmla="val 234"/>
                  <a:gd name="f111" fmla="val 22"/>
                  <a:gd name="f112" fmla="val 223"/>
                  <a:gd name="f113" fmla="val 211"/>
                  <a:gd name="f114" fmla="val 29"/>
                  <a:gd name="f115" fmla="val 200"/>
                  <a:gd name="f116" fmla="val 26"/>
                  <a:gd name="f117" fmla="val 12"/>
                  <a:gd name="f118" fmla="val 1"/>
                  <a:gd name="f119" fmla="val 147"/>
                  <a:gd name="f120" fmla="val 137"/>
                  <a:gd name="f121" fmla="val 4"/>
                  <a:gd name="f122" fmla="val 132"/>
                  <a:gd name="f123" fmla="val 14"/>
                  <a:gd name="f124" fmla="val 126"/>
                  <a:gd name="f125" fmla="val 120"/>
                  <a:gd name="f126" fmla="val 66"/>
                  <a:gd name="f127" fmla="val 84"/>
                  <a:gd name="f128" fmla="val 104"/>
                  <a:gd name="f129" fmla="val 101"/>
                  <a:gd name="f130" fmla="val 135"/>
                  <a:gd name="f131" fmla="val 98"/>
                  <a:gd name="f132" fmla="val 95"/>
                  <a:gd name="f133" fmla="val 156"/>
                  <a:gd name="f134" fmla="val 163"/>
                  <a:gd name="f135" fmla="val 86"/>
                  <a:gd name="f136" fmla="val 164"/>
                  <a:gd name="f137" fmla="val 79"/>
                  <a:gd name="f138" fmla="val 50"/>
                  <a:gd name="f139" fmla="val 40"/>
                  <a:gd name="f140" fmla="val 145"/>
                  <a:gd name="f141" fmla="val 23"/>
                  <a:gd name="f142" fmla="+- 0 0 -90"/>
                  <a:gd name="f143" fmla="*/ f3 1 340"/>
                  <a:gd name="f144" fmla="*/ f4 1 254"/>
                  <a:gd name="f145" fmla="+- f7 0 f5"/>
                  <a:gd name="f146" fmla="+- f6 0 f5"/>
                  <a:gd name="f147" fmla="*/ f142 f0 1"/>
                  <a:gd name="f148" fmla="*/ f146 1 340"/>
                  <a:gd name="f149" fmla="*/ f145 1 254"/>
                  <a:gd name="f150" fmla="*/ f147 1 f2"/>
                  <a:gd name="f151" fmla="*/ 188 1 f148"/>
                  <a:gd name="f152" fmla="*/ 11 1 f149"/>
                  <a:gd name="f153" fmla="*/ 213 1 f148"/>
                  <a:gd name="f154" fmla="*/ 30 1 f149"/>
                  <a:gd name="f155" fmla="*/ 204 1 f148"/>
                  <a:gd name="f156" fmla="*/ 68 1 f149"/>
                  <a:gd name="f157" fmla="*/ 195 1 f148"/>
                  <a:gd name="f158" fmla="*/ 114 1 f149"/>
                  <a:gd name="f159" fmla="*/ 148 1 f149"/>
                  <a:gd name="f160" fmla="*/ 158 1 f149"/>
                  <a:gd name="f161" fmla="*/ 198 1 f148"/>
                  <a:gd name="f162" fmla="*/ 129 1 f149"/>
                  <a:gd name="f163" fmla="*/ 225 1 f148"/>
                  <a:gd name="f164" fmla="*/ 109 1 f149"/>
                  <a:gd name="f165" fmla="*/ 243 1 f148"/>
                  <a:gd name="f166" fmla="*/ 82 1 f149"/>
                  <a:gd name="f167" fmla="*/ 272 1 f148"/>
                  <a:gd name="f168" fmla="*/ 37 1 f149"/>
                  <a:gd name="f169" fmla="*/ 287 1 f148"/>
                  <a:gd name="f170" fmla="*/ 46 1 f149"/>
                  <a:gd name="f171" fmla="*/ 301 1 f148"/>
                  <a:gd name="f172" fmla="*/ 72 1 f149"/>
                  <a:gd name="f173" fmla="*/ 319 1 f148"/>
                  <a:gd name="f174" fmla="*/ 75 1 f149"/>
                  <a:gd name="f175" fmla="*/ 332 1 f148"/>
                  <a:gd name="f176" fmla="*/ 69 1 f149"/>
                  <a:gd name="f177" fmla="*/ 340 1 f148"/>
                  <a:gd name="f178" fmla="*/ 336 1 f148"/>
                  <a:gd name="f179" fmla="*/ 108 1 f149"/>
                  <a:gd name="f180" fmla="*/ 322 1 f148"/>
                  <a:gd name="f181" fmla="*/ 115 1 f149"/>
                  <a:gd name="f182" fmla="*/ 300 1 f148"/>
                  <a:gd name="f183" fmla="*/ 130 1 f149"/>
                  <a:gd name="f184" fmla="*/ 271 1 f148"/>
                  <a:gd name="f185" fmla="*/ 150 1 f149"/>
                  <a:gd name="f186" fmla="*/ 245 1 f148"/>
                  <a:gd name="f187" fmla="*/ 169 1 f149"/>
                  <a:gd name="f188" fmla="*/ 231 1 f148"/>
                  <a:gd name="f189" fmla="*/ 180 1 f149"/>
                  <a:gd name="f190" fmla="*/ 228 1 f148"/>
                  <a:gd name="f191" fmla="*/ 209 1 f149"/>
                  <a:gd name="f192" fmla="*/ 214 1 f148"/>
                  <a:gd name="f193" fmla="*/ 222 1 f149"/>
                  <a:gd name="f194" fmla="*/ 236 1 f149"/>
                  <a:gd name="f195" fmla="*/ 162 1 f148"/>
                  <a:gd name="f196" fmla="*/ 245 1 f149"/>
                  <a:gd name="f197" fmla="*/ 146 1 f148"/>
                  <a:gd name="f198" fmla="*/ 243 1 f149"/>
                  <a:gd name="f199" fmla="*/ 133 1 f148"/>
                  <a:gd name="f200" fmla="*/ 229 1 f149"/>
                  <a:gd name="f201" fmla="*/ 108 1 f148"/>
                  <a:gd name="f202" fmla="*/ 233 1 f149"/>
                  <a:gd name="f203" fmla="*/ 80 1 f148"/>
                  <a:gd name="f204" fmla="*/ 48 1 f148"/>
                  <a:gd name="f205" fmla="*/ 244 1 f149"/>
                  <a:gd name="f206" fmla="*/ 25 1 f148"/>
                  <a:gd name="f207" fmla="*/ 251 1 f149"/>
                  <a:gd name="f208" fmla="*/ 8 1 f148"/>
                  <a:gd name="f209" fmla="*/ 254 1 f149"/>
                  <a:gd name="f210" fmla="*/ 22 1 f148"/>
                  <a:gd name="f211" fmla="*/ 223 1 f149"/>
                  <a:gd name="f212" fmla="*/ 29 1 f148"/>
                  <a:gd name="f213" fmla="*/ 200 1 f149"/>
                  <a:gd name="f214" fmla="*/ 12 1 f148"/>
                  <a:gd name="f215" fmla="*/ 1 1 f148"/>
                  <a:gd name="f216" fmla="*/ 147 1 f149"/>
                  <a:gd name="f217" fmla="*/ 4 1 f148"/>
                  <a:gd name="f218" fmla="*/ 132 1 f149"/>
                  <a:gd name="f219" fmla="*/ 120 1 f149"/>
                  <a:gd name="f220" fmla="*/ 66 1 f148"/>
                  <a:gd name="f221" fmla="*/ 101 1 f148"/>
                  <a:gd name="f222" fmla="*/ 101 1 f149"/>
                  <a:gd name="f223" fmla="*/ 123 1 f148"/>
                  <a:gd name="f224" fmla="*/ 100 1 f149"/>
                  <a:gd name="f225" fmla="*/ 95 1 f149"/>
                  <a:gd name="f226" fmla="*/ 163 1 f148"/>
                  <a:gd name="f227" fmla="*/ 86 1 f149"/>
                  <a:gd name="f228" fmla="*/ 71 1 f149"/>
                  <a:gd name="f229" fmla="*/ 152 1 f148"/>
                  <a:gd name="f230" fmla="*/ 50 1 f149"/>
                  <a:gd name="f231" fmla="*/ 145 1 f148"/>
                  <a:gd name="f232" fmla="*/ 18 1 f149"/>
                  <a:gd name="f233" fmla="*/ 0 1 f149"/>
                  <a:gd name="f234" fmla="*/ 0 1 f148"/>
                  <a:gd name="f235" fmla="*/ f6 1 f148"/>
                  <a:gd name="f236" fmla="*/ f7 1 f149"/>
                  <a:gd name="f237" fmla="+- f150 0 f1"/>
                  <a:gd name="f238" fmla="*/ f234 f143 1"/>
                  <a:gd name="f239" fmla="*/ f235 f143 1"/>
                  <a:gd name="f240" fmla="*/ f236 f144 1"/>
                  <a:gd name="f241" fmla="*/ f233 f144 1"/>
                  <a:gd name="f242" fmla="*/ f151 f143 1"/>
                  <a:gd name="f243" fmla="*/ f152 f144 1"/>
                  <a:gd name="f244" fmla="*/ f153 f143 1"/>
                  <a:gd name="f245" fmla="*/ f154 f144 1"/>
                  <a:gd name="f246" fmla="*/ f155 f143 1"/>
                  <a:gd name="f247" fmla="*/ f156 f144 1"/>
                  <a:gd name="f248" fmla="*/ f157 f143 1"/>
                  <a:gd name="f249" fmla="*/ f158 f144 1"/>
                  <a:gd name="f250" fmla="*/ f159 f144 1"/>
                  <a:gd name="f251" fmla="*/ f160 f144 1"/>
                  <a:gd name="f252" fmla="*/ f161 f143 1"/>
                  <a:gd name="f253" fmla="*/ f162 f144 1"/>
                  <a:gd name="f254" fmla="*/ f163 f143 1"/>
                  <a:gd name="f255" fmla="*/ f164 f144 1"/>
                  <a:gd name="f256" fmla="*/ f165 f143 1"/>
                  <a:gd name="f257" fmla="*/ f166 f144 1"/>
                  <a:gd name="f258" fmla="*/ f167 f143 1"/>
                  <a:gd name="f259" fmla="*/ f168 f144 1"/>
                  <a:gd name="f260" fmla="*/ f169 f143 1"/>
                  <a:gd name="f261" fmla="*/ f170 f144 1"/>
                  <a:gd name="f262" fmla="*/ f171 f143 1"/>
                  <a:gd name="f263" fmla="*/ f172 f144 1"/>
                  <a:gd name="f264" fmla="*/ f173 f143 1"/>
                  <a:gd name="f265" fmla="*/ f174 f144 1"/>
                  <a:gd name="f266" fmla="*/ f175 f143 1"/>
                  <a:gd name="f267" fmla="*/ f176 f144 1"/>
                  <a:gd name="f268" fmla="*/ f177 f143 1"/>
                  <a:gd name="f269" fmla="*/ f178 f143 1"/>
                  <a:gd name="f270" fmla="*/ f179 f144 1"/>
                  <a:gd name="f271" fmla="*/ f180 f143 1"/>
                  <a:gd name="f272" fmla="*/ f181 f144 1"/>
                  <a:gd name="f273" fmla="*/ f182 f143 1"/>
                  <a:gd name="f274" fmla="*/ f183 f144 1"/>
                  <a:gd name="f275" fmla="*/ f184 f143 1"/>
                  <a:gd name="f276" fmla="*/ f185 f144 1"/>
                  <a:gd name="f277" fmla="*/ f186 f143 1"/>
                  <a:gd name="f278" fmla="*/ f187 f144 1"/>
                  <a:gd name="f279" fmla="*/ f188 f143 1"/>
                  <a:gd name="f280" fmla="*/ f189 f144 1"/>
                  <a:gd name="f281" fmla="*/ f190 f143 1"/>
                  <a:gd name="f282" fmla="*/ f191 f144 1"/>
                  <a:gd name="f283" fmla="*/ f192 f143 1"/>
                  <a:gd name="f284" fmla="*/ f193 f144 1"/>
                  <a:gd name="f285" fmla="*/ f194 f144 1"/>
                  <a:gd name="f286" fmla="*/ f195 f143 1"/>
                  <a:gd name="f287" fmla="*/ f196 f144 1"/>
                  <a:gd name="f288" fmla="*/ f197 f143 1"/>
                  <a:gd name="f289" fmla="*/ f198 f144 1"/>
                  <a:gd name="f290" fmla="*/ f199 f143 1"/>
                  <a:gd name="f291" fmla="*/ f200 f144 1"/>
                  <a:gd name="f292" fmla="*/ f201 f143 1"/>
                  <a:gd name="f293" fmla="*/ f202 f144 1"/>
                  <a:gd name="f294" fmla="*/ f203 f143 1"/>
                  <a:gd name="f295" fmla="*/ f204 f143 1"/>
                  <a:gd name="f296" fmla="*/ f205 f144 1"/>
                  <a:gd name="f297" fmla="*/ f206 f143 1"/>
                  <a:gd name="f298" fmla="*/ f207 f144 1"/>
                  <a:gd name="f299" fmla="*/ f208 f143 1"/>
                  <a:gd name="f300" fmla="*/ f209 f144 1"/>
                  <a:gd name="f301" fmla="*/ f210 f143 1"/>
                  <a:gd name="f302" fmla="*/ f211 f144 1"/>
                  <a:gd name="f303" fmla="*/ f212 f143 1"/>
                  <a:gd name="f304" fmla="*/ f213 f144 1"/>
                  <a:gd name="f305" fmla="*/ f214 f143 1"/>
                  <a:gd name="f306" fmla="*/ f215 f143 1"/>
                  <a:gd name="f307" fmla="*/ f216 f144 1"/>
                  <a:gd name="f308" fmla="*/ f217 f143 1"/>
                  <a:gd name="f309" fmla="*/ f218 f144 1"/>
                  <a:gd name="f310" fmla="*/ f219 f144 1"/>
                  <a:gd name="f311" fmla="*/ f220 f143 1"/>
                  <a:gd name="f312" fmla="*/ f221 f143 1"/>
                  <a:gd name="f313" fmla="*/ f222 f144 1"/>
                  <a:gd name="f314" fmla="*/ f223 f143 1"/>
                  <a:gd name="f315" fmla="*/ f224 f144 1"/>
                  <a:gd name="f316" fmla="*/ f225 f144 1"/>
                  <a:gd name="f317" fmla="*/ f226 f143 1"/>
                  <a:gd name="f318" fmla="*/ f227 f144 1"/>
                  <a:gd name="f319" fmla="*/ f228 f144 1"/>
                  <a:gd name="f320" fmla="*/ f229 f143 1"/>
                  <a:gd name="f321" fmla="*/ f230 f144 1"/>
                  <a:gd name="f322" fmla="*/ f231 f143 1"/>
                  <a:gd name="f323" fmla="*/ f232 f14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37">
                    <a:pos x="f242" y="f243"/>
                  </a:cxn>
                  <a:cxn ang="f237">
                    <a:pos x="f244" y="f245"/>
                  </a:cxn>
                  <a:cxn ang="f237">
                    <a:pos x="f246" y="f247"/>
                  </a:cxn>
                  <a:cxn ang="f237">
                    <a:pos x="f248" y="f249"/>
                  </a:cxn>
                  <a:cxn ang="f237">
                    <a:pos x="f242" y="f250"/>
                  </a:cxn>
                  <a:cxn ang="f237">
                    <a:pos x="f242" y="f251"/>
                  </a:cxn>
                  <a:cxn ang="f237">
                    <a:pos x="f252" y="f250"/>
                  </a:cxn>
                  <a:cxn ang="f237">
                    <a:pos x="f244" y="f253"/>
                  </a:cxn>
                  <a:cxn ang="f237">
                    <a:pos x="f254" y="f255"/>
                  </a:cxn>
                  <a:cxn ang="f237">
                    <a:pos x="f256" y="f257"/>
                  </a:cxn>
                  <a:cxn ang="f237">
                    <a:pos x="f258" y="f259"/>
                  </a:cxn>
                  <a:cxn ang="f237">
                    <a:pos x="f260" y="f261"/>
                  </a:cxn>
                  <a:cxn ang="f237">
                    <a:pos x="f262" y="f263"/>
                  </a:cxn>
                  <a:cxn ang="f237">
                    <a:pos x="f264" y="f265"/>
                  </a:cxn>
                  <a:cxn ang="f237">
                    <a:pos x="f266" y="f267"/>
                  </a:cxn>
                  <a:cxn ang="f237">
                    <a:pos x="f268" y="f257"/>
                  </a:cxn>
                  <a:cxn ang="f237">
                    <a:pos x="f269" y="f270"/>
                  </a:cxn>
                  <a:cxn ang="f237">
                    <a:pos x="f271" y="f272"/>
                  </a:cxn>
                  <a:cxn ang="f237">
                    <a:pos x="f273" y="f274"/>
                  </a:cxn>
                  <a:cxn ang="f237">
                    <a:pos x="f275" y="f276"/>
                  </a:cxn>
                  <a:cxn ang="f237">
                    <a:pos x="f277" y="f278"/>
                  </a:cxn>
                  <a:cxn ang="f237">
                    <a:pos x="f279" y="f280"/>
                  </a:cxn>
                  <a:cxn ang="f237">
                    <a:pos x="f281" y="f282"/>
                  </a:cxn>
                  <a:cxn ang="f237">
                    <a:pos x="f283" y="f284"/>
                  </a:cxn>
                  <a:cxn ang="f237">
                    <a:pos x="f242" y="f285"/>
                  </a:cxn>
                  <a:cxn ang="f237">
                    <a:pos x="f286" y="f287"/>
                  </a:cxn>
                  <a:cxn ang="f237">
                    <a:pos x="f288" y="f289"/>
                  </a:cxn>
                  <a:cxn ang="f237">
                    <a:pos x="f290" y="f291"/>
                  </a:cxn>
                  <a:cxn ang="f237">
                    <a:pos x="f292" y="f293"/>
                  </a:cxn>
                  <a:cxn ang="f237">
                    <a:pos x="f294" y="f289"/>
                  </a:cxn>
                  <a:cxn ang="f237">
                    <a:pos x="f295" y="f296"/>
                  </a:cxn>
                  <a:cxn ang="f237">
                    <a:pos x="f297" y="f298"/>
                  </a:cxn>
                  <a:cxn ang="f237">
                    <a:pos x="f299" y="f300"/>
                  </a:cxn>
                  <a:cxn ang="f237">
                    <a:pos x="f299" y="f296"/>
                  </a:cxn>
                  <a:cxn ang="f237">
                    <a:pos x="f301" y="f302"/>
                  </a:cxn>
                  <a:cxn ang="f237">
                    <a:pos x="f303" y="f304"/>
                  </a:cxn>
                  <a:cxn ang="f237">
                    <a:pos x="f305" y="f278"/>
                  </a:cxn>
                  <a:cxn ang="f237">
                    <a:pos x="f306" y="f307"/>
                  </a:cxn>
                  <a:cxn ang="f237">
                    <a:pos x="f308" y="f309"/>
                  </a:cxn>
                  <a:cxn ang="f237">
                    <a:pos x="f303" y="f310"/>
                  </a:cxn>
                  <a:cxn ang="f237">
                    <a:pos x="f311" y="f255"/>
                  </a:cxn>
                  <a:cxn ang="f237">
                    <a:pos x="f312" y="f313"/>
                  </a:cxn>
                  <a:cxn ang="f237">
                    <a:pos x="f314" y="f315"/>
                  </a:cxn>
                  <a:cxn ang="f237">
                    <a:pos x="f288" y="f316"/>
                  </a:cxn>
                  <a:cxn ang="f237">
                    <a:pos x="f317" y="f318"/>
                  </a:cxn>
                  <a:cxn ang="f237">
                    <a:pos x="f286" y="f319"/>
                  </a:cxn>
                  <a:cxn ang="f237">
                    <a:pos x="f320" y="f321"/>
                  </a:cxn>
                  <a:cxn ang="f237">
                    <a:pos x="f322" y="f245"/>
                  </a:cxn>
                  <a:cxn ang="f237">
                    <a:pos x="f320" y="f323"/>
                  </a:cxn>
                  <a:cxn ang="f237">
                    <a:pos x="f286" y="f241"/>
                  </a:cxn>
                </a:cxnLst>
                <a:rect l="f238" t="f241" r="f239" b="f240"/>
                <a:pathLst>
                  <a:path w="340" h="254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9" y="f25"/>
                    </a:lnTo>
                    <a:lnTo>
                      <a:pt x="f26" y="f27"/>
                    </a:lnTo>
                    <a:lnTo>
                      <a:pt x="f9" y="f28"/>
                    </a:lnTo>
                    <a:lnTo>
                      <a:pt x="f29" y="f30"/>
                    </a:lnTo>
                    <a:lnTo>
                      <a:pt x="f31" y="f25"/>
                    </a:lnTo>
                    <a:lnTo>
                      <a:pt x="f17" y="f32"/>
                    </a:lnTo>
                    <a:lnTo>
                      <a:pt x="f13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51"/>
                    </a:lnTo>
                    <a:lnTo>
                      <a:pt x="f52" y="f53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" y="f41"/>
                    </a:lnTo>
                    <a:lnTo>
                      <a:pt x="f6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32"/>
                    </a:lnTo>
                    <a:lnTo>
                      <a:pt x="f76" y="f77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2"/>
                    </a:lnTo>
                    <a:lnTo>
                      <a:pt x="f85" y="f26"/>
                    </a:lnTo>
                    <a:lnTo>
                      <a:pt x="f85" y="f15"/>
                    </a:lnTo>
                    <a:lnTo>
                      <a:pt x="f86" y="f87"/>
                    </a:lnTo>
                    <a:lnTo>
                      <a:pt x="f11" y="f86"/>
                    </a:lnTo>
                    <a:lnTo>
                      <a:pt x="f88" y="f38"/>
                    </a:lnTo>
                    <a:lnTo>
                      <a:pt x="f9" y="f82"/>
                    </a:lnTo>
                    <a:lnTo>
                      <a:pt x="f89" y="f90"/>
                    </a:lnTo>
                    <a:lnTo>
                      <a:pt x="f8" y="f80"/>
                    </a:lnTo>
                    <a:lnTo>
                      <a:pt x="f91" y="f80"/>
                    </a:lnTo>
                    <a:lnTo>
                      <a:pt x="f92" y="f40"/>
                    </a:lnTo>
                    <a:lnTo>
                      <a:pt x="f93" y="f84"/>
                    </a:lnTo>
                    <a:lnTo>
                      <a:pt x="f24" y="f38"/>
                    </a:lnTo>
                    <a:lnTo>
                      <a:pt x="f94" y="f38"/>
                    </a:lnTo>
                    <a:lnTo>
                      <a:pt x="f66" y="f95"/>
                    </a:lnTo>
                    <a:lnTo>
                      <a:pt x="f96" y="f97"/>
                    </a:lnTo>
                    <a:lnTo>
                      <a:pt x="f98" y="f40"/>
                    </a:lnTo>
                    <a:lnTo>
                      <a:pt x="f99" y="f40"/>
                    </a:lnTo>
                    <a:lnTo>
                      <a:pt x="f100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7"/>
                    </a:lnTo>
                    <a:lnTo>
                      <a:pt x="f109" y="f105"/>
                    </a:lnTo>
                    <a:lnTo>
                      <a:pt x="f108" y="f101"/>
                    </a:lnTo>
                    <a:lnTo>
                      <a:pt x="f106" y="f110"/>
                    </a:lnTo>
                    <a:lnTo>
                      <a:pt x="f111" y="f112"/>
                    </a:lnTo>
                    <a:lnTo>
                      <a:pt x="f47" y="f113"/>
                    </a:lnTo>
                    <a:lnTo>
                      <a:pt x="f114" y="f115"/>
                    </a:lnTo>
                    <a:lnTo>
                      <a:pt x="f116" y="f23"/>
                    </a:lnTo>
                    <a:lnTo>
                      <a:pt x="f117" y="f81"/>
                    </a:lnTo>
                    <a:lnTo>
                      <a:pt x="f109" y="f27"/>
                    </a:lnTo>
                    <a:lnTo>
                      <a:pt x="f118" y="f119"/>
                    </a:lnTo>
                    <a:lnTo>
                      <a:pt x="f5" y="f120"/>
                    </a:lnTo>
                    <a:lnTo>
                      <a:pt x="f121" y="f122"/>
                    </a:lnTo>
                    <a:lnTo>
                      <a:pt x="f123" y="f124"/>
                    </a:lnTo>
                    <a:lnTo>
                      <a:pt x="f114" y="f125"/>
                    </a:lnTo>
                    <a:lnTo>
                      <a:pt x="f16" y="f70"/>
                    </a:lnTo>
                    <a:lnTo>
                      <a:pt x="f126" y="f37"/>
                    </a:lnTo>
                    <a:lnTo>
                      <a:pt x="f127" y="f128"/>
                    </a:lnTo>
                    <a:lnTo>
                      <a:pt x="f129" y="f129"/>
                    </a:lnTo>
                    <a:lnTo>
                      <a:pt x="f68" y="f64"/>
                    </a:lnTo>
                    <a:lnTo>
                      <a:pt x="f94" y="f64"/>
                    </a:lnTo>
                    <a:lnTo>
                      <a:pt x="f130" y="f131"/>
                    </a:lnTo>
                    <a:lnTo>
                      <a:pt x="f92" y="f132"/>
                    </a:lnTo>
                    <a:lnTo>
                      <a:pt x="f133" y="f20"/>
                    </a:lnTo>
                    <a:lnTo>
                      <a:pt x="f134" y="f135"/>
                    </a:lnTo>
                    <a:lnTo>
                      <a:pt x="f136" y="f137"/>
                    </a:lnTo>
                    <a:lnTo>
                      <a:pt x="f8" y="f59"/>
                    </a:lnTo>
                    <a:lnTo>
                      <a:pt x="f133" y="f51"/>
                    </a:lnTo>
                    <a:lnTo>
                      <a:pt x="f91" y="f138"/>
                    </a:lnTo>
                    <a:lnTo>
                      <a:pt x="f25" y="f139"/>
                    </a:lnTo>
                    <a:lnTo>
                      <a:pt x="f140" y="f14"/>
                    </a:lnTo>
                    <a:lnTo>
                      <a:pt x="f25" y="f141"/>
                    </a:lnTo>
                    <a:lnTo>
                      <a:pt x="f91" y="f12"/>
                    </a:lnTo>
                    <a:lnTo>
                      <a:pt x="f133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60" name="Freeform 22">
                <a:extLst>
                  <a:ext uri="{FF2B5EF4-FFF2-40B4-BE49-F238E27FC236}">
                    <a16:creationId xmlns:a16="http://schemas.microsoft.com/office/drawing/2014/main" id="{074B1D94-472B-4E9C-AB11-34C426094D7C}"/>
                  </a:ext>
                </a:extLst>
              </p:cNvPr>
              <p:cNvSpPr/>
              <p:nvPr/>
            </p:nvSpPr>
            <p:spPr>
              <a:xfrm>
                <a:off x="4568506" y="2567498"/>
                <a:ext cx="19074" cy="18233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15"/>
                  <a:gd name="f7" fmla="val 112"/>
                  <a:gd name="f8" fmla="val 71"/>
                  <a:gd name="f9" fmla="val 83"/>
                  <a:gd name="f10" fmla="val 3"/>
                  <a:gd name="f11" fmla="val 93"/>
                  <a:gd name="f12" fmla="val 8"/>
                  <a:gd name="f13" fmla="val 100"/>
                  <a:gd name="f14" fmla="val 17"/>
                  <a:gd name="f15" fmla="val 101"/>
                  <a:gd name="f16" fmla="val 24"/>
                  <a:gd name="f17" fmla="val 32"/>
                  <a:gd name="f18" fmla="val 105"/>
                  <a:gd name="f19" fmla="val 43"/>
                  <a:gd name="f20" fmla="val 109"/>
                  <a:gd name="f21" fmla="val 53"/>
                  <a:gd name="f22" fmla="val 58"/>
                  <a:gd name="f23" fmla="val 74"/>
                  <a:gd name="f24" fmla="val 104"/>
                  <a:gd name="f25" fmla="val 90"/>
                  <a:gd name="f26" fmla="val 97"/>
                  <a:gd name="f27" fmla="val 103"/>
                  <a:gd name="f28" fmla="val 111"/>
                  <a:gd name="f29" fmla="val 89"/>
                  <a:gd name="f30" fmla="val 82"/>
                  <a:gd name="f31" fmla="val 108"/>
                  <a:gd name="f32" fmla="val 73"/>
                  <a:gd name="f33" fmla="val 55"/>
                  <a:gd name="f34" fmla="val 47"/>
                  <a:gd name="f35" fmla="val 76"/>
                  <a:gd name="f36" fmla="val 39"/>
                  <a:gd name="f37" fmla="val 31"/>
                  <a:gd name="f38" fmla="val 68"/>
                  <a:gd name="f39" fmla="val 65"/>
                  <a:gd name="f40" fmla="val 29"/>
                  <a:gd name="f41" fmla="val 64"/>
                  <a:gd name="f42" fmla="val 61"/>
                  <a:gd name="f43" fmla="val 10"/>
                  <a:gd name="f44" fmla="val 57"/>
                  <a:gd name="f45" fmla="val 54"/>
                  <a:gd name="f46" fmla="val 51"/>
                  <a:gd name="f47" fmla="val 22"/>
                  <a:gd name="f48" fmla="val 33"/>
                  <a:gd name="f49" fmla="val 40"/>
                  <a:gd name="f50" fmla="val 19"/>
                  <a:gd name="f51" fmla="val 6"/>
                  <a:gd name="f52" fmla="val 1"/>
                  <a:gd name="f53" fmla="+- 0 0 -90"/>
                  <a:gd name="f54" fmla="*/ f3 1 115"/>
                  <a:gd name="f55" fmla="*/ f4 1 112"/>
                  <a:gd name="f56" fmla="+- f7 0 f5"/>
                  <a:gd name="f57" fmla="+- f6 0 f5"/>
                  <a:gd name="f58" fmla="*/ f53 f0 1"/>
                  <a:gd name="f59" fmla="*/ f57 1 115"/>
                  <a:gd name="f60" fmla="*/ f56 1 112"/>
                  <a:gd name="f61" fmla="*/ f58 1 f2"/>
                  <a:gd name="f62" fmla="*/ 71 1 f59"/>
                  <a:gd name="f63" fmla="*/ 0 1 f60"/>
                  <a:gd name="f64" fmla="*/ 83 1 f59"/>
                  <a:gd name="f65" fmla="*/ 3 1 f60"/>
                  <a:gd name="f66" fmla="*/ 93 1 f59"/>
                  <a:gd name="f67" fmla="*/ 8 1 f60"/>
                  <a:gd name="f68" fmla="*/ 100 1 f59"/>
                  <a:gd name="f69" fmla="*/ 17 1 f60"/>
                  <a:gd name="f70" fmla="*/ 101 1 f59"/>
                  <a:gd name="f71" fmla="*/ 24 1 f60"/>
                  <a:gd name="f72" fmla="*/ 32 1 f60"/>
                  <a:gd name="f73" fmla="*/ 105 1 f59"/>
                  <a:gd name="f74" fmla="*/ 43 1 f60"/>
                  <a:gd name="f75" fmla="*/ 109 1 f59"/>
                  <a:gd name="f76" fmla="*/ 53 1 f60"/>
                  <a:gd name="f77" fmla="*/ 115 1 f59"/>
                  <a:gd name="f78" fmla="*/ 58 1 f60"/>
                  <a:gd name="f79" fmla="*/ 74 1 f60"/>
                  <a:gd name="f80" fmla="*/ 104 1 f59"/>
                  <a:gd name="f81" fmla="*/ 90 1 f60"/>
                  <a:gd name="f82" fmla="*/ 97 1 f59"/>
                  <a:gd name="f83" fmla="*/ 103 1 f60"/>
                  <a:gd name="f84" fmla="*/ 111 1 f60"/>
                  <a:gd name="f85" fmla="*/ 89 1 f59"/>
                  <a:gd name="f86" fmla="*/ 112 1 f60"/>
                  <a:gd name="f87" fmla="*/ 82 1 f59"/>
                  <a:gd name="f88" fmla="*/ 108 1 f60"/>
                  <a:gd name="f89" fmla="*/ 73 1 f59"/>
                  <a:gd name="f90" fmla="*/ 101 1 f60"/>
                  <a:gd name="f91" fmla="*/ 55 1 f59"/>
                  <a:gd name="f92" fmla="*/ 83 1 f60"/>
                  <a:gd name="f93" fmla="*/ 47 1 f59"/>
                  <a:gd name="f94" fmla="*/ 76 1 f60"/>
                  <a:gd name="f95" fmla="*/ 39 1 f59"/>
                  <a:gd name="f96" fmla="*/ 71 1 f60"/>
                  <a:gd name="f97" fmla="*/ 31 1 f59"/>
                  <a:gd name="f98" fmla="*/ 68 1 f60"/>
                  <a:gd name="f99" fmla="*/ 65 1 f60"/>
                  <a:gd name="f100" fmla="*/ 29 1 f59"/>
                  <a:gd name="f101" fmla="*/ 64 1 f60"/>
                  <a:gd name="f102" fmla="*/ 24 1 f59"/>
                  <a:gd name="f103" fmla="*/ 61 1 f60"/>
                  <a:gd name="f104" fmla="*/ 17 1 f59"/>
                  <a:gd name="f105" fmla="*/ 10 1 f59"/>
                  <a:gd name="f106" fmla="*/ 57 1 f60"/>
                  <a:gd name="f107" fmla="*/ 3 1 f59"/>
                  <a:gd name="f108" fmla="*/ 54 1 f60"/>
                  <a:gd name="f109" fmla="*/ 0 1 f59"/>
                  <a:gd name="f110" fmla="*/ 51 1 f60"/>
                  <a:gd name="f111" fmla="*/ 47 1 f60"/>
                  <a:gd name="f112" fmla="*/ 22 1 f59"/>
                  <a:gd name="f113" fmla="*/ 33 1 f60"/>
                  <a:gd name="f114" fmla="*/ 40 1 f59"/>
                  <a:gd name="f115" fmla="*/ 19 1 f60"/>
                  <a:gd name="f116" fmla="*/ 54 1 f59"/>
                  <a:gd name="f117" fmla="*/ 6 1 f60"/>
                  <a:gd name="f118" fmla="*/ 61 1 f59"/>
                  <a:gd name="f119" fmla="*/ 1 1 f60"/>
                  <a:gd name="f120" fmla="*/ f6 1 f59"/>
                  <a:gd name="f121" fmla="*/ f7 1 f60"/>
                  <a:gd name="f122" fmla="+- f61 0 f1"/>
                  <a:gd name="f123" fmla="*/ f109 f54 1"/>
                  <a:gd name="f124" fmla="*/ f120 f54 1"/>
                  <a:gd name="f125" fmla="*/ f121 f55 1"/>
                  <a:gd name="f126" fmla="*/ f63 f55 1"/>
                  <a:gd name="f127" fmla="*/ f62 f54 1"/>
                  <a:gd name="f128" fmla="*/ f64 f54 1"/>
                  <a:gd name="f129" fmla="*/ f65 f55 1"/>
                  <a:gd name="f130" fmla="*/ f66 f54 1"/>
                  <a:gd name="f131" fmla="*/ f67 f55 1"/>
                  <a:gd name="f132" fmla="*/ f68 f54 1"/>
                  <a:gd name="f133" fmla="*/ f69 f55 1"/>
                  <a:gd name="f134" fmla="*/ f70 f54 1"/>
                  <a:gd name="f135" fmla="*/ f71 f55 1"/>
                  <a:gd name="f136" fmla="*/ f72 f55 1"/>
                  <a:gd name="f137" fmla="*/ f73 f54 1"/>
                  <a:gd name="f138" fmla="*/ f74 f55 1"/>
                  <a:gd name="f139" fmla="*/ f75 f54 1"/>
                  <a:gd name="f140" fmla="*/ f76 f55 1"/>
                  <a:gd name="f141" fmla="*/ f77 f54 1"/>
                  <a:gd name="f142" fmla="*/ f78 f55 1"/>
                  <a:gd name="f143" fmla="*/ f79 f55 1"/>
                  <a:gd name="f144" fmla="*/ f80 f54 1"/>
                  <a:gd name="f145" fmla="*/ f81 f55 1"/>
                  <a:gd name="f146" fmla="*/ f82 f54 1"/>
                  <a:gd name="f147" fmla="*/ f83 f55 1"/>
                  <a:gd name="f148" fmla="*/ f84 f55 1"/>
                  <a:gd name="f149" fmla="*/ f85 f54 1"/>
                  <a:gd name="f150" fmla="*/ f86 f55 1"/>
                  <a:gd name="f151" fmla="*/ f87 f54 1"/>
                  <a:gd name="f152" fmla="*/ f88 f55 1"/>
                  <a:gd name="f153" fmla="*/ f89 f54 1"/>
                  <a:gd name="f154" fmla="*/ f90 f55 1"/>
                  <a:gd name="f155" fmla="*/ f91 f54 1"/>
                  <a:gd name="f156" fmla="*/ f92 f55 1"/>
                  <a:gd name="f157" fmla="*/ f93 f54 1"/>
                  <a:gd name="f158" fmla="*/ f94 f55 1"/>
                  <a:gd name="f159" fmla="*/ f95 f54 1"/>
                  <a:gd name="f160" fmla="*/ f96 f55 1"/>
                  <a:gd name="f161" fmla="*/ f97 f54 1"/>
                  <a:gd name="f162" fmla="*/ f98 f55 1"/>
                  <a:gd name="f163" fmla="*/ f99 f55 1"/>
                  <a:gd name="f164" fmla="*/ f100 f54 1"/>
                  <a:gd name="f165" fmla="*/ f101 f55 1"/>
                  <a:gd name="f166" fmla="*/ f102 f54 1"/>
                  <a:gd name="f167" fmla="*/ f103 f55 1"/>
                  <a:gd name="f168" fmla="*/ f104 f54 1"/>
                  <a:gd name="f169" fmla="*/ f105 f54 1"/>
                  <a:gd name="f170" fmla="*/ f106 f55 1"/>
                  <a:gd name="f171" fmla="*/ f107 f54 1"/>
                  <a:gd name="f172" fmla="*/ f108 f55 1"/>
                  <a:gd name="f173" fmla="*/ f110 f55 1"/>
                  <a:gd name="f174" fmla="*/ f111 f55 1"/>
                  <a:gd name="f175" fmla="*/ f112 f54 1"/>
                  <a:gd name="f176" fmla="*/ f113 f55 1"/>
                  <a:gd name="f177" fmla="*/ f114 f54 1"/>
                  <a:gd name="f178" fmla="*/ f115 f55 1"/>
                  <a:gd name="f179" fmla="*/ f116 f54 1"/>
                  <a:gd name="f180" fmla="*/ f117 f55 1"/>
                  <a:gd name="f181" fmla="*/ f118 f54 1"/>
                  <a:gd name="f182" fmla="*/ f119 f5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22">
                    <a:pos x="f127" y="f126"/>
                  </a:cxn>
                  <a:cxn ang="f122">
                    <a:pos x="f128" y="f129"/>
                  </a:cxn>
                  <a:cxn ang="f122">
                    <a:pos x="f130" y="f131"/>
                  </a:cxn>
                  <a:cxn ang="f122">
                    <a:pos x="f132" y="f133"/>
                  </a:cxn>
                  <a:cxn ang="f122">
                    <a:pos x="f134" y="f135"/>
                  </a:cxn>
                  <a:cxn ang="f122">
                    <a:pos x="f134" y="f136"/>
                  </a:cxn>
                  <a:cxn ang="f122">
                    <a:pos x="f137" y="f138"/>
                  </a:cxn>
                  <a:cxn ang="f122">
                    <a:pos x="f139" y="f140"/>
                  </a:cxn>
                  <a:cxn ang="f122">
                    <a:pos x="f141" y="f142"/>
                  </a:cxn>
                  <a:cxn ang="f122">
                    <a:pos x="f139" y="f143"/>
                  </a:cxn>
                  <a:cxn ang="f122">
                    <a:pos x="f144" y="f145"/>
                  </a:cxn>
                  <a:cxn ang="f122">
                    <a:pos x="f146" y="f147"/>
                  </a:cxn>
                  <a:cxn ang="f122">
                    <a:pos x="f130" y="f148"/>
                  </a:cxn>
                  <a:cxn ang="f122">
                    <a:pos x="f149" y="f150"/>
                  </a:cxn>
                  <a:cxn ang="f122">
                    <a:pos x="f151" y="f152"/>
                  </a:cxn>
                  <a:cxn ang="f122">
                    <a:pos x="f153" y="f154"/>
                  </a:cxn>
                  <a:cxn ang="f122">
                    <a:pos x="f155" y="f156"/>
                  </a:cxn>
                  <a:cxn ang="f122">
                    <a:pos x="f157" y="f158"/>
                  </a:cxn>
                  <a:cxn ang="f122">
                    <a:pos x="f159" y="f160"/>
                  </a:cxn>
                  <a:cxn ang="f122">
                    <a:pos x="f161" y="f162"/>
                  </a:cxn>
                  <a:cxn ang="f122">
                    <a:pos x="f161" y="f163"/>
                  </a:cxn>
                  <a:cxn ang="f122">
                    <a:pos x="f164" y="f165"/>
                  </a:cxn>
                  <a:cxn ang="f122">
                    <a:pos x="f166" y="f167"/>
                  </a:cxn>
                  <a:cxn ang="f122">
                    <a:pos x="f168" y="f142"/>
                  </a:cxn>
                  <a:cxn ang="f122">
                    <a:pos x="f169" y="f170"/>
                  </a:cxn>
                  <a:cxn ang="f122">
                    <a:pos x="f171" y="f172"/>
                  </a:cxn>
                  <a:cxn ang="f122">
                    <a:pos x="f123" y="f173"/>
                  </a:cxn>
                  <a:cxn ang="f122">
                    <a:pos x="f171" y="f174"/>
                  </a:cxn>
                  <a:cxn ang="f122">
                    <a:pos x="f175" y="f176"/>
                  </a:cxn>
                  <a:cxn ang="f122">
                    <a:pos x="f177" y="f178"/>
                  </a:cxn>
                  <a:cxn ang="f122">
                    <a:pos x="f179" y="f180"/>
                  </a:cxn>
                  <a:cxn ang="f122">
                    <a:pos x="f181" y="f182"/>
                  </a:cxn>
                  <a:cxn ang="f122">
                    <a:pos x="f127" y="f126"/>
                  </a:cxn>
                </a:cxnLst>
                <a:rect l="f123" t="f126" r="f124" b="f125"/>
                <a:pathLst>
                  <a:path w="115" h="112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5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6" y="f22"/>
                    </a:lnTo>
                    <a:lnTo>
                      <a:pt x="f20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11" y="f28"/>
                    </a:lnTo>
                    <a:lnTo>
                      <a:pt x="f29" y="f7"/>
                    </a:lnTo>
                    <a:lnTo>
                      <a:pt x="f30" y="f31"/>
                    </a:lnTo>
                    <a:lnTo>
                      <a:pt x="f32" y="f15"/>
                    </a:lnTo>
                    <a:lnTo>
                      <a:pt x="f33" y="f9"/>
                    </a:lnTo>
                    <a:lnTo>
                      <a:pt x="f34" y="f35"/>
                    </a:lnTo>
                    <a:lnTo>
                      <a:pt x="f36" y="f8"/>
                    </a:lnTo>
                    <a:lnTo>
                      <a:pt x="f37" y="f38"/>
                    </a:lnTo>
                    <a:lnTo>
                      <a:pt x="f37" y="f39"/>
                    </a:lnTo>
                    <a:lnTo>
                      <a:pt x="f40" y="f41"/>
                    </a:lnTo>
                    <a:lnTo>
                      <a:pt x="f16" y="f42"/>
                    </a:lnTo>
                    <a:lnTo>
                      <a:pt x="f14" y="f22"/>
                    </a:lnTo>
                    <a:lnTo>
                      <a:pt x="f43" y="f44"/>
                    </a:lnTo>
                    <a:lnTo>
                      <a:pt x="f10" y="f45"/>
                    </a:lnTo>
                    <a:lnTo>
                      <a:pt x="f5" y="f46"/>
                    </a:lnTo>
                    <a:lnTo>
                      <a:pt x="f10" y="f34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45" y="f51"/>
                    </a:lnTo>
                    <a:lnTo>
                      <a:pt x="f42" y="f52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61" name="Freeform 23">
                <a:extLst>
                  <a:ext uri="{FF2B5EF4-FFF2-40B4-BE49-F238E27FC236}">
                    <a16:creationId xmlns:a16="http://schemas.microsoft.com/office/drawing/2014/main" id="{2310FB67-A6FA-4F12-9D1F-57E51A829C79}"/>
                  </a:ext>
                </a:extLst>
              </p:cNvPr>
              <p:cNvSpPr/>
              <p:nvPr/>
            </p:nvSpPr>
            <p:spPr>
              <a:xfrm>
                <a:off x="4619594" y="2542434"/>
                <a:ext cx="17254" cy="1871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04"/>
                  <a:gd name="f7" fmla="val 115"/>
                  <a:gd name="f8" fmla="val 17"/>
                  <a:gd name="f9" fmla="val 21"/>
                  <a:gd name="f10" fmla="val 28"/>
                  <a:gd name="f11" fmla="val 4"/>
                  <a:gd name="f12" fmla="val 38"/>
                  <a:gd name="f13" fmla="val 14"/>
                  <a:gd name="f14" fmla="val 43"/>
                  <a:gd name="f15" fmla="val 49"/>
                  <a:gd name="f16" fmla="val 25"/>
                  <a:gd name="f17" fmla="val 65"/>
                  <a:gd name="f18" fmla="val 75"/>
                  <a:gd name="f19" fmla="val 31"/>
                  <a:gd name="f20" fmla="val 85"/>
                  <a:gd name="f21" fmla="val 36"/>
                  <a:gd name="f22" fmla="val 93"/>
                  <a:gd name="f23" fmla="val 42"/>
                  <a:gd name="f24" fmla="val 98"/>
                  <a:gd name="f25" fmla="val 47"/>
                  <a:gd name="f26" fmla="val 97"/>
                  <a:gd name="f27" fmla="val 51"/>
                  <a:gd name="f28" fmla="val 86"/>
                  <a:gd name="f29" fmla="val 60"/>
                  <a:gd name="f30" fmla="val 80"/>
                  <a:gd name="f31" fmla="val 79"/>
                  <a:gd name="f32" fmla="val 69"/>
                  <a:gd name="f33" fmla="val 76"/>
                  <a:gd name="f34" fmla="val 87"/>
                  <a:gd name="f35" fmla="val 94"/>
                  <a:gd name="f36" fmla="val 101"/>
                  <a:gd name="f37" fmla="val 82"/>
                  <a:gd name="f38" fmla="val 105"/>
                  <a:gd name="f39" fmla="val 58"/>
                  <a:gd name="f40" fmla="val 83"/>
                  <a:gd name="f41" fmla="val 32"/>
                  <a:gd name="f42" fmla="val 68"/>
                  <a:gd name="f43" fmla="val 62"/>
                  <a:gd name="f44" fmla="val 56"/>
                  <a:gd name="f45" fmla="val 33"/>
                  <a:gd name="f46" fmla="val 50"/>
                  <a:gd name="f47" fmla="val 27"/>
                  <a:gd name="f48" fmla="val 10"/>
                  <a:gd name="f49" fmla="val 39"/>
                  <a:gd name="f50" fmla="val 2"/>
                  <a:gd name="f51" fmla="val 29"/>
                  <a:gd name="f52" fmla="val 13"/>
                  <a:gd name="f53" fmla="+- 0 0 -90"/>
                  <a:gd name="f54" fmla="*/ f3 1 104"/>
                  <a:gd name="f55" fmla="*/ f4 1 115"/>
                  <a:gd name="f56" fmla="+- f7 0 f5"/>
                  <a:gd name="f57" fmla="+- f6 0 f5"/>
                  <a:gd name="f58" fmla="*/ f53 f0 1"/>
                  <a:gd name="f59" fmla="*/ f57 1 104"/>
                  <a:gd name="f60" fmla="*/ f56 1 115"/>
                  <a:gd name="f61" fmla="*/ f58 1 f2"/>
                  <a:gd name="f62" fmla="*/ 17 1 f59"/>
                  <a:gd name="f63" fmla="*/ 0 1 f60"/>
                  <a:gd name="f64" fmla="*/ 21 1 f59"/>
                  <a:gd name="f65" fmla="*/ 28 1 f59"/>
                  <a:gd name="f66" fmla="*/ 4 1 f60"/>
                  <a:gd name="f67" fmla="*/ 38 1 f59"/>
                  <a:gd name="f68" fmla="*/ 14 1 f60"/>
                  <a:gd name="f69" fmla="*/ 43 1 f59"/>
                  <a:gd name="f70" fmla="*/ 21 1 f60"/>
                  <a:gd name="f71" fmla="*/ 49 1 f59"/>
                  <a:gd name="f72" fmla="*/ 25 1 f60"/>
                  <a:gd name="f73" fmla="*/ 65 1 f59"/>
                  <a:gd name="f74" fmla="*/ 28 1 f60"/>
                  <a:gd name="f75" fmla="*/ 75 1 f59"/>
                  <a:gd name="f76" fmla="*/ 31 1 f60"/>
                  <a:gd name="f77" fmla="*/ 85 1 f59"/>
                  <a:gd name="f78" fmla="*/ 36 1 f60"/>
                  <a:gd name="f79" fmla="*/ 93 1 f59"/>
                  <a:gd name="f80" fmla="*/ 42 1 f60"/>
                  <a:gd name="f81" fmla="*/ 98 1 f59"/>
                  <a:gd name="f82" fmla="*/ 47 1 f60"/>
                  <a:gd name="f83" fmla="*/ 97 1 f59"/>
                  <a:gd name="f84" fmla="*/ 51 1 f60"/>
                  <a:gd name="f85" fmla="*/ 86 1 f59"/>
                  <a:gd name="f86" fmla="*/ 60 1 f60"/>
                  <a:gd name="f87" fmla="*/ 80 1 f59"/>
                  <a:gd name="f88" fmla="*/ 65 1 f60"/>
                  <a:gd name="f89" fmla="*/ 79 1 f59"/>
                  <a:gd name="f90" fmla="*/ 69 1 f60"/>
                  <a:gd name="f91" fmla="*/ 76 1 f60"/>
                  <a:gd name="f92" fmla="*/ 87 1 f59"/>
                  <a:gd name="f93" fmla="*/ 86 1 f60"/>
                  <a:gd name="f94" fmla="*/ 94 1 f59"/>
                  <a:gd name="f95" fmla="*/ 101 1 f60"/>
                  <a:gd name="f96" fmla="*/ 104 1 f59"/>
                  <a:gd name="f97" fmla="*/ 115 1 f60"/>
                  <a:gd name="f98" fmla="*/ 82 1 f59"/>
                  <a:gd name="f99" fmla="*/ 105 1 f60"/>
                  <a:gd name="f100" fmla="*/ 58 1 f59"/>
                  <a:gd name="f101" fmla="*/ 93 1 f60"/>
                  <a:gd name="f102" fmla="*/ 42 1 f59"/>
                  <a:gd name="f103" fmla="*/ 83 1 f60"/>
                  <a:gd name="f104" fmla="*/ 75 1 f60"/>
                  <a:gd name="f105" fmla="*/ 32 1 f59"/>
                  <a:gd name="f106" fmla="*/ 68 1 f60"/>
                  <a:gd name="f107" fmla="*/ 62 1 f60"/>
                  <a:gd name="f108" fmla="*/ 56 1 f60"/>
                  <a:gd name="f109" fmla="*/ 33 1 f59"/>
                  <a:gd name="f110" fmla="*/ 50 1 f60"/>
                  <a:gd name="f111" fmla="*/ 27 1 f59"/>
                  <a:gd name="f112" fmla="*/ 10 1 f59"/>
                  <a:gd name="f113" fmla="*/ 4 1 f59"/>
                  <a:gd name="f114" fmla="*/ 39 1 f60"/>
                  <a:gd name="f115" fmla="*/ 0 1 f59"/>
                  <a:gd name="f116" fmla="*/ 2 1 f59"/>
                  <a:gd name="f117" fmla="*/ 29 1 f60"/>
                  <a:gd name="f118" fmla="*/ 13 1 f59"/>
                  <a:gd name="f119" fmla="*/ f6 1 f59"/>
                  <a:gd name="f120" fmla="*/ f7 1 f60"/>
                  <a:gd name="f121" fmla="+- f61 0 f1"/>
                  <a:gd name="f122" fmla="*/ f115 f54 1"/>
                  <a:gd name="f123" fmla="*/ f119 f54 1"/>
                  <a:gd name="f124" fmla="*/ f120 f55 1"/>
                  <a:gd name="f125" fmla="*/ f63 f55 1"/>
                  <a:gd name="f126" fmla="*/ f62 f54 1"/>
                  <a:gd name="f127" fmla="*/ f64 f54 1"/>
                  <a:gd name="f128" fmla="*/ f65 f54 1"/>
                  <a:gd name="f129" fmla="*/ f66 f55 1"/>
                  <a:gd name="f130" fmla="*/ f67 f54 1"/>
                  <a:gd name="f131" fmla="*/ f68 f55 1"/>
                  <a:gd name="f132" fmla="*/ f69 f54 1"/>
                  <a:gd name="f133" fmla="*/ f70 f55 1"/>
                  <a:gd name="f134" fmla="*/ f71 f54 1"/>
                  <a:gd name="f135" fmla="*/ f72 f55 1"/>
                  <a:gd name="f136" fmla="*/ f73 f54 1"/>
                  <a:gd name="f137" fmla="*/ f74 f55 1"/>
                  <a:gd name="f138" fmla="*/ f75 f54 1"/>
                  <a:gd name="f139" fmla="*/ f76 f55 1"/>
                  <a:gd name="f140" fmla="*/ f77 f54 1"/>
                  <a:gd name="f141" fmla="*/ f78 f55 1"/>
                  <a:gd name="f142" fmla="*/ f79 f54 1"/>
                  <a:gd name="f143" fmla="*/ f80 f55 1"/>
                  <a:gd name="f144" fmla="*/ f81 f54 1"/>
                  <a:gd name="f145" fmla="*/ f82 f55 1"/>
                  <a:gd name="f146" fmla="*/ f83 f54 1"/>
                  <a:gd name="f147" fmla="*/ f84 f55 1"/>
                  <a:gd name="f148" fmla="*/ f85 f54 1"/>
                  <a:gd name="f149" fmla="*/ f86 f55 1"/>
                  <a:gd name="f150" fmla="*/ f87 f54 1"/>
                  <a:gd name="f151" fmla="*/ f88 f55 1"/>
                  <a:gd name="f152" fmla="*/ f89 f54 1"/>
                  <a:gd name="f153" fmla="*/ f90 f55 1"/>
                  <a:gd name="f154" fmla="*/ f91 f55 1"/>
                  <a:gd name="f155" fmla="*/ f92 f54 1"/>
                  <a:gd name="f156" fmla="*/ f93 f55 1"/>
                  <a:gd name="f157" fmla="*/ f94 f54 1"/>
                  <a:gd name="f158" fmla="*/ f95 f55 1"/>
                  <a:gd name="f159" fmla="*/ f96 f54 1"/>
                  <a:gd name="f160" fmla="*/ f97 f55 1"/>
                  <a:gd name="f161" fmla="*/ f98 f54 1"/>
                  <a:gd name="f162" fmla="*/ f99 f55 1"/>
                  <a:gd name="f163" fmla="*/ f100 f54 1"/>
                  <a:gd name="f164" fmla="*/ f101 f55 1"/>
                  <a:gd name="f165" fmla="*/ f102 f54 1"/>
                  <a:gd name="f166" fmla="*/ f103 f55 1"/>
                  <a:gd name="f167" fmla="*/ f104 f55 1"/>
                  <a:gd name="f168" fmla="*/ f105 f54 1"/>
                  <a:gd name="f169" fmla="*/ f106 f55 1"/>
                  <a:gd name="f170" fmla="*/ f107 f55 1"/>
                  <a:gd name="f171" fmla="*/ f108 f55 1"/>
                  <a:gd name="f172" fmla="*/ f109 f54 1"/>
                  <a:gd name="f173" fmla="*/ f110 f55 1"/>
                  <a:gd name="f174" fmla="*/ f111 f54 1"/>
                  <a:gd name="f175" fmla="*/ f112 f54 1"/>
                  <a:gd name="f176" fmla="*/ f113 f54 1"/>
                  <a:gd name="f177" fmla="*/ f114 f55 1"/>
                  <a:gd name="f178" fmla="*/ f116 f54 1"/>
                  <a:gd name="f179" fmla="*/ f117 f55 1"/>
                  <a:gd name="f180" fmla="*/ f118 f5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21">
                    <a:pos x="f126" y="f125"/>
                  </a:cxn>
                  <a:cxn ang="f121">
                    <a:pos x="f127" y="f125"/>
                  </a:cxn>
                  <a:cxn ang="f121">
                    <a:pos x="f128" y="f129"/>
                  </a:cxn>
                  <a:cxn ang="f121">
                    <a:pos x="f130" y="f131"/>
                  </a:cxn>
                  <a:cxn ang="f121">
                    <a:pos x="f132" y="f133"/>
                  </a:cxn>
                  <a:cxn ang="f121">
                    <a:pos x="f134" y="f135"/>
                  </a:cxn>
                  <a:cxn ang="f121">
                    <a:pos x="f136" y="f137"/>
                  </a:cxn>
                  <a:cxn ang="f121">
                    <a:pos x="f138" y="f139"/>
                  </a:cxn>
                  <a:cxn ang="f121">
                    <a:pos x="f140" y="f141"/>
                  </a:cxn>
                  <a:cxn ang="f121">
                    <a:pos x="f142" y="f143"/>
                  </a:cxn>
                  <a:cxn ang="f121">
                    <a:pos x="f144" y="f145"/>
                  </a:cxn>
                  <a:cxn ang="f121">
                    <a:pos x="f146" y="f147"/>
                  </a:cxn>
                  <a:cxn ang="f121">
                    <a:pos x="f148" y="f149"/>
                  </a:cxn>
                  <a:cxn ang="f121">
                    <a:pos x="f150" y="f151"/>
                  </a:cxn>
                  <a:cxn ang="f121">
                    <a:pos x="f152" y="f153"/>
                  </a:cxn>
                  <a:cxn ang="f121">
                    <a:pos x="f150" y="f154"/>
                  </a:cxn>
                  <a:cxn ang="f121">
                    <a:pos x="f155" y="f156"/>
                  </a:cxn>
                  <a:cxn ang="f121">
                    <a:pos x="f157" y="f158"/>
                  </a:cxn>
                  <a:cxn ang="f121">
                    <a:pos x="f159" y="f160"/>
                  </a:cxn>
                  <a:cxn ang="f121">
                    <a:pos x="f161" y="f162"/>
                  </a:cxn>
                  <a:cxn ang="f121">
                    <a:pos x="f163" y="f164"/>
                  </a:cxn>
                  <a:cxn ang="f121">
                    <a:pos x="f165" y="f166"/>
                  </a:cxn>
                  <a:cxn ang="f121">
                    <a:pos x="f128" y="f167"/>
                  </a:cxn>
                  <a:cxn ang="f121">
                    <a:pos x="f168" y="f169"/>
                  </a:cxn>
                  <a:cxn ang="f121">
                    <a:pos x="f130" y="f170"/>
                  </a:cxn>
                  <a:cxn ang="f121">
                    <a:pos x="f130" y="f171"/>
                  </a:cxn>
                  <a:cxn ang="f121">
                    <a:pos x="f172" y="f173"/>
                  </a:cxn>
                  <a:cxn ang="f121">
                    <a:pos x="f174" y="f145"/>
                  </a:cxn>
                  <a:cxn ang="f121">
                    <a:pos x="f175" y="f143"/>
                  </a:cxn>
                  <a:cxn ang="f121">
                    <a:pos x="f176" y="f177"/>
                  </a:cxn>
                  <a:cxn ang="f121">
                    <a:pos x="f122" y="f141"/>
                  </a:cxn>
                  <a:cxn ang="f121">
                    <a:pos x="f178" y="f179"/>
                  </a:cxn>
                  <a:cxn ang="f121">
                    <a:pos x="f176" y="f133"/>
                  </a:cxn>
                  <a:cxn ang="f121">
                    <a:pos x="f180" y="f129"/>
                  </a:cxn>
                  <a:cxn ang="f121">
                    <a:pos x="f126" y="f125"/>
                  </a:cxn>
                </a:cxnLst>
                <a:rect l="f122" t="f125" r="f123" b="f124"/>
                <a:pathLst>
                  <a:path w="104" h="115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9"/>
                    </a:lnTo>
                    <a:lnTo>
                      <a:pt x="f15" y="f16"/>
                    </a:lnTo>
                    <a:lnTo>
                      <a:pt x="f17" y="f10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17"/>
                    </a:lnTo>
                    <a:lnTo>
                      <a:pt x="f31" y="f32"/>
                    </a:lnTo>
                    <a:lnTo>
                      <a:pt x="f30" y="f33"/>
                    </a:lnTo>
                    <a:lnTo>
                      <a:pt x="f34" y="f28"/>
                    </a:lnTo>
                    <a:lnTo>
                      <a:pt x="f35" y="f36"/>
                    </a:lnTo>
                    <a:lnTo>
                      <a:pt x="f6" y="f7"/>
                    </a:lnTo>
                    <a:lnTo>
                      <a:pt x="f37" y="f38"/>
                    </a:lnTo>
                    <a:lnTo>
                      <a:pt x="f39" y="f22"/>
                    </a:lnTo>
                    <a:lnTo>
                      <a:pt x="f23" y="f40"/>
                    </a:lnTo>
                    <a:lnTo>
                      <a:pt x="f10" y="f18"/>
                    </a:lnTo>
                    <a:lnTo>
                      <a:pt x="f41" y="f42"/>
                    </a:lnTo>
                    <a:lnTo>
                      <a:pt x="f12" y="f43"/>
                    </a:lnTo>
                    <a:lnTo>
                      <a:pt x="f12" y="f44"/>
                    </a:lnTo>
                    <a:lnTo>
                      <a:pt x="f45" y="f46"/>
                    </a:lnTo>
                    <a:lnTo>
                      <a:pt x="f47" y="f25"/>
                    </a:lnTo>
                    <a:lnTo>
                      <a:pt x="f48" y="f23"/>
                    </a:lnTo>
                    <a:lnTo>
                      <a:pt x="f11" y="f49"/>
                    </a:lnTo>
                    <a:lnTo>
                      <a:pt x="f5" y="f21"/>
                    </a:lnTo>
                    <a:lnTo>
                      <a:pt x="f50" y="f51"/>
                    </a:lnTo>
                    <a:lnTo>
                      <a:pt x="f11" y="f9"/>
                    </a:lnTo>
                    <a:lnTo>
                      <a:pt x="f52" y="f11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62" name="Freeform 24">
                <a:extLst>
                  <a:ext uri="{FF2B5EF4-FFF2-40B4-BE49-F238E27FC236}">
                    <a16:creationId xmlns:a16="http://schemas.microsoft.com/office/drawing/2014/main" id="{9205C7AE-FFB3-4E22-B310-385FC7E3076F}"/>
                  </a:ext>
                </a:extLst>
              </p:cNvPr>
              <p:cNvSpPr/>
              <p:nvPr/>
            </p:nvSpPr>
            <p:spPr>
              <a:xfrm>
                <a:off x="4556391" y="2806293"/>
                <a:ext cx="131051" cy="19239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790"/>
                  <a:gd name="f7" fmla="val 1182"/>
                  <a:gd name="f8" fmla="val 555"/>
                  <a:gd name="f9" fmla="val 562"/>
                  <a:gd name="f10" fmla="val 566"/>
                  <a:gd name="f11" fmla="val 3"/>
                  <a:gd name="f12" fmla="val 569"/>
                  <a:gd name="f13" fmla="val 12"/>
                  <a:gd name="f14" fmla="val 572"/>
                  <a:gd name="f15" fmla="val 21"/>
                  <a:gd name="f16" fmla="val 576"/>
                  <a:gd name="f17" fmla="val 28"/>
                  <a:gd name="f18" fmla="val 579"/>
                  <a:gd name="f19" fmla="val 32"/>
                  <a:gd name="f20" fmla="val 584"/>
                  <a:gd name="f21" fmla="val 593"/>
                  <a:gd name="f22" fmla="val 601"/>
                  <a:gd name="f23" fmla="val 23"/>
                  <a:gd name="f24" fmla="val 611"/>
                  <a:gd name="f25" fmla="val 19"/>
                  <a:gd name="f26" fmla="val 619"/>
                  <a:gd name="f27" fmla="val 626"/>
                  <a:gd name="f28" fmla="val 635"/>
                  <a:gd name="f29" fmla="val 27"/>
                  <a:gd name="f30" fmla="val 644"/>
                  <a:gd name="f31" fmla="val 34"/>
                  <a:gd name="f32" fmla="val 651"/>
                  <a:gd name="f33" fmla="val 42"/>
                  <a:gd name="f34" fmla="val 655"/>
                  <a:gd name="f35" fmla="val 49"/>
                  <a:gd name="f36" fmla="val 55"/>
                  <a:gd name="f37" fmla="val 64"/>
                  <a:gd name="f38" fmla="val 645"/>
                  <a:gd name="f39" fmla="val 81"/>
                  <a:gd name="f40" fmla="val 640"/>
                  <a:gd name="f41" fmla="val 100"/>
                  <a:gd name="f42" fmla="val 637"/>
                  <a:gd name="f43" fmla="val 121"/>
                  <a:gd name="f44" fmla="val 141"/>
                  <a:gd name="f45" fmla="val 153"/>
                  <a:gd name="f46" fmla="val 167"/>
                  <a:gd name="f47" fmla="val 649"/>
                  <a:gd name="f48" fmla="val 182"/>
                  <a:gd name="f49" fmla="val 663"/>
                  <a:gd name="f50" fmla="val 210"/>
                  <a:gd name="f51" fmla="val 669"/>
                  <a:gd name="f52" fmla="val 220"/>
                  <a:gd name="f53" fmla="val 674"/>
                  <a:gd name="f54" fmla="val 225"/>
                  <a:gd name="f55" fmla="val 677"/>
                  <a:gd name="f56" fmla="val 227"/>
                  <a:gd name="f57" fmla="val 678"/>
                  <a:gd name="f58" fmla="val 680"/>
                  <a:gd name="f59" fmla="val 222"/>
                  <a:gd name="f60" fmla="val 681"/>
                  <a:gd name="f61" fmla="val 218"/>
                  <a:gd name="f62" fmla="val 685"/>
                  <a:gd name="f63" fmla="val 214"/>
                  <a:gd name="f64" fmla="val 687"/>
                  <a:gd name="f65" fmla="val 211"/>
                  <a:gd name="f66" fmla="val 691"/>
                  <a:gd name="f67" fmla="val 692"/>
                  <a:gd name="f68" fmla="val 695"/>
                  <a:gd name="f69" fmla="val 706"/>
                  <a:gd name="f70" fmla="val 243"/>
                  <a:gd name="f71" fmla="val 709"/>
                  <a:gd name="f72" fmla="val 253"/>
                  <a:gd name="f73" fmla="val 261"/>
                  <a:gd name="f74" fmla="val 705"/>
                  <a:gd name="f75" fmla="val 270"/>
                  <a:gd name="f76" fmla="val 707"/>
                  <a:gd name="f77" fmla="val 282"/>
                  <a:gd name="f78" fmla="val 713"/>
                  <a:gd name="f79" fmla="val 310"/>
                  <a:gd name="f80" fmla="val 714"/>
                  <a:gd name="f81" fmla="val 322"/>
                  <a:gd name="f82" fmla="val 711"/>
                  <a:gd name="f83" fmla="val 338"/>
                  <a:gd name="f84" fmla="val 349"/>
                  <a:gd name="f85" fmla="val 710"/>
                  <a:gd name="f86" fmla="val 358"/>
                  <a:gd name="f87" fmla="val 364"/>
                  <a:gd name="f88" fmla="val 716"/>
                  <a:gd name="f89" fmla="val 368"/>
                  <a:gd name="f90" fmla="val 718"/>
                  <a:gd name="f91" fmla="val 374"/>
                  <a:gd name="f92" fmla="val 381"/>
                  <a:gd name="f93" fmla="val 392"/>
                  <a:gd name="f94" fmla="val 404"/>
                  <a:gd name="f95" fmla="val 703"/>
                  <a:gd name="f96" fmla="val 411"/>
                  <a:gd name="f97" fmla="val 699"/>
                  <a:gd name="f98" fmla="val 417"/>
                  <a:gd name="f99" fmla="val 696"/>
                  <a:gd name="f100" fmla="val 422"/>
                  <a:gd name="f101" fmla="val 430"/>
                  <a:gd name="f102" fmla="val 689"/>
                  <a:gd name="f103" fmla="val 455"/>
                  <a:gd name="f104" fmla="val 467"/>
                  <a:gd name="f105" fmla="val 475"/>
                  <a:gd name="f106" fmla="val 480"/>
                  <a:gd name="f107" fmla="val 487"/>
                  <a:gd name="f108" fmla="val 682"/>
                  <a:gd name="f109" fmla="val 496"/>
                  <a:gd name="f110" fmla="val 688"/>
                  <a:gd name="f111" fmla="val 505"/>
                  <a:gd name="f112" fmla="val 694"/>
                  <a:gd name="f113" fmla="val 514"/>
                  <a:gd name="f114" fmla="val 523"/>
                  <a:gd name="f115" fmla="val 702"/>
                  <a:gd name="f116" fmla="val 539"/>
                  <a:gd name="f117" fmla="val 582"/>
                  <a:gd name="f118" fmla="val 589"/>
                  <a:gd name="f119" fmla="val 594"/>
                  <a:gd name="f120" fmla="val 721"/>
                  <a:gd name="f121" fmla="val 600"/>
                  <a:gd name="f122" fmla="val 732"/>
                  <a:gd name="f123" fmla="val 609"/>
                  <a:gd name="f124" fmla="val 746"/>
                  <a:gd name="f125" fmla="val 625"/>
                  <a:gd name="f126" fmla="val 760"/>
                  <a:gd name="f127" fmla="val 641"/>
                  <a:gd name="f128" fmla="val 775"/>
                  <a:gd name="f129" fmla="val 654"/>
                  <a:gd name="f130" fmla="val 665"/>
                  <a:gd name="f131" fmla="val 778"/>
                  <a:gd name="f132" fmla="val 670"/>
                  <a:gd name="f133" fmla="val 768"/>
                  <a:gd name="f134" fmla="val 761"/>
                  <a:gd name="f135" fmla="val 683"/>
                  <a:gd name="f136" fmla="val 754"/>
                  <a:gd name="f137" fmla="val 727"/>
                  <a:gd name="f138" fmla="val 736"/>
                  <a:gd name="f139" fmla="val 741"/>
                  <a:gd name="f140" fmla="val 745"/>
                  <a:gd name="f141" fmla="val 765"/>
                  <a:gd name="f142" fmla="val 801"/>
                  <a:gd name="f143" fmla="val 808"/>
                  <a:gd name="f144" fmla="val 700"/>
                  <a:gd name="f145" fmla="val 815"/>
                  <a:gd name="f146" fmla="val 820"/>
                  <a:gd name="f147" fmla="val 676"/>
                  <a:gd name="f148" fmla="val 829"/>
                  <a:gd name="f149" fmla="val 662"/>
                  <a:gd name="f150" fmla="val 835"/>
                  <a:gd name="f151" fmla="val 841"/>
                  <a:gd name="f152" fmla="val 848"/>
                  <a:gd name="f153" fmla="val 852"/>
                  <a:gd name="f154" fmla="val 638"/>
                  <a:gd name="f155" fmla="val 859"/>
                  <a:gd name="f156" fmla="val 867"/>
                  <a:gd name="f157" fmla="val 878"/>
                  <a:gd name="f158" fmla="val 656"/>
                  <a:gd name="f159" fmla="val 891"/>
                  <a:gd name="f160" fmla="val 902"/>
                  <a:gd name="f161" fmla="val 912"/>
                  <a:gd name="f162" fmla="val 919"/>
                  <a:gd name="f163" fmla="val 658"/>
                  <a:gd name="f164" fmla="val 926"/>
                  <a:gd name="f165" fmla="val 934"/>
                  <a:gd name="f166" fmla="val 642"/>
                  <a:gd name="f167" fmla="val 944"/>
                  <a:gd name="f168" fmla="val 952"/>
                  <a:gd name="f169" fmla="val 634"/>
                  <a:gd name="f170" fmla="val 959"/>
                  <a:gd name="f171" fmla="val 964"/>
                  <a:gd name="f172" fmla="val 976"/>
                  <a:gd name="f173" fmla="val 983"/>
                  <a:gd name="f174" fmla="val 647"/>
                  <a:gd name="f175" fmla="val 995"/>
                  <a:gd name="f176" fmla="val 1005"/>
                  <a:gd name="f177" fmla="val 1013"/>
                  <a:gd name="f178" fmla="val 666"/>
                  <a:gd name="f179" fmla="val 1020"/>
                  <a:gd name="f180" fmla="val 1024"/>
                  <a:gd name="f181" fmla="val 1028"/>
                  <a:gd name="f182" fmla="val 1034"/>
                  <a:gd name="f183" fmla="val 1044"/>
                  <a:gd name="f184" fmla="val 1055"/>
                  <a:gd name="f185" fmla="val 1066"/>
                  <a:gd name="f186" fmla="val 1077"/>
                  <a:gd name="f187" fmla="val 1087"/>
                  <a:gd name="f188" fmla="val 1095"/>
                  <a:gd name="f189" fmla="val 1102"/>
                  <a:gd name="f190" fmla="val 1112"/>
                  <a:gd name="f191" fmla="val 684"/>
                  <a:gd name="f192" fmla="val 1123"/>
                  <a:gd name="f193" fmla="val 1134"/>
                  <a:gd name="f194" fmla="val 1145"/>
                  <a:gd name="f195" fmla="val 1153"/>
                  <a:gd name="f196" fmla="val 1167"/>
                  <a:gd name="f197" fmla="val 1175"/>
                  <a:gd name="f198" fmla="val 1181"/>
                  <a:gd name="f199" fmla="val 633"/>
                  <a:gd name="f200" fmla="val 1170"/>
                  <a:gd name="f201" fmla="val 631"/>
                  <a:gd name="f202" fmla="val 1166"/>
                  <a:gd name="f203" fmla="val 630"/>
                  <a:gd name="f204" fmla="val 1164"/>
                  <a:gd name="f205" fmla="val 629"/>
                  <a:gd name="f206" fmla="val 1161"/>
                  <a:gd name="f207" fmla="val 605"/>
                  <a:gd name="f208" fmla="val 1173"/>
                  <a:gd name="f209" fmla="val 1171"/>
                  <a:gd name="f210" fmla="val 597"/>
                  <a:gd name="f211" fmla="val 1155"/>
                  <a:gd name="f212" fmla="val 591"/>
                  <a:gd name="f213" fmla="val 1150"/>
                  <a:gd name="f214" fmla="val 586"/>
                  <a:gd name="f215" fmla="val 1149"/>
                  <a:gd name="f216" fmla="val 554"/>
                  <a:gd name="f217" fmla="val 1159"/>
                  <a:gd name="f218" fmla="val 548"/>
                  <a:gd name="f219" fmla="val 546"/>
                  <a:gd name="f220" fmla="val 1148"/>
                  <a:gd name="f221" fmla="val 553"/>
                  <a:gd name="f222" fmla="val 1141"/>
                  <a:gd name="f223" fmla="val 558"/>
                  <a:gd name="f224" fmla="val 1131"/>
                  <a:gd name="f225" fmla="val 561"/>
                  <a:gd name="f226" fmla="val 1118"/>
                  <a:gd name="f227" fmla="val 1103"/>
                  <a:gd name="f228" fmla="val 557"/>
                  <a:gd name="f229" fmla="val 1085"/>
                  <a:gd name="f230" fmla="val 550"/>
                  <a:gd name="f231" fmla="val 1069"/>
                  <a:gd name="f232" fmla="val 542"/>
                  <a:gd name="f233" fmla="val 1052"/>
                  <a:gd name="f234" fmla="val 535"/>
                  <a:gd name="f235" fmla="val 1039"/>
                  <a:gd name="f236" fmla="val 528"/>
                  <a:gd name="f237" fmla="val 1031"/>
                  <a:gd name="f238" fmla="val 525"/>
                  <a:gd name="f239" fmla="val 1016"/>
                  <a:gd name="f240" fmla="val 526"/>
                  <a:gd name="f241" fmla="val 1006"/>
                  <a:gd name="f242" fmla="val 996"/>
                  <a:gd name="f243" fmla="val 522"/>
                  <a:gd name="f244" fmla="val 988"/>
                  <a:gd name="f245" fmla="val 515"/>
                  <a:gd name="f246" fmla="val 981"/>
                  <a:gd name="f247" fmla="val 484"/>
                  <a:gd name="f248" fmla="val 966"/>
                  <a:gd name="f249" fmla="val 456"/>
                  <a:gd name="f250" fmla="val 948"/>
                  <a:gd name="f251" fmla="val 446"/>
                  <a:gd name="f252" fmla="val 942"/>
                  <a:gd name="f253" fmla="val 437"/>
                  <a:gd name="f254" fmla="val 940"/>
                  <a:gd name="f255" fmla="val 427"/>
                  <a:gd name="f256" fmla="val 938"/>
                  <a:gd name="f257" fmla="val 420"/>
                  <a:gd name="f258" fmla="val 937"/>
                  <a:gd name="f259" fmla="val 416"/>
                  <a:gd name="f260" fmla="val 414"/>
                  <a:gd name="f261" fmla="val 924"/>
                  <a:gd name="f262" fmla="val 421"/>
                  <a:gd name="f263" fmla="val 899"/>
                  <a:gd name="f264" fmla="val 428"/>
                  <a:gd name="f265" fmla="val 890"/>
                  <a:gd name="f266" fmla="val 881"/>
                  <a:gd name="f267" fmla="val 448"/>
                  <a:gd name="f268" fmla="val 873"/>
                  <a:gd name="f269" fmla="val 865"/>
                  <a:gd name="f270" fmla="val 459"/>
                  <a:gd name="f271" fmla="val 855"/>
                  <a:gd name="f272" fmla="val 463"/>
                  <a:gd name="f273" fmla="val 471"/>
                  <a:gd name="f274" fmla="val 478"/>
                  <a:gd name="f275" fmla="val 482"/>
                  <a:gd name="f276" fmla="val 481"/>
                  <a:gd name="f277" fmla="val 477"/>
                  <a:gd name="f278" fmla="val 811"/>
                  <a:gd name="f279" fmla="val 798"/>
                  <a:gd name="f280" fmla="val 464"/>
                  <a:gd name="f281" fmla="val 787"/>
                  <a:gd name="f282" fmla="val 777"/>
                  <a:gd name="f283" fmla="val 450"/>
                  <a:gd name="f284" fmla="val 772"/>
                  <a:gd name="f285" fmla="val 443"/>
                  <a:gd name="f286" fmla="val 780"/>
                  <a:gd name="f287" fmla="val 781"/>
                  <a:gd name="f288" fmla="val 408"/>
                  <a:gd name="f289" fmla="val 399"/>
                  <a:gd name="f290" fmla="val 391"/>
                  <a:gd name="f291" fmla="val 396"/>
                  <a:gd name="f292" fmla="val 403"/>
                  <a:gd name="f293" fmla="val 738"/>
                  <a:gd name="f294" fmla="val 410"/>
                  <a:gd name="f295" fmla="val 733"/>
                  <a:gd name="f296" fmla="val 729"/>
                  <a:gd name="f297" fmla="val 715"/>
                  <a:gd name="f298" fmla="val 701"/>
                  <a:gd name="f299" fmla="val 466"/>
                  <a:gd name="f300" fmla="val 468"/>
                  <a:gd name="f301" fmla="val 461"/>
                  <a:gd name="f302" fmla="val 457"/>
                  <a:gd name="f303" fmla="val 668"/>
                  <a:gd name="f304" fmla="val 442"/>
                  <a:gd name="f305" fmla="val 432"/>
                  <a:gd name="f306" fmla="val 672"/>
                  <a:gd name="f307" fmla="val 675"/>
                  <a:gd name="f308" fmla="val 424"/>
                  <a:gd name="f309" fmla="val 419"/>
                  <a:gd name="f310" fmla="val 394"/>
                  <a:gd name="f311" fmla="val 384"/>
                  <a:gd name="f312" fmla="val 366"/>
                  <a:gd name="f313" fmla="val 363"/>
                  <a:gd name="f314" fmla="val 723"/>
                  <a:gd name="f315" fmla="val 361"/>
                  <a:gd name="f316" fmla="val 352"/>
                  <a:gd name="f317" fmla="val 743"/>
                  <a:gd name="f318" fmla="val 343"/>
                  <a:gd name="f319" fmla="val 333"/>
                  <a:gd name="f320" fmla="val 762"/>
                  <a:gd name="f321" fmla="val 327"/>
                  <a:gd name="f322" fmla="val 770"/>
                  <a:gd name="f323" fmla="val 323"/>
                  <a:gd name="f324" fmla="val 779"/>
                  <a:gd name="f325" fmla="val 320"/>
                  <a:gd name="f326" fmla="val 309"/>
                  <a:gd name="f327" fmla="val 773"/>
                  <a:gd name="f328" fmla="val 305"/>
                  <a:gd name="f329" fmla="val 766"/>
                  <a:gd name="f330" fmla="val 303"/>
                  <a:gd name="f331" fmla="val 301"/>
                  <a:gd name="f332" fmla="val 758"/>
                  <a:gd name="f333" fmla="val 296"/>
                  <a:gd name="f334" fmla="val 756"/>
                  <a:gd name="f335" fmla="val 287"/>
                  <a:gd name="f336" fmla="val 755"/>
                  <a:gd name="f337" fmla="val 752"/>
                  <a:gd name="f338" fmla="val 276"/>
                  <a:gd name="f339" fmla="val 748"/>
                  <a:gd name="f340" fmla="val 267"/>
                  <a:gd name="f341" fmla="val 747"/>
                  <a:gd name="f342" fmla="val 254"/>
                  <a:gd name="f343" fmla="val 245"/>
                  <a:gd name="f344" fmla="val 749"/>
                  <a:gd name="f345" fmla="val 236"/>
                  <a:gd name="f346" fmla="val 231"/>
                  <a:gd name="f347" fmla="val 744"/>
                  <a:gd name="f348" fmla="val 228"/>
                  <a:gd name="f349" fmla="val 734"/>
                  <a:gd name="f350" fmla="val 726"/>
                  <a:gd name="f351" fmla="val 719"/>
                  <a:gd name="f352" fmla="val 217"/>
                  <a:gd name="f353" fmla="val 215"/>
                  <a:gd name="f354" fmla="val 686"/>
                  <a:gd name="f355" fmla="val 202"/>
                  <a:gd name="f356" fmla="val 673"/>
                  <a:gd name="f357" fmla="val 191"/>
                  <a:gd name="f358" fmla="val 173"/>
                  <a:gd name="f359" fmla="val 169"/>
                  <a:gd name="f360" fmla="val 162"/>
                  <a:gd name="f361" fmla="val 612"/>
                  <a:gd name="f362" fmla="val 598"/>
                  <a:gd name="f363" fmla="val 123"/>
                  <a:gd name="f364" fmla="val 105"/>
                  <a:gd name="f365" fmla="val 88"/>
                  <a:gd name="f366" fmla="val 580"/>
                  <a:gd name="f367" fmla="val 76"/>
                  <a:gd name="f368" fmla="val 573"/>
                  <a:gd name="f369" fmla="val 68"/>
                  <a:gd name="f370" fmla="val 66"/>
                  <a:gd name="f371" fmla="val 559"/>
                  <a:gd name="f372" fmla="val 70"/>
                  <a:gd name="f373" fmla="val 551"/>
                  <a:gd name="f374" fmla="val 73"/>
                  <a:gd name="f375" fmla="val 69"/>
                  <a:gd name="f376" fmla="val 61"/>
                  <a:gd name="f377" fmla="val 511"/>
                  <a:gd name="f378" fmla="val 498"/>
                  <a:gd name="f379" fmla="val 54"/>
                  <a:gd name="f380" fmla="val 490"/>
                  <a:gd name="f381" fmla="val 485"/>
                  <a:gd name="f382" fmla="val 72"/>
                  <a:gd name="f383" fmla="val 451"/>
                  <a:gd name="f384" fmla="val 77"/>
                  <a:gd name="f385" fmla="val 439"/>
                  <a:gd name="f386" fmla="val 79"/>
                  <a:gd name="f387" fmla="val 80"/>
                  <a:gd name="f388" fmla="val 418"/>
                  <a:gd name="f389" fmla="val 83"/>
                  <a:gd name="f390" fmla="val 87"/>
                  <a:gd name="f391" fmla="val 386"/>
                  <a:gd name="f392" fmla="val 90"/>
                  <a:gd name="f393" fmla="val 93"/>
                  <a:gd name="f394" fmla="val 354"/>
                  <a:gd name="f395" fmla="val 344"/>
                  <a:gd name="f396" fmla="val 318"/>
                  <a:gd name="f397" fmla="val 283"/>
                  <a:gd name="f398" fmla="val 256"/>
                  <a:gd name="f399" fmla="val 249"/>
                  <a:gd name="f400" fmla="val 247"/>
                  <a:gd name="f401" fmla="val 46"/>
                  <a:gd name="f402" fmla="val 250"/>
                  <a:gd name="f403" fmla="val 15"/>
                  <a:gd name="f404" fmla="val 258"/>
                  <a:gd name="f405" fmla="val 5"/>
                  <a:gd name="f406" fmla="val 8"/>
                  <a:gd name="f407" fmla="val 235"/>
                  <a:gd name="f408" fmla="val 10"/>
                  <a:gd name="f409" fmla="val 7"/>
                  <a:gd name="f410" fmla="val 209"/>
                  <a:gd name="f411" fmla="val 203"/>
                  <a:gd name="f412" fmla="val 14"/>
                  <a:gd name="f413" fmla="val 199"/>
                  <a:gd name="f414" fmla="val 197"/>
                  <a:gd name="f415" fmla="val 26"/>
                  <a:gd name="f416" fmla="val 33"/>
                  <a:gd name="f417" fmla="val 40"/>
                  <a:gd name="f418" fmla="val 50"/>
                  <a:gd name="f419" fmla="val 200"/>
                  <a:gd name="f420" fmla="val 192"/>
                  <a:gd name="f421" fmla="val 75"/>
                  <a:gd name="f422" fmla="val 179"/>
                  <a:gd name="f423" fmla="val 157"/>
                  <a:gd name="f424" fmla="val 150"/>
                  <a:gd name="f425" fmla="val 99"/>
                  <a:gd name="f426" fmla="val 145"/>
                  <a:gd name="f427" fmla="val 108"/>
                  <a:gd name="f428" fmla="val 142"/>
                  <a:gd name="f429" fmla="val 117"/>
                  <a:gd name="f430" fmla="val 124"/>
                  <a:gd name="f431" fmla="val 139"/>
                  <a:gd name="f432" fmla="val 130"/>
                  <a:gd name="f433" fmla="val 136"/>
                  <a:gd name="f434" fmla="val 133"/>
                  <a:gd name="f435" fmla="val 131"/>
                  <a:gd name="f436" fmla="val 114"/>
                  <a:gd name="f437" fmla="val 107"/>
                  <a:gd name="f438" fmla="val 134"/>
                  <a:gd name="f439" fmla="val 98"/>
                  <a:gd name="f440" fmla="val 78"/>
                  <a:gd name="f441" fmla="val 151"/>
                  <a:gd name="f442" fmla="val 71"/>
                  <a:gd name="f443" fmla="val 177"/>
                  <a:gd name="f444" fmla="val 188"/>
                  <a:gd name="f445" fmla="val 67"/>
                  <a:gd name="f446" fmla="val 221"/>
                  <a:gd name="f447" fmla="val 82"/>
                  <a:gd name="f448" fmla="val 233"/>
                  <a:gd name="f449" fmla="val 239"/>
                  <a:gd name="f450" fmla="val 240"/>
                  <a:gd name="f451" fmla="val 242"/>
                  <a:gd name="f452" fmla="val 86"/>
                  <a:gd name="f453" fmla="val 89"/>
                  <a:gd name="f454" fmla="val 246"/>
                  <a:gd name="f455" fmla="val 92"/>
                  <a:gd name="f456" fmla="val 251"/>
                  <a:gd name="f457" fmla="val 260"/>
                  <a:gd name="f458" fmla="val 271"/>
                  <a:gd name="f459" fmla="val 279"/>
                  <a:gd name="f460" fmla="val 285"/>
                  <a:gd name="f461" fmla="val 290"/>
                  <a:gd name="f462" fmla="val 308"/>
                  <a:gd name="f463" fmla="val 311"/>
                  <a:gd name="f464" fmla="val 314"/>
                  <a:gd name="f465" fmla="val 315"/>
                  <a:gd name="f466" fmla="val 329"/>
                  <a:gd name="f467" fmla="val 359"/>
                  <a:gd name="f468" fmla="val 74"/>
                  <a:gd name="f469" fmla="val 370"/>
                  <a:gd name="f470" fmla="val 379"/>
                  <a:gd name="f471" fmla="val 383"/>
                  <a:gd name="f472" fmla="val 390"/>
                  <a:gd name="f473" fmla="val 398"/>
                  <a:gd name="f474" fmla="val 434"/>
                  <a:gd name="f475" fmla="val 449"/>
                  <a:gd name="f476" fmla="val 486"/>
                  <a:gd name="f477" fmla="val 503"/>
                  <a:gd name="f478" fmla="val 518"/>
                  <a:gd name="f479" fmla="val 57"/>
                  <a:gd name="f480" fmla="val 52"/>
                  <a:gd name="f481" fmla="val 530"/>
                  <a:gd name="f482" fmla="val 48"/>
                  <a:gd name="f483" fmla="val 529"/>
                  <a:gd name="f484" fmla="val 533"/>
                  <a:gd name="f485" fmla="val 17"/>
                  <a:gd name="f486" fmla="val 540"/>
                  <a:gd name="f487" fmla="val 6"/>
                  <a:gd name="f488" fmla="+- 0 0 -90"/>
                  <a:gd name="f489" fmla="*/ f3 1 790"/>
                  <a:gd name="f490" fmla="*/ f4 1 1182"/>
                  <a:gd name="f491" fmla="+- f7 0 f5"/>
                  <a:gd name="f492" fmla="+- f6 0 f5"/>
                  <a:gd name="f493" fmla="*/ f488 f0 1"/>
                  <a:gd name="f494" fmla="*/ f492 1 790"/>
                  <a:gd name="f495" fmla="*/ f491 1 1182"/>
                  <a:gd name="f496" fmla="*/ f493 1 f2"/>
                  <a:gd name="f497" fmla="*/ 576 1 f494"/>
                  <a:gd name="f498" fmla="*/ 28 1 f495"/>
                  <a:gd name="f499" fmla="*/ 619 1 f494"/>
                  <a:gd name="f500" fmla="*/ 19 1 f495"/>
                  <a:gd name="f501" fmla="*/ 655 1 f494"/>
                  <a:gd name="f502" fmla="*/ 55 1 f495"/>
                  <a:gd name="f503" fmla="*/ 640 1 f494"/>
                  <a:gd name="f504" fmla="*/ 153 1 f495"/>
                  <a:gd name="f505" fmla="*/ 677 1 f494"/>
                  <a:gd name="f506" fmla="*/ 227 1 f495"/>
                  <a:gd name="f507" fmla="*/ 691 1 f494"/>
                  <a:gd name="f508" fmla="*/ 211 1 f495"/>
                  <a:gd name="f509" fmla="*/ 705 1 f494"/>
                  <a:gd name="f510" fmla="*/ 270 1 f495"/>
                  <a:gd name="f511" fmla="*/ 710 1 f494"/>
                  <a:gd name="f512" fmla="*/ 358 1 f495"/>
                  <a:gd name="f513" fmla="*/ 707 1 f494"/>
                  <a:gd name="f514" fmla="*/ 404 1 f495"/>
                  <a:gd name="f515" fmla="*/ 687 1 f494"/>
                  <a:gd name="f516" fmla="*/ 467 1 f495"/>
                  <a:gd name="f517" fmla="*/ 694 1 f494"/>
                  <a:gd name="f518" fmla="*/ 514 1 f495"/>
                  <a:gd name="f519" fmla="*/ 713 1 f494"/>
                  <a:gd name="f520" fmla="*/ 594 1 f495"/>
                  <a:gd name="f521" fmla="*/ 790 1 f494"/>
                  <a:gd name="f522" fmla="*/ 665 1 f495"/>
                  <a:gd name="f523" fmla="*/ 727 1 f494"/>
                  <a:gd name="f524" fmla="*/ 727 1 f495"/>
                  <a:gd name="f525" fmla="*/ 714 1 f494"/>
                  <a:gd name="f526" fmla="*/ 790 1 f495"/>
                  <a:gd name="f527" fmla="*/ 662 1 f494"/>
                  <a:gd name="f528" fmla="*/ 835 1 f495"/>
                  <a:gd name="f529" fmla="*/ 649 1 f494"/>
                  <a:gd name="f530" fmla="*/ 878 1 f495"/>
                  <a:gd name="f531" fmla="*/ 651 1 f494"/>
                  <a:gd name="f532" fmla="*/ 934 1 f495"/>
                  <a:gd name="f533" fmla="*/ 645 1 f494"/>
                  <a:gd name="f534" fmla="*/ 983 1 f495"/>
                  <a:gd name="f535" fmla="*/ 1028 1 f495"/>
                  <a:gd name="f536" fmla="*/ 703 1 f494"/>
                  <a:gd name="f537" fmla="*/ 1087 1 f495"/>
                  <a:gd name="f538" fmla="*/ 674 1 f494"/>
                  <a:gd name="f539" fmla="*/ 1145 1 f495"/>
                  <a:gd name="f540" fmla="*/ 641 1 f494"/>
                  <a:gd name="f541" fmla="*/ 1181 1 f495"/>
                  <a:gd name="f542" fmla="*/ 626 1 f494"/>
                  <a:gd name="f543" fmla="*/ 1161 1 f495"/>
                  <a:gd name="f544" fmla="*/ 591 1 f494"/>
                  <a:gd name="f545" fmla="*/ 1150 1 f495"/>
                  <a:gd name="f546" fmla="*/ 548 1 f494"/>
                  <a:gd name="f547" fmla="*/ 1148 1 f495"/>
                  <a:gd name="f548" fmla="*/ 550 1 f494"/>
                  <a:gd name="f549" fmla="*/ 1069 1 f495"/>
                  <a:gd name="f550" fmla="*/ 526 1 f494"/>
                  <a:gd name="f551" fmla="*/ 1006 1 f495"/>
                  <a:gd name="f552" fmla="*/ 446 1 f494"/>
                  <a:gd name="f553" fmla="*/ 942 1 f495"/>
                  <a:gd name="f554" fmla="*/ 417 1 f494"/>
                  <a:gd name="f555" fmla="*/ 912 1 f495"/>
                  <a:gd name="f556" fmla="*/ 459 1 f494"/>
                  <a:gd name="f557" fmla="*/ 855 1 f495"/>
                  <a:gd name="f558" fmla="*/ 477 1 f494"/>
                  <a:gd name="f559" fmla="*/ 811 1 f495"/>
                  <a:gd name="f560" fmla="*/ 427 1 f494"/>
                  <a:gd name="f561" fmla="*/ 780 1 f495"/>
                  <a:gd name="f562" fmla="*/ 403 1 f494"/>
                  <a:gd name="f563" fmla="*/ 745 1 f495"/>
                  <a:gd name="f564" fmla="*/ 466 1 f494"/>
                  <a:gd name="f565" fmla="*/ 695 1 f495"/>
                  <a:gd name="f566" fmla="*/ 450 1 f494"/>
                  <a:gd name="f567" fmla="*/ 668 1 f495"/>
                  <a:gd name="f568" fmla="*/ 419 1 f494"/>
                  <a:gd name="f569" fmla="*/ 700 1 f495"/>
                  <a:gd name="f570" fmla="*/ 363 1 f494"/>
                  <a:gd name="f571" fmla="*/ 723 1 f495"/>
                  <a:gd name="f572" fmla="*/ 323 1 f494"/>
                  <a:gd name="f573" fmla="*/ 779 1 f495"/>
                  <a:gd name="f574" fmla="*/ 296 1 f494"/>
                  <a:gd name="f575" fmla="*/ 756 1 f495"/>
                  <a:gd name="f576" fmla="*/ 245 1 f494"/>
                  <a:gd name="f577" fmla="*/ 749 1 f495"/>
                  <a:gd name="f578" fmla="*/ 217 1 f494"/>
                  <a:gd name="f579" fmla="*/ 711 1 f495"/>
                  <a:gd name="f580" fmla="*/ 191 1 f494"/>
                  <a:gd name="f581" fmla="*/ 662 1 f495"/>
                  <a:gd name="f582" fmla="*/ 141 1 f494"/>
                  <a:gd name="f583" fmla="*/ 598 1 f495"/>
                  <a:gd name="f584" fmla="*/ 66 1 f494"/>
                  <a:gd name="f585" fmla="*/ 559 1 f495"/>
                  <a:gd name="f586" fmla="*/ 61 1 f494"/>
                  <a:gd name="f587" fmla="*/ 511 1 f495"/>
                  <a:gd name="f588" fmla="*/ 79 1 f494"/>
                  <a:gd name="f589" fmla="*/ 428 1 f495"/>
                  <a:gd name="f590" fmla="*/ 93 1 f494"/>
                  <a:gd name="f591" fmla="*/ 344 1 f495"/>
                  <a:gd name="f592" fmla="*/ 72 1 f494"/>
                  <a:gd name="f593" fmla="*/ 256 1 f495"/>
                  <a:gd name="f594" fmla="*/ 0 1 f494"/>
                  <a:gd name="f595" fmla="*/ 261 1 f495"/>
                  <a:gd name="f596" fmla="*/ 5 1 f494"/>
                  <a:gd name="f597" fmla="*/ 209 1 f495"/>
                  <a:gd name="f598" fmla="*/ 40 1 f494"/>
                  <a:gd name="f599" fmla="*/ 203 1 f495"/>
                  <a:gd name="f600" fmla="*/ 150 1 f495"/>
                  <a:gd name="f601" fmla="*/ 133 1 f494"/>
                  <a:gd name="f602" fmla="*/ 131 1 f495"/>
                  <a:gd name="f603" fmla="*/ 151 1 f494"/>
                  <a:gd name="f604" fmla="*/ 71 1 f495"/>
                  <a:gd name="f605" fmla="*/ 215 1 f494"/>
                  <a:gd name="f606" fmla="*/ 81 1 f495"/>
                  <a:gd name="f607" fmla="*/ 242 1 f494"/>
                  <a:gd name="f608" fmla="*/ 86 1 f495"/>
                  <a:gd name="f609" fmla="*/ 279 1 f494"/>
                  <a:gd name="f610" fmla="*/ 80 1 f495"/>
                  <a:gd name="f611" fmla="*/ 311 1 f494"/>
                  <a:gd name="f612" fmla="*/ 77 1 f495"/>
                  <a:gd name="f613" fmla="*/ 359 1 f494"/>
                  <a:gd name="f614" fmla="*/ 74 1 f495"/>
                  <a:gd name="f615" fmla="*/ 408 1 f494"/>
                  <a:gd name="f616" fmla="*/ 89 1 f495"/>
                  <a:gd name="f617" fmla="*/ 503 1 f494"/>
                  <a:gd name="f618" fmla="*/ 64 1 f495"/>
                  <a:gd name="f619" fmla="*/ 533 1 f494"/>
                  <a:gd name="f620" fmla="*/ 17 1 f495"/>
                  <a:gd name="f621" fmla="*/ f6 1 f494"/>
                  <a:gd name="f622" fmla="*/ 0 1 f495"/>
                  <a:gd name="f623" fmla="*/ f7 1 f495"/>
                  <a:gd name="f624" fmla="+- f496 0 f1"/>
                  <a:gd name="f625" fmla="*/ f594 f489 1"/>
                  <a:gd name="f626" fmla="*/ f621 f489 1"/>
                  <a:gd name="f627" fmla="*/ f623 f490 1"/>
                  <a:gd name="f628" fmla="*/ f622 f490 1"/>
                  <a:gd name="f629" fmla="*/ f497 f489 1"/>
                  <a:gd name="f630" fmla="*/ f498 f490 1"/>
                  <a:gd name="f631" fmla="*/ f499 f489 1"/>
                  <a:gd name="f632" fmla="*/ f500 f490 1"/>
                  <a:gd name="f633" fmla="*/ f501 f489 1"/>
                  <a:gd name="f634" fmla="*/ f502 f490 1"/>
                  <a:gd name="f635" fmla="*/ f503 f489 1"/>
                  <a:gd name="f636" fmla="*/ f504 f490 1"/>
                  <a:gd name="f637" fmla="*/ f505 f489 1"/>
                  <a:gd name="f638" fmla="*/ f506 f490 1"/>
                  <a:gd name="f639" fmla="*/ f507 f489 1"/>
                  <a:gd name="f640" fmla="*/ f508 f490 1"/>
                  <a:gd name="f641" fmla="*/ f509 f489 1"/>
                  <a:gd name="f642" fmla="*/ f510 f490 1"/>
                  <a:gd name="f643" fmla="*/ f511 f489 1"/>
                  <a:gd name="f644" fmla="*/ f512 f490 1"/>
                  <a:gd name="f645" fmla="*/ f513 f489 1"/>
                  <a:gd name="f646" fmla="*/ f514 f490 1"/>
                  <a:gd name="f647" fmla="*/ f515 f489 1"/>
                  <a:gd name="f648" fmla="*/ f516 f490 1"/>
                  <a:gd name="f649" fmla="*/ f517 f489 1"/>
                  <a:gd name="f650" fmla="*/ f518 f490 1"/>
                  <a:gd name="f651" fmla="*/ f519 f489 1"/>
                  <a:gd name="f652" fmla="*/ f520 f490 1"/>
                  <a:gd name="f653" fmla="*/ f521 f489 1"/>
                  <a:gd name="f654" fmla="*/ f522 f490 1"/>
                  <a:gd name="f655" fmla="*/ f523 f489 1"/>
                  <a:gd name="f656" fmla="*/ f524 f490 1"/>
                  <a:gd name="f657" fmla="*/ f525 f489 1"/>
                  <a:gd name="f658" fmla="*/ f526 f490 1"/>
                  <a:gd name="f659" fmla="*/ f527 f489 1"/>
                  <a:gd name="f660" fmla="*/ f528 f490 1"/>
                  <a:gd name="f661" fmla="*/ f529 f489 1"/>
                  <a:gd name="f662" fmla="*/ f530 f490 1"/>
                  <a:gd name="f663" fmla="*/ f531 f489 1"/>
                  <a:gd name="f664" fmla="*/ f532 f490 1"/>
                  <a:gd name="f665" fmla="*/ f533 f489 1"/>
                  <a:gd name="f666" fmla="*/ f534 f490 1"/>
                  <a:gd name="f667" fmla="*/ f535 f490 1"/>
                  <a:gd name="f668" fmla="*/ f536 f489 1"/>
                  <a:gd name="f669" fmla="*/ f537 f490 1"/>
                  <a:gd name="f670" fmla="*/ f538 f489 1"/>
                  <a:gd name="f671" fmla="*/ f539 f490 1"/>
                  <a:gd name="f672" fmla="*/ f540 f489 1"/>
                  <a:gd name="f673" fmla="*/ f541 f490 1"/>
                  <a:gd name="f674" fmla="*/ f542 f489 1"/>
                  <a:gd name="f675" fmla="*/ f543 f490 1"/>
                  <a:gd name="f676" fmla="*/ f544 f489 1"/>
                  <a:gd name="f677" fmla="*/ f545 f490 1"/>
                  <a:gd name="f678" fmla="*/ f546 f489 1"/>
                  <a:gd name="f679" fmla="*/ f547 f490 1"/>
                  <a:gd name="f680" fmla="*/ f548 f489 1"/>
                  <a:gd name="f681" fmla="*/ f549 f490 1"/>
                  <a:gd name="f682" fmla="*/ f550 f489 1"/>
                  <a:gd name="f683" fmla="*/ f551 f490 1"/>
                  <a:gd name="f684" fmla="*/ f552 f489 1"/>
                  <a:gd name="f685" fmla="*/ f553 f490 1"/>
                  <a:gd name="f686" fmla="*/ f554 f489 1"/>
                  <a:gd name="f687" fmla="*/ f555 f490 1"/>
                  <a:gd name="f688" fmla="*/ f556 f489 1"/>
                  <a:gd name="f689" fmla="*/ f557 f490 1"/>
                  <a:gd name="f690" fmla="*/ f558 f489 1"/>
                  <a:gd name="f691" fmla="*/ f559 f490 1"/>
                  <a:gd name="f692" fmla="*/ f560 f489 1"/>
                  <a:gd name="f693" fmla="*/ f561 f490 1"/>
                  <a:gd name="f694" fmla="*/ f562 f489 1"/>
                  <a:gd name="f695" fmla="*/ f563 f490 1"/>
                  <a:gd name="f696" fmla="*/ f564 f489 1"/>
                  <a:gd name="f697" fmla="*/ f565 f490 1"/>
                  <a:gd name="f698" fmla="*/ f566 f489 1"/>
                  <a:gd name="f699" fmla="*/ f567 f490 1"/>
                  <a:gd name="f700" fmla="*/ f568 f489 1"/>
                  <a:gd name="f701" fmla="*/ f569 f490 1"/>
                  <a:gd name="f702" fmla="*/ f570 f489 1"/>
                  <a:gd name="f703" fmla="*/ f571 f490 1"/>
                  <a:gd name="f704" fmla="*/ f572 f489 1"/>
                  <a:gd name="f705" fmla="*/ f573 f490 1"/>
                  <a:gd name="f706" fmla="*/ f574 f489 1"/>
                  <a:gd name="f707" fmla="*/ f575 f490 1"/>
                  <a:gd name="f708" fmla="*/ f576 f489 1"/>
                  <a:gd name="f709" fmla="*/ f577 f490 1"/>
                  <a:gd name="f710" fmla="*/ f578 f489 1"/>
                  <a:gd name="f711" fmla="*/ f579 f490 1"/>
                  <a:gd name="f712" fmla="*/ f580 f489 1"/>
                  <a:gd name="f713" fmla="*/ f581 f490 1"/>
                  <a:gd name="f714" fmla="*/ f582 f489 1"/>
                  <a:gd name="f715" fmla="*/ f583 f490 1"/>
                  <a:gd name="f716" fmla="*/ f584 f489 1"/>
                  <a:gd name="f717" fmla="*/ f585 f490 1"/>
                  <a:gd name="f718" fmla="*/ f586 f489 1"/>
                  <a:gd name="f719" fmla="*/ f587 f490 1"/>
                  <a:gd name="f720" fmla="*/ f588 f489 1"/>
                  <a:gd name="f721" fmla="*/ f589 f490 1"/>
                  <a:gd name="f722" fmla="*/ f590 f489 1"/>
                  <a:gd name="f723" fmla="*/ f591 f490 1"/>
                  <a:gd name="f724" fmla="*/ f592 f489 1"/>
                  <a:gd name="f725" fmla="*/ f593 f490 1"/>
                  <a:gd name="f726" fmla="*/ f595 f490 1"/>
                  <a:gd name="f727" fmla="*/ f596 f489 1"/>
                  <a:gd name="f728" fmla="*/ f597 f490 1"/>
                  <a:gd name="f729" fmla="*/ f598 f489 1"/>
                  <a:gd name="f730" fmla="*/ f599 f490 1"/>
                  <a:gd name="f731" fmla="*/ f600 f490 1"/>
                  <a:gd name="f732" fmla="*/ f601 f489 1"/>
                  <a:gd name="f733" fmla="*/ f602 f490 1"/>
                  <a:gd name="f734" fmla="*/ f603 f489 1"/>
                  <a:gd name="f735" fmla="*/ f604 f490 1"/>
                  <a:gd name="f736" fmla="*/ f605 f489 1"/>
                  <a:gd name="f737" fmla="*/ f606 f490 1"/>
                  <a:gd name="f738" fmla="*/ f607 f489 1"/>
                  <a:gd name="f739" fmla="*/ f608 f490 1"/>
                  <a:gd name="f740" fmla="*/ f609 f489 1"/>
                  <a:gd name="f741" fmla="*/ f610 f490 1"/>
                  <a:gd name="f742" fmla="*/ f611 f489 1"/>
                  <a:gd name="f743" fmla="*/ f612 f490 1"/>
                  <a:gd name="f744" fmla="*/ f613 f489 1"/>
                  <a:gd name="f745" fmla="*/ f614 f490 1"/>
                  <a:gd name="f746" fmla="*/ f615 f489 1"/>
                  <a:gd name="f747" fmla="*/ f616 f490 1"/>
                  <a:gd name="f748" fmla="*/ f617 f489 1"/>
                  <a:gd name="f749" fmla="*/ f618 f490 1"/>
                  <a:gd name="f750" fmla="*/ f619 f489 1"/>
                  <a:gd name="f751" fmla="*/ f620 f49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24">
                    <a:pos x="f629" y="f630"/>
                  </a:cxn>
                  <a:cxn ang="f624">
                    <a:pos x="f631" y="f632"/>
                  </a:cxn>
                  <a:cxn ang="f624">
                    <a:pos x="f633" y="f634"/>
                  </a:cxn>
                  <a:cxn ang="f624">
                    <a:pos x="f635" y="f636"/>
                  </a:cxn>
                  <a:cxn ang="f624">
                    <a:pos x="f637" y="f638"/>
                  </a:cxn>
                  <a:cxn ang="f624">
                    <a:pos x="f639" y="f640"/>
                  </a:cxn>
                  <a:cxn ang="f624">
                    <a:pos x="f641" y="f642"/>
                  </a:cxn>
                  <a:cxn ang="f624">
                    <a:pos x="f643" y="f644"/>
                  </a:cxn>
                  <a:cxn ang="f624">
                    <a:pos x="f645" y="f646"/>
                  </a:cxn>
                  <a:cxn ang="f624">
                    <a:pos x="f647" y="f648"/>
                  </a:cxn>
                  <a:cxn ang="f624">
                    <a:pos x="f649" y="f650"/>
                  </a:cxn>
                  <a:cxn ang="f624">
                    <a:pos x="f651" y="f652"/>
                  </a:cxn>
                  <a:cxn ang="f624">
                    <a:pos x="f653" y="f654"/>
                  </a:cxn>
                  <a:cxn ang="f624">
                    <a:pos x="f655" y="f656"/>
                  </a:cxn>
                  <a:cxn ang="f624">
                    <a:pos x="f657" y="f658"/>
                  </a:cxn>
                  <a:cxn ang="f624">
                    <a:pos x="f659" y="f660"/>
                  </a:cxn>
                  <a:cxn ang="f624">
                    <a:pos x="f661" y="f662"/>
                  </a:cxn>
                  <a:cxn ang="f624">
                    <a:pos x="f663" y="f664"/>
                  </a:cxn>
                  <a:cxn ang="f624">
                    <a:pos x="f665" y="f666"/>
                  </a:cxn>
                  <a:cxn ang="f624">
                    <a:pos x="f647" y="f667"/>
                  </a:cxn>
                  <a:cxn ang="f624">
                    <a:pos x="f668" y="f669"/>
                  </a:cxn>
                  <a:cxn ang="f624">
                    <a:pos x="f670" y="f671"/>
                  </a:cxn>
                  <a:cxn ang="f624">
                    <a:pos x="f672" y="f673"/>
                  </a:cxn>
                  <a:cxn ang="f624">
                    <a:pos x="f674" y="f675"/>
                  </a:cxn>
                  <a:cxn ang="f624">
                    <a:pos x="f676" y="f677"/>
                  </a:cxn>
                  <a:cxn ang="f624">
                    <a:pos x="f678" y="f679"/>
                  </a:cxn>
                  <a:cxn ang="f624">
                    <a:pos x="f680" y="f681"/>
                  </a:cxn>
                  <a:cxn ang="f624">
                    <a:pos x="f682" y="f683"/>
                  </a:cxn>
                  <a:cxn ang="f624">
                    <a:pos x="f684" y="f685"/>
                  </a:cxn>
                  <a:cxn ang="f624">
                    <a:pos x="f686" y="f687"/>
                  </a:cxn>
                  <a:cxn ang="f624">
                    <a:pos x="f688" y="f689"/>
                  </a:cxn>
                  <a:cxn ang="f624">
                    <a:pos x="f690" y="f691"/>
                  </a:cxn>
                  <a:cxn ang="f624">
                    <a:pos x="f692" y="f693"/>
                  </a:cxn>
                  <a:cxn ang="f624">
                    <a:pos x="f694" y="f695"/>
                  </a:cxn>
                  <a:cxn ang="f624">
                    <a:pos x="f696" y="f697"/>
                  </a:cxn>
                  <a:cxn ang="f624">
                    <a:pos x="f698" y="f699"/>
                  </a:cxn>
                  <a:cxn ang="f624">
                    <a:pos x="f700" y="f701"/>
                  </a:cxn>
                  <a:cxn ang="f624">
                    <a:pos x="f702" y="f703"/>
                  </a:cxn>
                  <a:cxn ang="f624">
                    <a:pos x="f704" y="f705"/>
                  </a:cxn>
                  <a:cxn ang="f624">
                    <a:pos x="f706" y="f707"/>
                  </a:cxn>
                  <a:cxn ang="f624">
                    <a:pos x="f708" y="f709"/>
                  </a:cxn>
                  <a:cxn ang="f624">
                    <a:pos x="f710" y="f711"/>
                  </a:cxn>
                  <a:cxn ang="f624">
                    <a:pos x="f712" y="f713"/>
                  </a:cxn>
                  <a:cxn ang="f624">
                    <a:pos x="f714" y="f715"/>
                  </a:cxn>
                  <a:cxn ang="f624">
                    <a:pos x="f716" y="f717"/>
                  </a:cxn>
                  <a:cxn ang="f624">
                    <a:pos x="f718" y="f719"/>
                  </a:cxn>
                  <a:cxn ang="f624">
                    <a:pos x="f720" y="f721"/>
                  </a:cxn>
                  <a:cxn ang="f624">
                    <a:pos x="f722" y="f723"/>
                  </a:cxn>
                  <a:cxn ang="f624">
                    <a:pos x="f724" y="f725"/>
                  </a:cxn>
                  <a:cxn ang="f624">
                    <a:pos x="f625" y="f726"/>
                  </a:cxn>
                  <a:cxn ang="f624">
                    <a:pos x="f727" y="f728"/>
                  </a:cxn>
                  <a:cxn ang="f624">
                    <a:pos x="f729" y="f730"/>
                  </a:cxn>
                  <a:cxn ang="f624">
                    <a:pos x="f722" y="f731"/>
                  </a:cxn>
                  <a:cxn ang="f624">
                    <a:pos x="f732" y="f733"/>
                  </a:cxn>
                  <a:cxn ang="f624">
                    <a:pos x="f734" y="f735"/>
                  </a:cxn>
                  <a:cxn ang="f624">
                    <a:pos x="f736" y="f737"/>
                  </a:cxn>
                  <a:cxn ang="f624">
                    <a:pos x="f738" y="f739"/>
                  </a:cxn>
                  <a:cxn ang="f624">
                    <a:pos x="f740" y="f741"/>
                  </a:cxn>
                  <a:cxn ang="f624">
                    <a:pos x="f742" y="f743"/>
                  </a:cxn>
                  <a:cxn ang="f624">
                    <a:pos x="f744" y="f745"/>
                  </a:cxn>
                  <a:cxn ang="f624">
                    <a:pos x="f746" y="f747"/>
                  </a:cxn>
                  <a:cxn ang="f624">
                    <a:pos x="f748" y="f749"/>
                  </a:cxn>
                  <a:cxn ang="f624">
                    <a:pos x="f750" y="f751"/>
                  </a:cxn>
                </a:cxnLst>
                <a:rect l="f625" t="f628" r="f626" b="f627"/>
                <a:pathLst>
                  <a:path w="790" h="1182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19"/>
                    </a:lnTo>
                    <a:lnTo>
                      <a:pt x="f21" y="f17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5"/>
                    </a:lnTo>
                    <a:lnTo>
                      <a:pt x="f27" y="f15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4" y="f36"/>
                    </a:lnTo>
                    <a:lnTo>
                      <a:pt x="f32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2" y="f44"/>
                    </a:lnTo>
                    <a:lnTo>
                      <a:pt x="f40" y="f45"/>
                    </a:lnTo>
                    <a:lnTo>
                      <a:pt x="f30" y="f46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4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66" y="f65"/>
                    </a:lnTo>
                    <a:lnTo>
                      <a:pt x="f67" y="f63"/>
                    </a:lnTo>
                    <a:lnTo>
                      <a:pt x="f68" y="f61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69" y="f73"/>
                    </a:lnTo>
                    <a:lnTo>
                      <a:pt x="f74" y="f75"/>
                    </a:lnTo>
                    <a:lnTo>
                      <a:pt x="f76" y="f77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71" y="f84"/>
                    </a:lnTo>
                    <a:lnTo>
                      <a:pt x="f85" y="f86"/>
                    </a:lnTo>
                    <a:lnTo>
                      <a:pt x="f78" y="f87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90" y="f92"/>
                    </a:lnTo>
                    <a:lnTo>
                      <a:pt x="f80" y="f93"/>
                    </a:lnTo>
                    <a:lnTo>
                      <a:pt x="f76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68" y="f101"/>
                    </a:lnTo>
                    <a:lnTo>
                      <a:pt x="f102" y="f103"/>
                    </a:lnTo>
                    <a:lnTo>
                      <a:pt x="f64" y="f104"/>
                    </a:lnTo>
                    <a:lnTo>
                      <a:pt x="f60" y="f105"/>
                    </a:lnTo>
                    <a:lnTo>
                      <a:pt x="f57" y="f106"/>
                    </a:lnTo>
                    <a:lnTo>
                      <a:pt x="f57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97" y="f114"/>
                    </a:lnTo>
                    <a:lnTo>
                      <a:pt x="f115" y="f116"/>
                    </a:lnTo>
                    <a:lnTo>
                      <a:pt x="f74" y="f12"/>
                    </a:lnTo>
                    <a:lnTo>
                      <a:pt x="f74" y="f117"/>
                    </a:lnTo>
                    <a:lnTo>
                      <a:pt x="f69" y="f118"/>
                    </a:lnTo>
                    <a:lnTo>
                      <a:pt x="f78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128" y="f129"/>
                    </a:lnTo>
                    <a:lnTo>
                      <a:pt x="f6" y="f130"/>
                    </a:lnTo>
                    <a:lnTo>
                      <a:pt x="f131" y="f132"/>
                    </a:lnTo>
                    <a:lnTo>
                      <a:pt x="f133" y="f55"/>
                    </a:lnTo>
                    <a:lnTo>
                      <a:pt x="f134" y="f135"/>
                    </a:lnTo>
                    <a:lnTo>
                      <a:pt x="f136" y="f66"/>
                    </a:lnTo>
                    <a:lnTo>
                      <a:pt x="f124" y="f115"/>
                    </a:lnTo>
                    <a:lnTo>
                      <a:pt x="f137" y="f137"/>
                    </a:lnTo>
                    <a:lnTo>
                      <a:pt x="f90" y="f138"/>
                    </a:lnTo>
                    <a:lnTo>
                      <a:pt x="f82" y="f139"/>
                    </a:lnTo>
                    <a:lnTo>
                      <a:pt x="f85" y="f140"/>
                    </a:lnTo>
                    <a:lnTo>
                      <a:pt x="f85" y="f136"/>
                    </a:lnTo>
                    <a:lnTo>
                      <a:pt x="f82" y="f141"/>
                    </a:lnTo>
                    <a:lnTo>
                      <a:pt x="f80" y="f6"/>
                    </a:lnTo>
                    <a:lnTo>
                      <a:pt x="f78" y="f142"/>
                    </a:lnTo>
                    <a:lnTo>
                      <a:pt x="f71" y="f143"/>
                    </a:lnTo>
                    <a:lnTo>
                      <a:pt x="f144" y="f145"/>
                    </a:lnTo>
                    <a:lnTo>
                      <a:pt x="f102" y="f146"/>
                    </a:lnTo>
                    <a:lnTo>
                      <a:pt x="f147" y="f148"/>
                    </a:lnTo>
                    <a:lnTo>
                      <a:pt x="f149" y="f150"/>
                    </a:lnTo>
                    <a:lnTo>
                      <a:pt x="f47" y="f151"/>
                    </a:lnTo>
                    <a:lnTo>
                      <a:pt x="f127" y="f152"/>
                    </a:lnTo>
                    <a:lnTo>
                      <a:pt x="f42" y="f153"/>
                    </a:lnTo>
                    <a:lnTo>
                      <a:pt x="f154" y="f155"/>
                    </a:lnTo>
                    <a:lnTo>
                      <a:pt x="f30" y="f156"/>
                    </a:lnTo>
                    <a:lnTo>
                      <a:pt x="f47" y="f157"/>
                    </a:lnTo>
                    <a:lnTo>
                      <a:pt x="f158" y="f159"/>
                    </a:lnTo>
                    <a:lnTo>
                      <a:pt x="f149" y="f160"/>
                    </a:lnTo>
                    <a:lnTo>
                      <a:pt x="f130" y="f161"/>
                    </a:lnTo>
                    <a:lnTo>
                      <a:pt x="f49" y="f162"/>
                    </a:lnTo>
                    <a:lnTo>
                      <a:pt x="f163" y="f164"/>
                    </a:lnTo>
                    <a:lnTo>
                      <a:pt x="f32" y="f165"/>
                    </a:lnTo>
                    <a:lnTo>
                      <a:pt x="f166" y="f167"/>
                    </a:lnTo>
                    <a:lnTo>
                      <a:pt x="f42" y="f168"/>
                    </a:lnTo>
                    <a:lnTo>
                      <a:pt x="f169" y="f170"/>
                    </a:lnTo>
                    <a:lnTo>
                      <a:pt x="f169" y="f171"/>
                    </a:lnTo>
                    <a:lnTo>
                      <a:pt x="f166" y="f172"/>
                    </a:lnTo>
                    <a:lnTo>
                      <a:pt x="f38" y="f173"/>
                    </a:lnTo>
                    <a:lnTo>
                      <a:pt x="f174" y="f175"/>
                    </a:lnTo>
                    <a:lnTo>
                      <a:pt x="f47" y="f176"/>
                    </a:lnTo>
                    <a:lnTo>
                      <a:pt x="f158" y="f177"/>
                    </a:lnTo>
                    <a:lnTo>
                      <a:pt x="f178" y="f179"/>
                    </a:lnTo>
                    <a:lnTo>
                      <a:pt x="f55" y="f180"/>
                    </a:lnTo>
                    <a:lnTo>
                      <a:pt x="f64" y="f181"/>
                    </a:lnTo>
                    <a:lnTo>
                      <a:pt x="f68" y="f182"/>
                    </a:lnTo>
                    <a:lnTo>
                      <a:pt x="f95" y="f183"/>
                    </a:lnTo>
                    <a:lnTo>
                      <a:pt x="f85" y="f184"/>
                    </a:lnTo>
                    <a:lnTo>
                      <a:pt x="f78" y="f185"/>
                    </a:lnTo>
                    <a:lnTo>
                      <a:pt x="f85" y="f186"/>
                    </a:lnTo>
                    <a:lnTo>
                      <a:pt x="f95" y="f187"/>
                    </a:lnTo>
                    <a:lnTo>
                      <a:pt x="f68" y="f188"/>
                    </a:lnTo>
                    <a:lnTo>
                      <a:pt x="f102" y="f189"/>
                    </a:lnTo>
                    <a:lnTo>
                      <a:pt x="f64" y="f190"/>
                    </a:lnTo>
                    <a:lnTo>
                      <a:pt x="f191" y="f192"/>
                    </a:lnTo>
                    <a:lnTo>
                      <a:pt x="f58" y="f193"/>
                    </a:lnTo>
                    <a:lnTo>
                      <a:pt x="f53" y="f194"/>
                    </a:lnTo>
                    <a:lnTo>
                      <a:pt x="f51" y="f195"/>
                    </a:lnTo>
                    <a:lnTo>
                      <a:pt x="f178" y="f196"/>
                    </a:lnTo>
                    <a:lnTo>
                      <a:pt x="f149" y="f197"/>
                    </a:lnTo>
                    <a:lnTo>
                      <a:pt x="f34" y="f198"/>
                    </a:lnTo>
                    <a:lnTo>
                      <a:pt x="f38" y="f7"/>
                    </a:lnTo>
                    <a:lnTo>
                      <a:pt x="f127" y="f198"/>
                    </a:lnTo>
                    <a:lnTo>
                      <a:pt x="f28" y="f197"/>
                    </a:lnTo>
                    <a:lnTo>
                      <a:pt x="f199" y="f200"/>
                    </a:lnTo>
                    <a:lnTo>
                      <a:pt x="f201" y="f202"/>
                    </a:lnTo>
                    <a:lnTo>
                      <a:pt x="f203" y="f204"/>
                    </a:lnTo>
                    <a:lnTo>
                      <a:pt x="f205" y="f206"/>
                    </a:lnTo>
                    <a:lnTo>
                      <a:pt x="f27" y="f206"/>
                    </a:lnTo>
                    <a:lnTo>
                      <a:pt x="f26" y="f204"/>
                    </a:lnTo>
                    <a:lnTo>
                      <a:pt x="f207" y="f208"/>
                    </a:lnTo>
                    <a:lnTo>
                      <a:pt x="f121" y="f209"/>
                    </a:lnTo>
                    <a:lnTo>
                      <a:pt x="f210" y="f202"/>
                    </a:lnTo>
                    <a:lnTo>
                      <a:pt x="f119" y="f211"/>
                    </a:lnTo>
                    <a:lnTo>
                      <a:pt x="f212" y="f213"/>
                    </a:lnTo>
                    <a:lnTo>
                      <a:pt x="f214" y="f215"/>
                    </a:lnTo>
                    <a:lnTo>
                      <a:pt x="f18" y="f213"/>
                    </a:lnTo>
                    <a:lnTo>
                      <a:pt x="f216" y="f217"/>
                    </a:lnTo>
                    <a:lnTo>
                      <a:pt x="f218" y="f217"/>
                    </a:lnTo>
                    <a:lnTo>
                      <a:pt x="f219" y="f211"/>
                    </a:lnTo>
                    <a:lnTo>
                      <a:pt x="f218" y="f220"/>
                    </a:lnTo>
                    <a:lnTo>
                      <a:pt x="f221" y="f222"/>
                    </a:lnTo>
                    <a:lnTo>
                      <a:pt x="f223" y="f224"/>
                    </a:lnTo>
                    <a:lnTo>
                      <a:pt x="f225" y="f226"/>
                    </a:lnTo>
                    <a:lnTo>
                      <a:pt x="f225" y="f227"/>
                    </a:lnTo>
                    <a:lnTo>
                      <a:pt x="f228" y="f229"/>
                    </a:lnTo>
                    <a:lnTo>
                      <a:pt x="f230" y="f231"/>
                    </a:lnTo>
                    <a:lnTo>
                      <a:pt x="f232" y="f233"/>
                    </a:lnTo>
                    <a:lnTo>
                      <a:pt x="f234" y="f235"/>
                    </a:lnTo>
                    <a:lnTo>
                      <a:pt x="f236" y="f237"/>
                    </a:lnTo>
                    <a:lnTo>
                      <a:pt x="f238" y="f180"/>
                    </a:lnTo>
                    <a:lnTo>
                      <a:pt x="f238" y="f239"/>
                    </a:lnTo>
                    <a:lnTo>
                      <a:pt x="f240" y="f241"/>
                    </a:lnTo>
                    <a:lnTo>
                      <a:pt x="f238" y="f242"/>
                    </a:lnTo>
                    <a:lnTo>
                      <a:pt x="f243" y="f244"/>
                    </a:lnTo>
                    <a:lnTo>
                      <a:pt x="f245" y="f246"/>
                    </a:lnTo>
                    <a:lnTo>
                      <a:pt x="f247" y="f248"/>
                    </a:lnTo>
                    <a:lnTo>
                      <a:pt x="f249" y="f250"/>
                    </a:lnTo>
                    <a:lnTo>
                      <a:pt x="f251" y="f252"/>
                    </a:lnTo>
                    <a:lnTo>
                      <a:pt x="f253" y="f254"/>
                    </a:lnTo>
                    <a:lnTo>
                      <a:pt x="f255" y="f256"/>
                    </a:lnTo>
                    <a:lnTo>
                      <a:pt x="f257" y="f258"/>
                    </a:lnTo>
                    <a:lnTo>
                      <a:pt x="f259" y="f165"/>
                    </a:lnTo>
                    <a:lnTo>
                      <a:pt x="f260" y="f261"/>
                    </a:lnTo>
                    <a:lnTo>
                      <a:pt x="f98" y="f161"/>
                    </a:lnTo>
                    <a:lnTo>
                      <a:pt x="f262" y="f263"/>
                    </a:lnTo>
                    <a:lnTo>
                      <a:pt x="f264" y="f265"/>
                    </a:lnTo>
                    <a:lnTo>
                      <a:pt x="f253" y="f266"/>
                    </a:lnTo>
                    <a:lnTo>
                      <a:pt x="f267" y="f268"/>
                    </a:lnTo>
                    <a:lnTo>
                      <a:pt x="f249" y="f269"/>
                    </a:lnTo>
                    <a:lnTo>
                      <a:pt x="f270" y="f271"/>
                    </a:lnTo>
                    <a:lnTo>
                      <a:pt x="f272" y="f152"/>
                    </a:lnTo>
                    <a:lnTo>
                      <a:pt x="f273" y="f151"/>
                    </a:lnTo>
                    <a:lnTo>
                      <a:pt x="f274" y="f150"/>
                    </a:lnTo>
                    <a:lnTo>
                      <a:pt x="f275" y="f148"/>
                    </a:lnTo>
                    <a:lnTo>
                      <a:pt x="f276" y="f146"/>
                    </a:lnTo>
                    <a:lnTo>
                      <a:pt x="f277" y="f278"/>
                    </a:lnTo>
                    <a:lnTo>
                      <a:pt x="f273" y="f279"/>
                    </a:lnTo>
                    <a:lnTo>
                      <a:pt x="f280" y="f281"/>
                    </a:lnTo>
                    <a:lnTo>
                      <a:pt x="f249" y="f282"/>
                    </a:lnTo>
                    <a:lnTo>
                      <a:pt x="f283" y="f284"/>
                    </a:lnTo>
                    <a:lnTo>
                      <a:pt x="f285" y="f284"/>
                    </a:lnTo>
                    <a:lnTo>
                      <a:pt x="f255" y="f286"/>
                    </a:lnTo>
                    <a:lnTo>
                      <a:pt x="f98" y="f287"/>
                    </a:lnTo>
                    <a:lnTo>
                      <a:pt x="f288" y="f286"/>
                    </a:lnTo>
                    <a:lnTo>
                      <a:pt x="f289" y="f284"/>
                    </a:lnTo>
                    <a:lnTo>
                      <a:pt x="f290" y="f134"/>
                    </a:lnTo>
                    <a:lnTo>
                      <a:pt x="f291" y="f136"/>
                    </a:lnTo>
                    <a:lnTo>
                      <a:pt x="f292" y="f140"/>
                    </a:lnTo>
                    <a:lnTo>
                      <a:pt x="f288" y="f293"/>
                    </a:lnTo>
                    <a:lnTo>
                      <a:pt x="f294" y="f295"/>
                    </a:lnTo>
                    <a:lnTo>
                      <a:pt x="f259" y="f296"/>
                    </a:lnTo>
                    <a:lnTo>
                      <a:pt x="f253" y="f297"/>
                    </a:lnTo>
                    <a:lnTo>
                      <a:pt x="f270" y="f298"/>
                    </a:lnTo>
                    <a:lnTo>
                      <a:pt x="f299" y="f68"/>
                    </a:lnTo>
                    <a:lnTo>
                      <a:pt x="f300" y="f110"/>
                    </a:lnTo>
                    <a:lnTo>
                      <a:pt x="f300" y="f135"/>
                    </a:lnTo>
                    <a:lnTo>
                      <a:pt x="f299" y="f147"/>
                    </a:lnTo>
                    <a:lnTo>
                      <a:pt x="f301" y="f132"/>
                    </a:lnTo>
                    <a:lnTo>
                      <a:pt x="f302" y="f178"/>
                    </a:lnTo>
                    <a:lnTo>
                      <a:pt x="f283" y="f303"/>
                    </a:lnTo>
                    <a:lnTo>
                      <a:pt x="f304" y="f51"/>
                    </a:lnTo>
                    <a:lnTo>
                      <a:pt x="f305" y="f306"/>
                    </a:lnTo>
                    <a:lnTo>
                      <a:pt x="f255" y="f307"/>
                    </a:lnTo>
                    <a:lnTo>
                      <a:pt x="f308" y="f58"/>
                    </a:lnTo>
                    <a:lnTo>
                      <a:pt x="f262" y="f112"/>
                    </a:lnTo>
                    <a:lnTo>
                      <a:pt x="f309" y="f144"/>
                    </a:lnTo>
                    <a:lnTo>
                      <a:pt x="f260" y="f115"/>
                    </a:lnTo>
                    <a:lnTo>
                      <a:pt x="f310" y="f115"/>
                    </a:lnTo>
                    <a:lnTo>
                      <a:pt x="f311" y="f74"/>
                    </a:lnTo>
                    <a:lnTo>
                      <a:pt x="f91" y="f71"/>
                    </a:lnTo>
                    <a:lnTo>
                      <a:pt x="f312" y="f88"/>
                    </a:lnTo>
                    <a:lnTo>
                      <a:pt x="f313" y="f314"/>
                    </a:lnTo>
                    <a:lnTo>
                      <a:pt x="f315" y="f295"/>
                    </a:lnTo>
                    <a:lnTo>
                      <a:pt x="f316" y="f317"/>
                    </a:lnTo>
                    <a:lnTo>
                      <a:pt x="f318" y="f136"/>
                    </a:lnTo>
                    <a:lnTo>
                      <a:pt x="f319" y="f320"/>
                    </a:lnTo>
                    <a:lnTo>
                      <a:pt x="f321" y="f322"/>
                    </a:lnTo>
                    <a:lnTo>
                      <a:pt x="f323" y="f324"/>
                    </a:lnTo>
                    <a:lnTo>
                      <a:pt x="f325" y="f324"/>
                    </a:lnTo>
                    <a:lnTo>
                      <a:pt x="f326" y="f327"/>
                    </a:lnTo>
                    <a:lnTo>
                      <a:pt x="f328" y="f329"/>
                    </a:lnTo>
                    <a:lnTo>
                      <a:pt x="f330" y="f320"/>
                    </a:lnTo>
                    <a:lnTo>
                      <a:pt x="f331" y="f332"/>
                    </a:lnTo>
                    <a:lnTo>
                      <a:pt x="f333" y="f334"/>
                    </a:lnTo>
                    <a:lnTo>
                      <a:pt x="f335" y="f336"/>
                    </a:lnTo>
                    <a:lnTo>
                      <a:pt x="f77" y="f337"/>
                    </a:lnTo>
                    <a:lnTo>
                      <a:pt x="f338" y="f339"/>
                    </a:lnTo>
                    <a:lnTo>
                      <a:pt x="f340" y="f341"/>
                    </a:lnTo>
                    <a:lnTo>
                      <a:pt x="f342" y="f339"/>
                    </a:lnTo>
                    <a:lnTo>
                      <a:pt x="f343" y="f344"/>
                    </a:lnTo>
                    <a:lnTo>
                      <a:pt x="f345" y="f344"/>
                    </a:lnTo>
                    <a:lnTo>
                      <a:pt x="f346" y="f347"/>
                    </a:lnTo>
                    <a:lnTo>
                      <a:pt x="f348" y="f349"/>
                    </a:lnTo>
                    <a:lnTo>
                      <a:pt x="f56" y="f350"/>
                    </a:lnTo>
                    <a:lnTo>
                      <a:pt x="f54" y="f351"/>
                    </a:lnTo>
                    <a:lnTo>
                      <a:pt x="f352" y="f82"/>
                    </a:lnTo>
                    <a:lnTo>
                      <a:pt x="f353" y="f115"/>
                    </a:lnTo>
                    <a:lnTo>
                      <a:pt x="f353" y="f112"/>
                    </a:lnTo>
                    <a:lnTo>
                      <a:pt x="f63" y="f354"/>
                    </a:lnTo>
                    <a:lnTo>
                      <a:pt x="f65" y="f58"/>
                    </a:lnTo>
                    <a:lnTo>
                      <a:pt x="f355" y="f356"/>
                    </a:lnTo>
                    <a:lnTo>
                      <a:pt x="f357" y="f149"/>
                    </a:lnTo>
                    <a:lnTo>
                      <a:pt x="f2" y="f127"/>
                    </a:lnTo>
                    <a:lnTo>
                      <a:pt x="f358" y="f205"/>
                    </a:lnTo>
                    <a:lnTo>
                      <a:pt x="f359" y="f26"/>
                    </a:lnTo>
                    <a:lnTo>
                      <a:pt x="f360" y="f361"/>
                    </a:lnTo>
                    <a:lnTo>
                      <a:pt x="f45" y="f207"/>
                    </a:lnTo>
                    <a:lnTo>
                      <a:pt x="f44" y="f362"/>
                    </a:lnTo>
                    <a:lnTo>
                      <a:pt x="f363" y="f212"/>
                    </a:lnTo>
                    <a:lnTo>
                      <a:pt x="f364" y="f214"/>
                    </a:lnTo>
                    <a:lnTo>
                      <a:pt x="f365" y="f366"/>
                    </a:lnTo>
                    <a:lnTo>
                      <a:pt x="f367" y="f368"/>
                    </a:lnTo>
                    <a:lnTo>
                      <a:pt x="f369" y="f10"/>
                    </a:lnTo>
                    <a:lnTo>
                      <a:pt x="f370" y="f371"/>
                    </a:lnTo>
                    <a:lnTo>
                      <a:pt x="f369" y="f8"/>
                    </a:lnTo>
                    <a:lnTo>
                      <a:pt x="f372" y="f373"/>
                    </a:lnTo>
                    <a:lnTo>
                      <a:pt x="f374" y="f219"/>
                    </a:lnTo>
                    <a:lnTo>
                      <a:pt x="f374" y="f116"/>
                    </a:lnTo>
                    <a:lnTo>
                      <a:pt x="f375" y="f236"/>
                    </a:lnTo>
                    <a:lnTo>
                      <a:pt x="f376" y="f377"/>
                    </a:lnTo>
                    <a:lnTo>
                      <a:pt x="f36" y="f378"/>
                    </a:lnTo>
                    <a:lnTo>
                      <a:pt x="f379" y="f380"/>
                    </a:lnTo>
                    <a:lnTo>
                      <a:pt x="f36" y="f381"/>
                    </a:lnTo>
                    <a:lnTo>
                      <a:pt x="f382" y="f383"/>
                    </a:lnTo>
                    <a:lnTo>
                      <a:pt x="f384" y="f385"/>
                    </a:lnTo>
                    <a:lnTo>
                      <a:pt x="f386" y="f264"/>
                    </a:lnTo>
                    <a:lnTo>
                      <a:pt x="f387" y="f388"/>
                    </a:lnTo>
                    <a:lnTo>
                      <a:pt x="f389" y="f292"/>
                    </a:lnTo>
                    <a:lnTo>
                      <a:pt x="f390" y="f391"/>
                    </a:lnTo>
                    <a:lnTo>
                      <a:pt x="f392" y="f89"/>
                    </a:lnTo>
                    <a:lnTo>
                      <a:pt x="f393" y="f394"/>
                    </a:lnTo>
                    <a:lnTo>
                      <a:pt x="f393" y="f395"/>
                    </a:lnTo>
                    <a:lnTo>
                      <a:pt x="f392" y="f319"/>
                    </a:lnTo>
                    <a:lnTo>
                      <a:pt x="f390" y="f396"/>
                    </a:lnTo>
                    <a:lnTo>
                      <a:pt x="f389" y="f331"/>
                    </a:lnTo>
                    <a:lnTo>
                      <a:pt x="f387" y="f397"/>
                    </a:lnTo>
                    <a:lnTo>
                      <a:pt x="f384" y="f340"/>
                    </a:lnTo>
                    <a:lnTo>
                      <a:pt x="f382" y="f398"/>
                    </a:lnTo>
                    <a:lnTo>
                      <a:pt x="f37" y="f399"/>
                    </a:lnTo>
                    <a:lnTo>
                      <a:pt x="f36" y="f400"/>
                    </a:lnTo>
                    <a:lnTo>
                      <a:pt x="f401" y="f402"/>
                    </a:lnTo>
                    <a:lnTo>
                      <a:pt x="f19" y="f342"/>
                    </a:lnTo>
                    <a:lnTo>
                      <a:pt x="f403" y="f404"/>
                    </a:lnTo>
                    <a:lnTo>
                      <a:pt x="f5" y="f73"/>
                    </a:lnTo>
                    <a:lnTo>
                      <a:pt x="f405" y="f400"/>
                    </a:lnTo>
                    <a:lnTo>
                      <a:pt x="f406" y="f407"/>
                    </a:lnTo>
                    <a:lnTo>
                      <a:pt x="f408" y="f348"/>
                    </a:lnTo>
                    <a:lnTo>
                      <a:pt x="f408" y="f59"/>
                    </a:lnTo>
                    <a:lnTo>
                      <a:pt x="f409" y="f353"/>
                    </a:lnTo>
                    <a:lnTo>
                      <a:pt x="f405" y="f410"/>
                    </a:lnTo>
                    <a:lnTo>
                      <a:pt x="f406" y="f411"/>
                    </a:lnTo>
                    <a:lnTo>
                      <a:pt x="f412" y="f413"/>
                    </a:lnTo>
                    <a:lnTo>
                      <a:pt x="f15" y="f414"/>
                    </a:lnTo>
                    <a:lnTo>
                      <a:pt x="f415" y="f413"/>
                    </a:lnTo>
                    <a:lnTo>
                      <a:pt x="f416" y="f355"/>
                    </a:lnTo>
                    <a:lnTo>
                      <a:pt x="f417" y="f411"/>
                    </a:lnTo>
                    <a:lnTo>
                      <a:pt x="f418" y="f419"/>
                    </a:lnTo>
                    <a:lnTo>
                      <a:pt x="f376" y="f420"/>
                    </a:lnTo>
                    <a:lnTo>
                      <a:pt x="f421" y="f422"/>
                    </a:lnTo>
                    <a:lnTo>
                      <a:pt x="f389" y="f46"/>
                    </a:lnTo>
                    <a:lnTo>
                      <a:pt x="f365" y="f423"/>
                    </a:lnTo>
                    <a:lnTo>
                      <a:pt x="f393" y="f424"/>
                    </a:lnTo>
                    <a:lnTo>
                      <a:pt x="f425" y="f426"/>
                    </a:lnTo>
                    <a:lnTo>
                      <a:pt x="f427" y="f428"/>
                    </a:lnTo>
                    <a:lnTo>
                      <a:pt x="f429" y="f44"/>
                    </a:lnTo>
                    <a:lnTo>
                      <a:pt x="f430" y="f431"/>
                    </a:lnTo>
                    <a:lnTo>
                      <a:pt x="f432" y="f433"/>
                    </a:lnTo>
                    <a:lnTo>
                      <a:pt x="f434" y="f435"/>
                    </a:lnTo>
                    <a:lnTo>
                      <a:pt x="f435" y="f43"/>
                    </a:lnTo>
                    <a:lnTo>
                      <a:pt x="f432" y="f436"/>
                    </a:lnTo>
                    <a:lnTo>
                      <a:pt x="f432" y="f437"/>
                    </a:lnTo>
                    <a:lnTo>
                      <a:pt x="f438" y="f439"/>
                    </a:lnTo>
                    <a:lnTo>
                      <a:pt x="f426" y="f440"/>
                    </a:lnTo>
                    <a:lnTo>
                      <a:pt x="f441" y="f442"/>
                    </a:lnTo>
                    <a:lnTo>
                      <a:pt x="f423" y="f369"/>
                    </a:lnTo>
                    <a:lnTo>
                      <a:pt x="f443" y="f370"/>
                    </a:lnTo>
                    <a:lnTo>
                      <a:pt x="f444" y="f445"/>
                    </a:lnTo>
                    <a:lnTo>
                      <a:pt x="f419" y="f374"/>
                    </a:lnTo>
                    <a:lnTo>
                      <a:pt x="f50" y="f440"/>
                    </a:lnTo>
                    <a:lnTo>
                      <a:pt x="f353" y="f39"/>
                    </a:lnTo>
                    <a:lnTo>
                      <a:pt x="f446" y="f447"/>
                    </a:lnTo>
                    <a:lnTo>
                      <a:pt x="f56" y="f39"/>
                    </a:lnTo>
                    <a:lnTo>
                      <a:pt x="f448" y="f387"/>
                    </a:lnTo>
                    <a:lnTo>
                      <a:pt x="f449" y="f387"/>
                    </a:lnTo>
                    <a:lnTo>
                      <a:pt x="f450" y="f447"/>
                    </a:lnTo>
                    <a:lnTo>
                      <a:pt x="f451" y="f452"/>
                    </a:lnTo>
                    <a:lnTo>
                      <a:pt x="f70" y="f453"/>
                    </a:lnTo>
                    <a:lnTo>
                      <a:pt x="f454" y="f455"/>
                    </a:lnTo>
                    <a:lnTo>
                      <a:pt x="f456" y="f393"/>
                    </a:lnTo>
                    <a:lnTo>
                      <a:pt x="f457" y="f455"/>
                    </a:lnTo>
                    <a:lnTo>
                      <a:pt x="f458" y="f452"/>
                    </a:lnTo>
                    <a:lnTo>
                      <a:pt x="f459" y="f387"/>
                    </a:lnTo>
                    <a:lnTo>
                      <a:pt x="f460" y="f374"/>
                    </a:lnTo>
                    <a:lnTo>
                      <a:pt x="f461" y="f445"/>
                    </a:lnTo>
                    <a:lnTo>
                      <a:pt x="f333" y="f37"/>
                    </a:lnTo>
                    <a:lnTo>
                      <a:pt x="f330" y="f445"/>
                    </a:lnTo>
                    <a:lnTo>
                      <a:pt x="f462" y="f442"/>
                    </a:lnTo>
                    <a:lnTo>
                      <a:pt x="f463" y="f384"/>
                    </a:lnTo>
                    <a:lnTo>
                      <a:pt x="f464" y="f387"/>
                    </a:lnTo>
                    <a:lnTo>
                      <a:pt x="f465" y="f447"/>
                    </a:lnTo>
                    <a:lnTo>
                      <a:pt x="f325" y="f447"/>
                    </a:lnTo>
                    <a:lnTo>
                      <a:pt x="f466" y="f39"/>
                    </a:lnTo>
                    <a:lnTo>
                      <a:pt x="f395" y="f384"/>
                    </a:lnTo>
                    <a:lnTo>
                      <a:pt x="f467" y="f468"/>
                    </a:lnTo>
                    <a:lnTo>
                      <a:pt x="f469" y="f374"/>
                    </a:lnTo>
                    <a:lnTo>
                      <a:pt x="f470" y="f468"/>
                    </a:lnTo>
                    <a:lnTo>
                      <a:pt x="f471" y="f440"/>
                    </a:lnTo>
                    <a:lnTo>
                      <a:pt x="f472" y="f447"/>
                    </a:lnTo>
                    <a:lnTo>
                      <a:pt x="f473" y="f452"/>
                    </a:lnTo>
                    <a:lnTo>
                      <a:pt x="f288" y="f453"/>
                    </a:lnTo>
                    <a:lnTo>
                      <a:pt x="f262" y="f453"/>
                    </a:lnTo>
                    <a:lnTo>
                      <a:pt x="f474" y="f452"/>
                    </a:lnTo>
                    <a:lnTo>
                      <a:pt x="f475" y="f447"/>
                    </a:lnTo>
                    <a:lnTo>
                      <a:pt x="f104" y="f384"/>
                    </a:lnTo>
                    <a:lnTo>
                      <a:pt x="f476" y="f372"/>
                    </a:lnTo>
                    <a:lnTo>
                      <a:pt x="f477" y="f37"/>
                    </a:lnTo>
                    <a:lnTo>
                      <a:pt x="f478" y="f479"/>
                    </a:lnTo>
                    <a:lnTo>
                      <a:pt x="f236" y="f480"/>
                    </a:lnTo>
                    <a:lnTo>
                      <a:pt x="f481" y="f482"/>
                    </a:lnTo>
                    <a:lnTo>
                      <a:pt x="f236" y="f17"/>
                    </a:lnTo>
                    <a:lnTo>
                      <a:pt x="f483" y="f15"/>
                    </a:lnTo>
                    <a:lnTo>
                      <a:pt x="f484" y="f485"/>
                    </a:lnTo>
                    <a:lnTo>
                      <a:pt x="f486" y="f13"/>
                    </a:lnTo>
                    <a:lnTo>
                      <a:pt x="f218" y="f487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63" name="Freeform 25">
                <a:extLst>
                  <a:ext uri="{FF2B5EF4-FFF2-40B4-BE49-F238E27FC236}">
                    <a16:creationId xmlns:a16="http://schemas.microsoft.com/office/drawing/2014/main" id="{9D7B49D6-0409-4A96-AC98-80EF45D7B80F}"/>
                  </a:ext>
                </a:extLst>
              </p:cNvPr>
              <p:cNvSpPr/>
              <p:nvPr/>
            </p:nvSpPr>
            <p:spPr>
              <a:xfrm>
                <a:off x="4233736" y="2676558"/>
                <a:ext cx="109490" cy="74715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660"/>
                  <a:gd name="f7" fmla="val 459"/>
                  <a:gd name="f8" fmla="val 417"/>
                  <a:gd name="f9" fmla="val 435"/>
                  <a:gd name="f10" fmla="val 14"/>
                  <a:gd name="f11" fmla="val 446"/>
                  <a:gd name="f12" fmla="val 28"/>
                  <a:gd name="f13" fmla="val 454"/>
                  <a:gd name="f14" fmla="val 42"/>
                  <a:gd name="f15" fmla="val 460"/>
                  <a:gd name="f16" fmla="val 53"/>
                  <a:gd name="f17" fmla="val 461"/>
                  <a:gd name="f18" fmla="val 64"/>
                  <a:gd name="f19" fmla="val 457"/>
                  <a:gd name="f20" fmla="val 75"/>
                  <a:gd name="f21" fmla="val 450"/>
                  <a:gd name="f22" fmla="val 86"/>
                  <a:gd name="f23" fmla="val 96"/>
                  <a:gd name="f24" fmla="val 447"/>
                  <a:gd name="f25" fmla="val 107"/>
                  <a:gd name="f26" fmla="val 453"/>
                  <a:gd name="f27" fmla="val 111"/>
                  <a:gd name="f28" fmla="val 472"/>
                  <a:gd name="f29" fmla="val 108"/>
                  <a:gd name="f30" fmla="val 483"/>
                  <a:gd name="f31" fmla="val 103"/>
                  <a:gd name="f32" fmla="val 496"/>
                  <a:gd name="f33" fmla="val 97"/>
                  <a:gd name="f34" fmla="val 507"/>
                  <a:gd name="f35" fmla="val 90"/>
                  <a:gd name="f36" fmla="val 516"/>
                  <a:gd name="f37" fmla="val 85"/>
                  <a:gd name="f38" fmla="val 525"/>
                  <a:gd name="f39" fmla="val 82"/>
                  <a:gd name="f40" fmla="val 534"/>
                  <a:gd name="f41" fmla="val 79"/>
                  <a:gd name="f42" fmla="val 548"/>
                  <a:gd name="f43" fmla="val 565"/>
                  <a:gd name="f44" fmla="val 72"/>
                  <a:gd name="f45" fmla="val 580"/>
                  <a:gd name="f46" fmla="val 71"/>
                  <a:gd name="f47" fmla="val 592"/>
                  <a:gd name="f48" fmla="val 601"/>
                  <a:gd name="f49" fmla="val 76"/>
                  <a:gd name="f50" fmla="val 608"/>
                  <a:gd name="f51" fmla="val 619"/>
                  <a:gd name="f52" fmla="val 89"/>
                  <a:gd name="f53" fmla="val 631"/>
                  <a:gd name="f54" fmla="val 644"/>
                  <a:gd name="f55" fmla="val 104"/>
                  <a:gd name="f56" fmla="val 655"/>
                  <a:gd name="f57" fmla="val 118"/>
                  <a:gd name="f58" fmla="val 123"/>
                  <a:gd name="f59" fmla="val 136"/>
                  <a:gd name="f60" fmla="val 652"/>
                  <a:gd name="f61" fmla="val 148"/>
                  <a:gd name="f62" fmla="val 161"/>
                  <a:gd name="f63" fmla="val 648"/>
                  <a:gd name="f64" fmla="val 169"/>
                  <a:gd name="f65" fmla="val 638"/>
                  <a:gd name="f66" fmla="val 176"/>
                  <a:gd name="f67" fmla="val 626"/>
                  <a:gd name="f68" fmla="val 183"/>
                  <a:gd name="f69" fmla="val 615"/>
                  <a:gd name="f70" fmla="val 189"/>
                  <a:gd name="f71" fmla="val 606"/>
                  <a:gd name="f72" fmla="val 194"/>
                  <a:gd name="f73" fmla="val 602"/>
                  <a:gd name="f74" fmla="val 202"/>
                  <a:gd name="f75" fmla="val 599"/>
                  <a:gd name="f76" fmla="val 215"/>
                  <a:gd name="f77" fmla="val 229"/>
                  <a:gd name="f78" fmla="val 597"/>
                  <a:gd name="f79" fmla="val 244"/>
                  <a:gd name="f80" fmla="val 241"/>
                  <a:gd name="f81" fmla="val 588"/>
                  <a:gd name="f82" fmla="val 240"/>
                  <a:gd name="f83" fmla="val 583"/>
                  <a:gd name="f84" fmla="val 572"/>
                  <a:gd name="f85" fmla="val 239"/>
                  <a:gd name="f86" fmla="val 561"/>
                  <a:gd name="f87" fmla="val 234"/>
                  <a:gd name="f88" fmla="val 552"/>
                  <a:gd name="f89" fmla="val 232"/>
                  <a:gd name="f90" fmla="val 544"/>
                  <a:gd name="f91" fmla="val 536"/>
                  <a:gd name="f92" fmla="val 522"/>
                  <a:gd name="f93" fmla="val 251"/>
                  <a:gd name="f94" fmla="val 261"/>
                  <a:gd name="f95" fmla="val 490"/>
                  <a:gd name="f96" fmla="val 270"/>
                  <a:gd name="f97" fmla="val 474"/>
                  <a:gd name="f98" fmla="val 279"/>
                  <a:gd name="f99" fmla="val 283"/>
                  <a:gd name="f100" fmla="val 286"/>
                  <a:gd name="f101" fmla="val 445"/>
                  <a:gd name="f102" fmla="val 290"/>
                  <a:gd name="f103" fmla="val 442"/>
                  <a:gd name="f104" fmla="val 295"/>
                  <a:gd name="f105" fmla="val 309"/>
                  <a:gd name="f106" fmla="val 439"/>
                  <a:gd name="f107" fmla="val 316"/>
                  <a:gd name="f108" fmla="val 432"/>
                  <a:gd name="f109" fmla="val 325"/>
                  <a:gd name="f110" fmla="val 410"/>
                  <a:gd name="f111" fmla="val 347"/>
                  <a:gd name="f112" fmla="val 398"/>
                  <a:gd name="f113" fmla="val 358"/>
                  <a:gd name="f114" fmla="val 385"/>
                  <a:gd name="f115" fmla="val 368"/>
                  <a:gd name="f116" fmla="val 377"/>
                  <a:gd name="f117" fmla="val 373"/>
                  <a:gd name="f118" fmla="val 367"/>
                  <a:gd name="f119" fmla="val 379"/>
                  <a:gd name="f120" fmla="val 355"/>
                  <a:gd name="f121" fmla="val 388"/>
                  <a:gd name="f122" fmla="val 341"/>
                  <a:gd name="f123" fmla="val 397"/>
                  <a:gd name="f124" fmla="val 330"/>
                  <a:gd name="f125" fmla="val 408"/>
                  <a:gd name="f126" fmla="val 322"/>
                  <a:gd name="f127" fmla="val 319"/>
                  <a:gd name="f128" fmla="val 426"/>
                  <a:gd name="f129" fmla="val 429"/>
                  <a:gd name="f130" fmla="val 431"/>
                  <a:gd name="f131" fmla="val 312"/>
                  <a:gd name="f132" fmla="val 427"/>
                  <a:gd name="f133" fmla="val 420"/>
                  <a:gd name="f134" fmla="val 308"/>
                  <a:gd name="f135" fmla="val 411"/>
                  <a:gd name="f136" fmla="val 401"/>
                  <a:gd name="f137" fmla="val 306"/>
                  <a:gd name="f138" fmla="val 391"/>
                  <a:gd name="f139" fmla="val 298"/>
                  <a:gd name="f140" fmla="val 380"/>
                  <a:gd name="f141" fmla="val 297"/>
                  <a:gd name="f142" fmla="val 372"/>
                  <a:gd name="f143" fmla="val 362"/>
                  <a:gd name="f144" fmla="val 294"/>
                  <a:gd name="f145" fmla="val 351"/>
                  <a:gd name="f146" fmla="val 293"/>
                  <a:gd name="f147" fmla="val 288"/>
                  <a:gd name="f148" fmla="val 336"/>
                  <a:gd name="f149" fmla="val 333"/>
                  <a:gd name="f150" fmla="val 275"/>
                  <a:gd name="f151" fmla="val 264"/>
                  <a:gd name="f152" fmla="val 343"/>
                  <a:gd name="f153" fmla="val 237"/>
                  <a:gd name="f154" fmla="val 225"/>
                  <a:gd name="f155" fmla="val 214"/>
                  <a:gd name="f156" fmla="val 383"/>
                  <a:gd name="f157" fmla="val 204"/>
                  <a:gd name="f158" fmla="val 390"/>
                  <a:gd name="f159" fmla="val 399"/>
                  <a:gd name="f160" fmla="val 174"/>
                  <a:gd name="f161" fmla="val 405"/>
                  <a:gd name="f162" fmla="val 156"/>
                  <a:gd name="f163" fmla="val 406"/>
                  <a:gd name="f164" fmla="val 145"/>
                  <a:gd name="f165" fmla="val 130"/>
                  <a:gd name="f166" fmla="val 413"/>
                  <a:gd name="f167" fmla="val 114"/>
                  <a:gd name="f168" fmla="val 422"/>
                  <a:gd name="f169" fmla="val 98"/>
                  <a:gd name="f170" fmla="val 84"/>
                  <a:gd name="f171" fmla="val 441"/>
                  <a:gd name="f172" fmla="val 449"/>
                  <a:gd name="f173" fmla="val 62"/>
                  <a:gd name="f174" fmla="val 455"/>
                  <a:gd name="f175" fmla="val 49"/>
                  <a:gd name="f176" fmla="val 458"/>
                  <a:gd name="f177" fmla="val 36"/>
                  <a:gd name="f178" fmla="val 20"/>
                  <a:gd name="f179" fmla="val 29"/>
                  <a:gd name="f180" fmla="val 448"/>
                  <a:gd name="f181" fmla="val 34"/>
                  <a:gd name="f182" fmla="val 33"/>
                  <a:gd name="f183" fmla="val 27"/>
                  <a:gd name="f184" fmla="val 395"/>
                  <a:gd name="f185" fmla="val 11"/>
                  <a:gd name="f186" fmla="val 4"/>
                  <a:gd name="f187" fmla="val 363"/>
                  <a:gd name="f188" fmla="val 1"/>
                  <a:gd name="f189" fmla="val 348"/>
                  <a:gd name="f190" fmla="val 8"/>
                  <a:gd name="f191" fmla="val 340"/>
                  <a:gd name="f192" fmla="val 315"/>
                  <a:gd name="f193" fmla="val 38"/>
                  <a:gd name="f194" fmla="val 302"/>
                  <a:gd name="f195" fmla="val 48"/>
                  <a:gd name="f196" fmla="val 55"/>
                  <a:gd name="f197" fmla="val 287"/>
                  <a:gd name="f198" fmla="val 65"/>
                  <a:gd name="f199" fmla="val 284"/>
                  <a:gd name="f200" fmla="val 83"/>
                  <a:gd name="f201" fmla="val 280"/>
                  <a:gd name="f202" fmla="val 276"/>
                  <a:gd name="f203" fmla="val 125"/>
                  <a:gd name="f204" fmla="val 269"/>
                  <a:gd name="f205" fmla="val 262"/>
                  <a:gd name="f206" fmla="val 255"/>
                  <a:gd name="f207" fmla="val 177"/>
                  <a:gd name="f208" fmla="val 252"/>
                  <a:gd name="f209" fmla="val 190"/>
                  <a:gd name="f210" fmla="val 250"/>
                  <a:gd name="f211" fmla="val 201"/>
                  <a:gd name="f212" fmla="val 247"/>
                  <a:gd name="f213" fmla="val 210"/>
                  <a:gd name="f214" fmla="val 226"/>
                  <a:gd name="f215" fmla="val 235"/>
                  <a:gd name="f216" fmla="val 205"/>
                  <a:gd name="f217" fmla="val 243"/>
                  <a:gd name="f218" fmla="val 198"/>
                  <a:gd name="f219" fmla="val 254"/>
                  <a:gd name="f220" fmla="val 193"/>
                  <a:gd name="f221" fmla="val 265"/>
                  <a:gd name="f222" fmla="val 186"/>
                  <a:gd name="f223" fmla="val 273"/>
                  <a:gd name="f224" fmla="val 179"/>
                  <a:gd name="f225" fmla="val 277"/>
                  <a:gd name="f226" fmla="val 171"/>
                  <a:gd name="f227" fmla="val 164"/>
                  <a:gd name="f228" fmla="val 272"/>
                  <a:gd name="f229" fmla="val 157"/>
                  <a:gd name="f230" fmla="val 268"/>
                  <a:gd name="f231" fmla="val 140"/>
                  <a:gd name="f232" fmla="val 266"/>
                  <a:gd name="f233" fmla="val 133"/>
                  <a:gd name="f234" fmla="val 101"/>
                  <a:gd name="f235" fmla="val 311"/>
                  <a:gd name="f236" fmla="val 313"/>
                  <a:gd name="f237" fmla="val 67"/>
                  <a:gd name="f238" fmla="val 320"/>
                  <a:gd name="f239" fmla="val 329"/>
                  <a:gd name="f240" fmla="val 58"/>
                  <a:gd name="f241" fmla="val 356"/>
                  <a:gd name="f242" fmla="val 51"/>
                  <a:gd name="f243" fmla="val 371"/>
                  <a:gd name="f244" fmla="val 43"/>
                  <a:gd name="f245" fmla="val 35"/>
                  <a:gd name="f246" fmla="val 402"/>
                  <a:gd name="f247" fmla="val 25"/>
                  <a:gd name="f248" fmla="val 17"/>
                  <a:gd name="f249" fmla="val 416"/>
                  <a:gd name="f250" fmla="+- 0 0 -90"/>
                  <a:gd name="f251" fmla="*/ f3 1 660"/>
                  <a:gd name="f252" fmla="*/ f4 1 459"/>
                  <a:gd name="f253" fmla="+- f7 0 f5"/>
                  <a:gd name="f254" fmla="+- f6 0 f5"/>
                  <a:gd name="f255" fmla="*/ f250 f0 1"/>
                  <a:gd name="f256" fmla="*/ f254 1 660"/>
                  <a:gd name="f257" fmla="*/ f253 1 459"/>
                  <a:gd name="f258" fmla="*/ f255 1 f2"/>
                  <a:gd name="f259" fmla="*/ 446 1 f256"/>
                  <a:gd name="f260" fmla="*/ 28 1 f257"/>
                  <a:gd name="f261" fmla="*/ 461 1 f256"/>
                  <a:gd name="f262" fmla="*/ 64 1 f257"/>
                  <a:gd name="f263" fmla="*/ 96 1 f257"/>
                  <a:gd name="f264" fmla="*/ 111 1 f257"/>
                  <a:gd name="f265" fmla="*/ 496 1 f256"/>
                  <a:gd name="f266" fmla="*/ 97 1 f257"/>
                  <a:gd name="f267" fmla="*/ 525 1 f256"/>
                  <a:gd name="f268" fmla="*/ 82 1 f257"/>
                  <a:gd name="f269" fmla="*/ 565 1 f256"/>
                  <a:gd name="f270" fmla="*/ 72 1 f257"/>
                  <a:gd name="f271" fmla="*/ 601 1 f256"/>
                  <a:gd name="f272" fmla="*/ 76 1 f257"/>
                  <a:gd name="f273" fmla="*/ 631 1 f256"/>
                  <a:gd name="f274" fmla="*/ 660 1 f256"/>
                  <a:gd name="f275" fmla="*/ 118 1 f257"/>
                  <a:gd name="f276" fmla="*/ 652 1 f256"/>
                  <a:gd name="f277" fmla="*/ 148 1 f257"/>
                  <a:gd name="f278" fmla="*/ 638 1 f256"/>
                  <a:gd name="f279" fmla="*/ 176 1 f257"/>
                  <a:gd name="f280" fmla="*/ 606 1 f256"/>
                  <a:gd name="f281" fmla="*/ 194 1 f257"/>
                  <a:gd name="f282" fmla="*/ 599 1 f256"/>
                  <a:gd name="f283" fmla="*/ 229 1 f257"/>
                  <a:gd name="f284" fmla="*/ 588 1 f256"/>
                  <a:gd name="f285" fmla="*/ 240 1 f257"/>
                  <a:gd name="f286" fmla="*/ 561 1 f256"/>
                  <a:gd name="f287" fmla="*/ 234 1 f257"/>
                  <a:gd name="f288" fmla="*/ 536 1 f256"/>
                  <a:gd name="f289" fmla="*/ 241 1 f257"/>
                  <a:gd name="f290" fmla="*/ 490 1 f256"/>
                  <a:gd name="f291" fmla="*/ 270 1 f257"/>
                  <a:gd name="f292" fmla="*/ 450 1 f256"/>
                  <a:gd name="f293" fmla="*/ 286 1 f257"/>
                  <a:gd name="f294" fmla="*/ 442 1 f256"/>
                  <a:gd name="f295" fmla="*/ 309 1 f257"/>
                  <a:gd name="f296" fmla="*/ 410 1 f256"/>
                  <a:gd name="f297" fmla="*/ 347 1 f257"/>
                  <a:gd name="f298" fmla="*/ 377 1 f256"/>
                  <a:gd name="f299" fmla="*/ 373 1 f257"/>
                  <a:gd name="f300" fmla="*/ 341 1 f256"/>
                  <a:gd name="f301" fmla="*/ 397 1 f257"/>
                  <a:gd name="f302" fmla="*/ 319 1 f256"/>
                  <a:gd name="f303" fmla="*/ 426 1 f257"/>
                  <a:gd name="f304" fmla="*/ 312 1 f256"/>
                  <a:gd name="f305" fmla="*/ 427 1 f257"/>
                  <a:gd name="f306" fmla="*/ 308 1 f256"/>
                  <a:gd name="f307" fmla="*/ 401 1 f257"/>
                  <a:gd name="f308" fmla="*/ 297 1 f256"/>
                  <a:gd name="f309" fmla="*/ 372 1 f257"/>
                  <a:gd name="f310" fmla="*/ 293 1 f256"/>
                  <a:gd name="f311" fmla="*/ 341 1 f257"/>
                  <a:gd name="f312" fmla="*/ 275 1 f256"/>
                  <a:gd name="f313" fmla="*/ 336 1 f257"/>
                  <a:gd name="f314" fmla="*/ 237 1 f256"/>
                  <a:gd name="f315" fmla="*/ 362 1 f257"/>
                  <a:gd name="f316" fmla="*/ 204 1 f256"/>
                  <a:gd name="f317" fmla="*/ 390 1 f257"/>
                  <a:gd name="f318" fmla="*/ 156 1 f256"/>
                  <a:gd name="f319" fmla="*/ 406 1 f257"/>
                  <a:gd name="f320" fmla="*/ 114 1 f256"/>
                  <a:gd name="f321" fmla="*/ 422 1 f257"/>
                  <a:gd name="f322" fmla="*/ 72 1 f256"/>
                  <a:gd name="f323" fmla="*/ 449 1 f257"/>
                  <a:gd name="f324" fmla="*/ 36 1 f256"/>
                  <a:gd name="f325" fmla="*/ 459 1 f257"/>
                  <a:gd name="f326" fmla="*/ 34 1 f256"/>
                  <a:gd name="f327" fmla="*/ 435 1 f257"/>
                  <a:gd name="f328" fmla="*/ 27 1 f256"/>
                  <a:gd name="f329" fmla="*/ 395 1 f257"/>
                  <a:gd name="f330" fmla="*/ 0 1 f256"/>
                  <a:gd name="f331" fmla="*/ 355 1 f257"/>
                  <a:gd name="f332" fmla="*/ 315 1 f257"/>
                  <a:gd name="f333" fmla="*/ 55 1 f256"/>
                  <a:gd name="f334" fmla="*/ 287 1 f257"/>
                  <a:gd name="f335" fmla="*/ 103 1 f256"/>
                  <a:gd name="f336" fmla="*/ 276 1 f257"/>
                  <a:gd name="f337" fmla="*/ 161 1 f256"/>
                  <a:gd name="f338" fmla="*/ 255 1 f257"/>
                  <a:gd name="f339" fmla="*/ 201 1 f256"/>
                  <a:gd name="f340" fmla="*/ 247 1 f257"/>
                  <a:gd name="f341" fmla="*/ 235 1 f256"/>
                  <a:gd name="f342" fmla="*/ 205 1 f257"/>
                  <a:gd name="f343" fmla="*/ 265 1 f256"/>
                  <a:gd name="f344" fmla="*/ 186 1 f257"/>
                  <a:gd name="f345" fmla="*/ 276 1 f256"/>
                  <a:gd name="f346" fmla="*/ 164 1 f257"/>
                  <a:gd name="f347" fmla="*/ 140 1 f257"/>
                  <a:gd name="f348" fmla="*/ 280 1 f256"/>
                  <a:gd name="f349" fmla="*/ 114 1 f257"/>
                  <a:gd name="f350" fmla="*/ 101 1 f257"/>
                  <a:gd name="f351" fmla="*/ 79 1 f257"/>
                  <a:gd name="f352" fmla="*/ 320 1 f256"/>
                  <a:gd name="f353" fmla="*/ 356 1 f256"/>
                  <a:gd name="f354" fmla="*/ 51 1 f257"/>
                  <a:gd name="f355" fmla="*/ 402 1 f256"/>
                  <a:gd name="f356" fmla="*/ 25 1 f257"/>
                  <a:gd name="f357" fmla="*/ 417 1 f256"/>
                  <a:gd name="f358" fmla="*/ 4 1 f257"/>
                  <a:gd name="f359" fmla="*/ f6 1 f256"/>
                  <a:gd name="f360" fmla="*/ 0 1 f257"/>
                  <a:gd name="f361" fmla="*/ f7 1 f257"/>
                  <a:gd name="f362" fmla="+- f258 0 f1"/>
                  <a:gd name="f363" fmla="*/ f330 f251 1"/>
                  <a:gd name="f364" fmla="*/ f359 f251 1"/>
                  <a:gd name="f365" fmla="*/ f361 f252 1"/>
                  <a:gd name="f366" fmla="*/ f360 f252 1"/>
                  <a:gd name="f367" fmla="*/ f259 f251 1"/>
                  <a:gd name="f368" fmla="*/ f260 f252 1"/>
                  <a:gd name="f369" fmla="*/ f261 f251 1"/>
                  <a:gd name="f370" fmla="*/ f262 f252 1"/>
                  <a:gd name="f371" fmla="*/ f263 f252 1"/>
                  <a:gd name="f372" fmla="*/ f264 f252 1"/>
                  <a:gd name="f373" fmla="*/ f265 f251 1"/>
                  <a:gd name="f374" fmla="*/ f266 f252 1"/>
                  <a:gd name="f375" fmla="*/ f267 f251 1"/>
                  <a:gd name="f376" fmla="*/ f268 f252 1"/>
                  <a:gd name="f377" fmla="*/ f269 f251 1"/>
                  <a:gd name="f378" fmla="*/ f270 f252 1"/>
                  <a:gd name="f379" fmla="*/ f271 f251 1"/>
                  <a:gd name="f380" fmla="*/ f272 f252 1"/>
                  <a:gd name="f381" fmla="*/ f273 f251 1"/>
                  <a:gd name="f382" fmla="*/ f274 f251 1"/>
                  <a:gd name="f383" fmla="*/ f275 f252 1"/>
                  <a:gd name="f384" fmla="*/ f276 f251 1"/>
                  <a:gd name="f385" fmla="*/ f277 f252 1"/>
                  <a:gd name="f386" fmla="*/ f278 f251 1"/>
                  <a:gd name="f387" fmla="*/ f279 f252 1"/>
                  <a:gd name="f388" fmla="*/ f280 f251 1"/>
                  <a:gd name="f389" fmla="*/ f281 f252 1"/>
                  <a:gd name="f390" fmla="*/ f282 f251 1"/>
                  <a:gd name="f391" fmla="*/ f283 f252 1"/>
                  <a:gd name="f392" fmla="*/ f284 f251 1"/>
                  <a:gd name="f393" fmla="*/ f285 f252 1"/>
                  <a:gd name="f394" fmla="*/ f286 f251 1"/>
                  <a:gd name="f395" fmla="*/ f287 f252 1"/>
                  <a:gd name="f396" fmla="*/ f288 f251 1"/>
                  <a:gd name="f397" fmla="*/ f289 f252 1"/>
                  <a:gd name="f398" fmla="*/ f290 f251 1"/>
                  <a:gd name="f399" fmla="*/ f291 f252 1"/>
                  <a:gd name="f400" fmla="*/ f292 f251 1"/>
                  <a:gd name="f401" fmla="*/ f293 f252 1"/>
                  <a:gd name="f402" fmla="*/ f294 f251 1"/>
                  <a:gd name="f403" fmla="*/ f295 f252 1"/>
                  <a:gd name="f404" fmla="*/ f296 f251 1"/>
                  <a:gd name="f405" fmla="*/ f297 f252 1"/>
                  <a:gd name="f406" fmla="*/ f298 f251 1"/>
                  <a:gd name="f407" fmla="*/ f299 f252 1"/>
                  <a:gd name="f408" fmla="*/ f300 f251 1"/>
                  <a:gd name="f409" fmla="*/ f301 f252 1"/>
                  <a:gd name="f410" fmla="*/ f302 f251 1"/>
                  <a:gd name="f411" fmla="*/ f303 f252 1"/>
                  <a:gd name="f412" fmla="*/ f304 f251 1"/>
                  <a:gd name="f413" fmla="*/ f305 f252 1"/>
                  <a:gd name="f414" fmla="*/ f306 f251 1"/>
                  <a:gd name="f415" fmla="*/ f307 f252 1"/>
                  <a:gd name="f416" fmla="*/ f308 f251 1"/>
                  <a:gd name="f417" fmla="*/ f309 f252 1"/>
                  <a:gd name="f418" fmla="*/ f310 f251 1"/>
                  <a:gd name="f419" fmla="*/ f311 f252 1"/>
                  <a:gd name="f420" fmla="*/ f312 f251 1"/>
                  <a:gd name="f421" fmla="*/ f313 f252 1"/>
                  <a:gd name="f422" fmla="*/ f314 f251 1"/>
                  <a:gd name="f423" fmla="*/ f315 f252 1"/>
                  <a:gd name="f424" fmla="*/ f316 f251 1"/>
                  <a:gd name="f425" fmla="*/ f317 f252 1"/>
                  <a:gd name="f426" fmla="*/ f318 f251 1"/>
                  <a:gd name="f427" fmla="*/ f319 f252 1"/>
                  <a:gd name="f428" fmla="*/ f320 f251 1"/>
                  <a:gd name="f429" fmla="*/ f321 f252 1"/>
                  <a:gd name="f430" fmla="*/ f322 f251 1"/>
                  <a:gd name="f431" fmla="*/ f323 f252 1"/>
                  <a:gd name="f432" fmla="*/ f324 f251 1"/>
                  <a:gd name="f433" fmla="*/ f325 f252 1"/>
                  <a:gd name="f434" fmla="*/ f326 f251 1"/>
                  <a:gd name="f435" fmla="*/ f327 f252 1"/>
                  <a:gd name="f436" fmla="*/ f328 f251 1"/>
                  <a:gd name="f437" fmla="*/ f329 f252 1"/>
                  <a:gd name="f438" fmla="*/ f331 f252 1"/>
                  <a:gd name="f439" fmla="*/ f332 f252 1"/>
                  <a:gd name="f440" fmla="*/ f333 f251 1"/>
                  <a:gd name="f441" fmla="*/ f334 f252 1"/>
                  <a:gd name="f442" fmla="*/ f335 f251 1"/>
                  <a:gd name="f443" fmla="*/ f336 f252 1"/>
                  <a:gd name="f444" fmla="*/ f337 f251 1"/>
                  <a:gd name="f445" fmla="*/ f338 f252 1"/>
                  <a:gd name="f446" fmla="*/ f339 f251 1"/>
                  <a:gd name="f447" fmla="*/ f340 f252 1"/>
                  <a:gd name="f448" fmla="*/ f341 f251 1"/>
                  <a:gd name="f449" fmla="*/ f342 f252 1"/>
                  <a:gd name="f450" fmla="*/ f343 f251 1"/>
                  <a:gd name="f451" fmla="*/ f344 f252 1"/>
                  <a:gd name="f452" fmla="*/ f345 f251 1"/>
                  <a:gd name="f453" fmla="*/ f346 f252 1"/>
                  <a:gd name="f454" fmla="*/ f347 f252 1"/>
                  <a:gd name="f455" fmla="*/ f348 f251 1"/>
                  <a:gd name="f456" fmla="*/ f349 f252 1"/>
                  <a:gd name="f457" fmla="*/ f350 f252 1"/>
                  <a:gd name="f458" fmla="*/ f351 f252 1"/>
                  <a:gd name="f459" fmla="*/ f352 f251 1"/>
                  <a:gd name="f460" fmla="*/ f353 f251 1"/>
                  <a:gd name="f461" fmla="*/ f354 f252 1"/>
                  <a:gd name="f462" fmla="*/ f355 f251 1"/>
                  <a:gd name="f463" fmla="*/ f356 f252 1"/>
                  <a:gd name="f464" fmla="*/ f357 f251 1"/>
                  <a:gd name="f465" fmla="*/ f358 f252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62">
                    <a:pos x="f367" y="f368"/>
                  </a:cxn>
                  <a:cxn ang="f362">
                    <a:pos x="f369" y="f370"/>
                  </a:cxn>
                  <a:cxn ang="f362">
                    <a:pos x="f367" y="f371"/>
                  </a:cxn>
                  <a:cxn ang="f362">
                    <a:pos x="f369" y="f372"/>
                  </a:cxn>
                  <a:cxn ang="f362">
                    <a:pos x="f373" y="f374"/>
                  </a:cxn>
                  <a:cxn ang="f362">
                    <a:pos x="f375" y="f376"/>
                  </a:cxn>
                  <a:cxn ang="f362">
                    <a:pos x="f377" y="f378"/>
                  </a:cxn>
                  <a:cxn ang="f362">
                    <a:pos x="f379" y="f380"/>
                  </a:cxn>
                  <a:cxn ang="f362">
                    <a:pos x="f381" y="f374"/>
                  </a:cxn>
                  <a:cxn ang="f362">
                    <a:pos x="f382" y="f383"/>
                  </a:cxn>
                  <a:cxn ang="f362">
                    <a:pos x="f384" y="f385"/>
                  </a:cxn>
                  <a:cxn ang="f362">
                    <a:pos x="f386" y="f387"/>
                  </a:cxn>
                  <a:cxn ang="f362">
                    <a:pos x="f388" y="f389"/>
                  </a:cxn>
                  <a:cxn ang="f362">
                    <a:pos x="f390" y="f391"/>
                  </a:cxn>
                  <a:cxn ang="f362">
                    <a:pos x="f392" y="f393"/>
                  </a:cxn>
                  <a:cxn ang="f362">
                    <a:pos x="f394" y="f395"/>
                  </a:cxn>
                  <a:cxn ang="f362">
                    <a:pos x="f396" y="f397"/>
                  </a:cxn>
                  <a:cxn ang="f362">
                    <a:pos x="f398" y="f399"/>
                  </a:cxn>
                  <a:cxn ang="f362">
                    <a:pos x="f400" y="f401"/>
                  </a:cxn>
                  <a:cxn ang="f362">
                    <a:pos x="f402" y="f403"/>
                  </a:cxn>
                  <a:cxn ang="f362">
                    <a:pos x="f404" y="f405"/>
                  </a:cxn>
                  <a:cxn ang="f362">
                    <a:pos x="f406" y="f407"/>
                  </a:cxn>
                  <a:cxn ang="f362">
                    <a:pos x="f408" y="f409"/>
                  </a:cxn>
                  <a:cxn ang="f362">
                    <a:pos x="f410" y="f411"/>
                  </a:cxn>
                  <a:cxn ang="f362">
                    <a:pos x="f412" y="f413"/>
                  </a:cxn>
                  <a:cxn ang="f362">
                    <a:pos x="f414" y="f415"/>
                  </a:cxn>
                  <a:cxn ang="f362">
                    <a:pos x="f416" y="f417"/>
                  </a:cxn>
                  <a:cxn ang="f362">
                    <a:pos x="f418" y="f419"/>
                  </a:cxn>
                  <a:cxn ang="f362">
                    <a:pos x="f420" y="f421"/>
                  </a:cxn>
                  <a:cxn ang="f362">
                    <a:pos x="f422" y="f423"/>
                  </a:cxn>
                  <a:cxn ang="f362">
                    <a:pos x="f424" y="f425"/>
                  </a:cxn>
                  <a:cxn ang="f362">
                    <a:pos x="f426" y="f427"/>
                  </a:cxn>
                  <a:cxn ang="f362">
                    <a:pos x="f428" y="f429"/>
                  </a:cxn>
                  <a:cxn ang="f362">
                    <a:pos x="f430" y="f431"/>
                  </a:cxn>
                  <a:cxn ang="f362">
                    <a:pos x="f432" y="f433"/>
                  </a:cxn>
                  <a:cxn ang="f362">
                    <a:pos x="f434" y="f435"/>
                  </a:cxn>
                  <a:cxn ang="f362">
                    <a:pos x="f436" y="f437"/>
                  </a:cxn>
                  <a:cxn ang="f362">
                    <a:pos x="f363" y="f438"/>
                  </a:cxn>
                  <a:cxn ang="f362">
                    <a:pos x="f436" y="f439"/>
                  </a:cxn>
                  <a:cxn ang="f362">
                    <a:pos x="f440" y="f441"/>
                  </a:cxn>
                  <a:cxn ang="f362">
                    <a:pos x="f442" y="f443"/>
                  </a:cxn>
                  <a:cxn ang="f362">
                    <a:pos x="f444" y="f445"/>
                  </a:cxn>
                  <a:cxn ang="f362">
                    <a:pos x="f446" y="f447"/>
                  </a:cxn>
                  <a:cxn ang="f362">
                    <a:pos x="f448" y="f449"/>
                  </a:cxn>
                  <a:cxn ang="f362">
                    <a:pos x="f450" y="f451"/>
                  </a:cxn>
                  <a:cxn ang="f362">
                    <a:pos x="f452" y="f453"/>
                  </a:cxn>
                  <a:cxn ang="f362">
                    <a:pos x="f450" y="f454"/>
                  </a:cxn>
                  <a:cxn ang="f362">
                    <a:pos x="f455" y="f456"/>
                  </a:cxn>
                  <a:cxn ang="f362">
                    <a:pos x="f414" y="f457"/>
                  </a:cxn>
                  <a:cxn ang="f362">
                    <a:pos x="f412" y="f458"/>
                  </a:cxn>
                  <a:cxn ang="f362">
                    <a:pos x="f459" y="f370"/>
                  </a:cxn>
                  <a:cxn ang="f362">
                    <a:pos x="f460" y="f461"/>
                  </a:cxn>
                  <a:cxn ang="f362">
                    <a:pos x="f462" y="f463"/>
                  </a:cxn>
                  <a:cxn ang="f362">
                    <a:pos x="f464" y="f465"/>
                  </a:cxn>
                </a:cxnLst>
                <a:rect l="f363" t="f366" r="f364" b="f365"/>
                <a:pathLst>
                  <a:path w="660" h="459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11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17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20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44"/>
                    </a:lnTo>
                    <a:lnTo>
                      <a:pt x="f48" y="f49"/>
                    </a:lnTo>
                    <a:lnTo>
                      <a:pt x="f50" y="f39"/>
                    </a:lnTo>
                    <a:lnTo>
                      <a:pt x="f51" y="f52"/>
                    </a:lnTo>
                    <a:lnTo>
                      <a:pt x="f53" y="f33"/>
                    </a:lnTo>
                    <a:lnTo>
                      <a:pt x="f54" y="f55"/>
                    </a:lnTo>
                    <a:lnTo>
                      <a:pt x="f56" y="f27"/>
                    </a:lnTo>
                    <a:lnTo>
                      <a:pt x="f6" y="f57"/>
                    </a:lnTo>
                    <a:lnTo>
                      <a:pt x="f6" y="f58"/>
                    </a:lnTo>
                    <a:lnTo>
                      <a:pt x="f56" y="f59"/>
                    </a:lnTo>
                    <a:lnTo>
                      <a:pt x="f60" y="f61"/>
                    </a:lnTo>
                    <a:lnTo>
                      <a:pt x="f60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5" y="f77"/>
                    </a:lnTo>
                    <a:lnTo>
                      <a:pt x="f78" y="f79"/>
                    </a:lnTo>
                    <a:lnTo>
                      <a:pt x="f47" y="f80"/>
                    </a:lnTo>
                    <a:lnTo>
                      <a:pt x="f81" y="f82"/>
                    </a:lnTo>
                    <a:lnTo>
                      <a:pt x="f83" y="f82"/>
                    </a:lnTo>
                    <a:lnTo>
                      <a:pt x="f84" y="f8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87"/>
                    </a:lnTo>
                    <a:lnTo>
                      <a:pt x="f91" y="f80"/>
                    </a:lnTo>
                    <a:lnTo>
                      <a:pt x="f92" y="f93"/>
                    </a:lnTo>
                    <a:lnTo>
                      <a:pt x="f34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17" y="f99"/>
                    </a:lnTo>
                    <a:lnTo>
                      <a:pt x="f21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3" y="f105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26" y="f8"/>
                    </a:lnTo>
                    <a:lnTo>
                      <a:pt x="f127" y="f128"/>
                    </a:lnTo>
                    <a:lnTo>
                      <a:pt x="f127" y="f129"/>
                    </a:lnTo>
                    <a:lnTo>
                      <a:pt x="f107" y="f130"/>
                    </a:lnTo>
                    <a:lnTo>
                      <a:pt x="f131" y="f132"/>
                    </a:lnTo>
                    <a:lnTo>
                      <a:pt x="f105" y="f133"/>
                    </a:lnTo>
                    <a:lnTo>
                      <a:pt x="f134" y="f135"/>
                    </a:lnTo>
                    <a:lnTo>
                      <a:pt x="f134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04" y="f143"/>
                    </a:lnTo>
                    <a:lnTo>
                      <a:pt x="f144" y="f145"/>
                    </a:lnTo>
                    <a:lnTo>
                      <a:pt x="f146" y="f122"/>
                    </a:lnTo>
                    <a:lnTo>
                      <a:pt x="f147" y="f148"/>
                    </a:lnTo>
                    <a:lnTo>
                      <a:pt x="f99" y="f149"/>
                    </a:lnTo>
                    <a:lnTo>
                      <a:pt x="f150" y="f148"/>
                    </a:lnTo>
                    <a:lnTo>
                      <a:pt x="f151" y="f152"/>
                    </a:lnTo>
                    <a:lnTo>
                      <a:pt x="f93" y="f145"/>
                    </a:lnTo>
                    <a:lnTo>
                      <a:pt x="f153" y="f143"/>
                    </a:lnTo>
                    <a:lnTo>
                      <a:pt x="f154" y="f117"/>
                    </a:lnTo>
                    <a:lnTo>
                      <a:pt x="f155" y="f156"/>
                    </a:lnTo>
                    <a:lnTo>
                      <a:pt x="f157" y="f158"/>
                    </a:lnTo>
                    <a:lnTo>
                      <a:pt x="f70" y="f159"/>
                    </a:lnTo>
                    <a:lnTo>
                      <a:pt x="f160" y="f161"/>
                    </a:lnTo>
                    <a:lnTo>
                      <a:pt x="f162" y="f163"/>
                    </a:lnTo>
                    <a:lnTo>
                      <a:pt x="f164" y="f125"/>
                    </a:lnTo>
                    <a:lnTo>
                      <a:pt x="f165" y="f166"/>
                    </a:lnTo>
                    <a:lnTo>
                      <a:pt x="f167" y="f168"/>
                    </a:lnTo>
                    <a:lnTo>
                      <a:pt x="f169" y="f130"/>
                    </a:lnTo>
                    <a:lnTo>
                      <a:pt x="f170" y="f171"/>
                    </a:lnTo>
                    <a:lnTo>
                      <a:pt x="f44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lnTo>
                      <a:pt x="f177" y="f7"/>
                    </a:lnTo>
                    <a:lnTo>
                      <a:pt x="f178" y="f176"/>
                    </a:lnTo>
                    <a:lnTo>
                      <a:pt x="f179" y="f180"/>
                    </a:lnTo>
                    <a:lnTo>
                      <a:pt x="f181" y="f9"/>
                    </a:lnTo>
                    <a:lnTo>
                      <a:pt x="f177" y="f168"/>
                    </a:lnTo>
                    <a:lnTo>
                      <a:pt x="f182" y="f163"/>
                    </a:lnTo>
                    <a:lnTo>
                      <a:pt x="f183" y="f184"/>
                    </a:lnTo>
                    <a:lnTo>
                      <a:pt x="f185" y="f117"/>
                    </a:lnTo>
                    <a:lnTo>
                      <a:pt x="f186" y="f187"/>
                    </a:lnTo>
                    <a:lnTo>
                      <a:pt x="f5" y="f120"/>
                    </a:lnTo>
                    <a:lnTo>
                      <a:pt x="f188" y="f189"/>
                    </a:lnTo>
                    <a:lnTo>
                      <a:pt x="f190" y="f191"/>
                    </a:lnTo>
                    <a:lnTo>
                      <a:pt x="f183" y="f192"/>
                    </a:lnTo>
                    <a:lnTo>
                      <a:pt x="f193" y="f194"/>
                    </a:lnTo>
                    <a:lnTo>
                      <a:pt x="f195" y="f146"/>
                    </a:lnTo>
                    <a:lnTo>
                      <a:pt x="f196" y="f197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31" y="f202"/>
                    </a:lnTo>
                    <a:lnTo>
                      <a:pt x="f203" y="f204"/>
                    </a:lnTo>
                    <a:lnTo>
                      <a:pt x="f164" y="f205"/>
                    </a:lnTo>
                    <a:lnTo>
                      <a:pt x="f62" y="f206"/>
                    </a:lnTo>
                    <a:lnTo>
                      <a:pt x="f207" y="f208"/>
                    </a:lnTo>
                    <a:lnTo>
                      <a:pt x="f209" y="f210"/>
                    </a:lnTo>
                    <a:lnTo>
                      <a:pt x="f211" y="f212"/>
                    </a:lnTo>
                    <a:lnTo>
                      <a:pt x="f213" y="f82"/>
                    </a:lnTo>
                    <a:lnTo>
                      <a:pt x="f214" y="f76"/>
                    </a:lnTo>
                    <a:lnTo>
                      <a:pt x="f215" y="f216"/>
                    </a:lnTo>
                    <a:lnTo>
                      <a:pt x="f217" y="f218"/>
                    </a:lnTo>
                    <a:lnTo>
                      <a:pt x="f219" y="f220"/>
                    </a:lnTo>
                    <a:lnTo>
                      <a:pt x="f221" y="f222"/>
                    </a:lnTo>
                    <a:lnTo>
                      <a:pt x="f223" y="f224"/>
                    </a:lnTo>
                    <a:lnTo>
                      <a:pt x="f225" y="f226"/>
                    </a:lnTo>
                    <a:lnTo>
                      <a:pt x="f202" y="f227"/>
                    </a:lnTo>
                    <a:lnTo>
                      <a:pt x="f228" y="f229"/>
                    </a:lnTo>
                    <a:lnTo>
                      <a:pt x="f230" y="f61"/>
                    </a:lnTo>
                    <a:lnTo>
                      <a:pt x="f221" y="f231"/>
                    </a:lnTo>
                    <a:lnTo>
                      <a:pt x="f232" y="f233"/>
                    </a:lnTo>
                    <a:lnTo>
                      <a:pt x="f228" y="f58"/>
                    </a:lnTo>
                    <a:lnTo>
                      <a:pt x="f201" y="f167"/>
                    </a:lnTo>
                    <a:lnTo>
                      <a:pt x="f102" y="f25"/>
                    </a:lnTo>
                    <a:lnTo>
                      <a:pt x="f194" y="f55"/>
                    </a:lnTo>
                    <a:lnTo>
                      <a:pt x="f134" y="f234"/>
                    </a:lnTo>
                    <a:lnTo>
                      <a:pt x="f235" y="f23"/>
                    </a:lnTo>
                    <a:lnTo>
                      <a:pt x="f131" y="f52"/>
                    </a:lnTo>
                    <a:lnTo>
                      <a:pt x="f131" y="f41"/>
                    </a:lnTo>
                    <a:lnTo>
                      <a:pt x="f236" y="f44"/>
                    </a:lnTo>
                    <a:lnTo>
                      <a:pt x="f107" y="f237"/>
                    </a:lnTo>
                    <a:lnTo>
                      <a:pt x="f238" y="f18"/>
                    </a:lnTo>
                    <a:lnTo>
                      <a:pt x="f239" y="f173"/>
                    </a:lnTo>
                    <a:lnTo>
                      <a:pt x="f122" y="f240"/>
                    </a:lnTo>
                    <a:lnTo>
                      <a:pt x="f241" y="f242"/>
                    </a:lnTo>
                    <a:lnTo>
                      <a:pt x="f243" y="f244"/>
                    </a:lnTo>
                    <a:lnTo>
                      <a:pt x="f121" y="f245"/>
                    </a:lnTo>
                    <a:lnTo>
                      <a:pt x="f246" y="f247"/>
                    </a:lnTo>
                    <a:lnTo>
                      <a:pt x="f135" y="f248"/>
                    </a:lnTo>
                    <a:lnTo>
                      <a:pt x="f249" y="f190"/>
                    </a:lnTo>
                    <a:lnTo>
                      <a:pt x="f8" y="f186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64" name="Freeform 26">
                <a:extLst>
                  <a:ext uri="{FF2B5EF4-FFF2-40B4-BE49-F238E27FC236}">
                    <a16:creationId xmlns:a16="http://schemas.microsoft.com/office/drawing/2014/main" id="{E1881B01-E0BD-4972-937C-8B3497030E51}"/>
                  </a:ext>
                </a:extLst>
              </p:cNvPr>
              <p:cNvSpPr/>
              <p:nvPr/>
            </p:nvSpPr>
            <p:spPr>
              <a:xfrm>
                <a:off x="4186790" y="2864568"/>
                <a:ext cx="8622" cy="7324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2"/>
                  <a:gd name="f7" fmla="val 45"/>
                  <a:gd name="f8" fmla="val 5"/>
                  <a:gd name="f9" fmla="val 13"/>
                  <a:gd name="f10" fmla="val 23"/>
                  <a:gd name="f11" fmla="val 6"/>
                  <a:gd name="f12" fmla="val 38"/>
                  <a:gd name="f13" fmla="val 16"/>
                  <a:gd name="f14" fmla="val 44"/>
                  <a:gd name="f15" fmla="val 34"/>
                  <a:gd name="f16" fmla="val 20"/>
                  <a:gd name="f17" fmla="val 35"/>
                  <a:gd name="f18" fmla="val 9"/>
                  <a:gd name="f19" fmla="val 27"/>
                  <a:gd name="f20" fmla="val 2"/>
                  <a:gd name="f21" fmla="val 18"/>
                  <a:gd name="f22" fmla="val 11"/>
                  <a:gd name="f23" fmla="val 1"/>
                  <a:gd name="f24" fmla="+- 0 0 -90"/>
                  <a:gd name="f25" fmla="*/ f3 1 52"/>
                  <a:gd name="f26" fmla="*/ f4 1 45"/>
                  <a:gd name="f27" fmla="+- f7 0 f5"/>
                  <a:gd name="f28" fmla="+- f6 0 f5"/>
                  <a:gd name="f29" fmla="*/ f24 f0 1"/>
                  <a:gd name="f30" fmla="*/ f28 1 52"/>
                  <a:gd name="f31" fmla="*/ f27 1 45"/>
                  <a:gd name="f32" fmla="*/ f29 1 f2"/>
                  <a:gd name="f33" fmla="*/ 5 1 f30"/>
                  <a:gd name="f34" fmla="*/ 0 1 f31"/>
                  <a:gd name="f35" fmla="*/ 13 1 f30"/>
                  <a:gd name="f36" fmla="*/ 23 1 f30"/>
                  <a:gd name="f37" fmla="*/ 6 1 f31"/>
                  <a:gd name="f38" fmla="*/ 38 1 f30"/>
                  <a:gd name="f39" fmla="*/ 16 1 f31"/>
                  <a:gd name="f40" fmla="*/ 52 1 f30"/>
                  <a:gd name="f41" fmla="*/ 23 1 f31"/>
                  <a:gd name="f42" fmla="*/ 44 1 f30"/>
                  <a:gd name="f43" fmla="*/ 34 1 f31"/>
                  <a:gd name="f44" fmla="*/ 34 1 f30"/>
                  <a:gd name="f45" fmla="*/ 45 1 f31"/>
                  <a:gd name="f46" fmla="*/ 20 1 f30"/>
                  <a:gd name="f47" fmla="*/ 35 1 f31"/>
                  <a:gd name="f48" fmla="*/ 9 1 f30"/>
                  <a:gd name="f49" fmla="*/ 27 1 f31"/>
                  <a:gd name="f50" fmla="*/ 2 1 f30"/>
                  <a:gd name="f51" fmla="*/ 18 1 f31"/>
                  <a:gd name="f52" fmla="*/ 0 1 f30"/>
                  <a:gd name="f53" fmla="*/ 11 1 f31"/>
                  <a:gd name="f54" fmla="*/ 1 1 f30"/>
                  <a:gd name="f55" fmla="*/ 5 1 f31"/>
                  <a:gd name="f56" fmla="*/ f6 1 f30"/>
                  <a:gd name="f57" fmla="*/ f7 1 f31"/>
                  <a:gd name="f58" fmla="+- f32 0 f1"/>
                  <a:gd name="f59" fmla="*/ f52 f25 1"/>
                  <a:gd name="f60" fmla="*/ f56 f25 1"/>
                  <a:gd name="f61" fmla="*/ f57 f26 1"/>
                  <a:gd name="f62" fmla="*/ f34 f26 1"/>
                  <a:gd name="f63" fmla="*/ f33 f25 1"/>
                  <a:gd name="f64" fmla="*/ f35 f25 1"/>
                  <a:gd name="f65" fmla="*/ f36 f25 1"/>
                  <a:gd name="f66" fmla="*/ f37 f26 1"/>
                  <a:gd name="f67" fmla="*/ f38 f25 1"/>
                  <a:gd name="f68" fmla="*/ f39 f26 1"/>
                  <a:gd name="f69" fmla="*/ f40 f25 1"/>
                  <a:gd name="f70" fmla="*/ f41 f26 1"/>
                  <a:gd name="f71" fmla="*/ f42 f25 1"/>
                  <a:gd name="f72" fmla="*/ f43 f26 1"/>
                  <a:gd name="f73" fmla="*/ f44 f25 1"/>
                  <a:gd name="f74" fmla="*/ f45 f26 1"/>
                  <a:gd name="f75" fmla="*/ f46 f25 1"/>
                  <a:gd name="f76" fmla="*/ f47 f26 1"/>
                  <a:gd name="f77" fmla="*/ f48 f25 1"/>
                  <a:gd name="f78" fmla="*/ f49 f26 1"/>
                  <a:gd name="f79" fmla="*/ f50 f25 1"/>
                  <a:gd name="f80" fmla="*/ f51 f26 1"/>
                  <a:gd name="f81" fmla="*/ f53 f26 1"/>
                  <a:gd name="f82" fmla="*/ f54 f25 1"/>
                  <a:gd name="f83" fmla="*/ f55 f2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8">
                    <a:pos x="f63" y="f62"/>
                  </a:cxn>
                  <a:cxn ang="f58">
                    <a:pos x="f64" y="f62"/>
                  </a:cxn>
                  <a:cxn ang="f58">
                    <a:pos x="f65" y="f66"/>
                  </a:cxn>
                  <a:cxn ang="f58">
                    <a:pos x="f67" y="f68"/>
                  </a:cxn>
                  <a:cxn ang="f58">
                    <a:pos x="f69" y="f70"/>
                  </a:cxn>
                  <a:cxn ang="f58">
                    <a:pos x="f71" y="f72"/>
                  </a:cxn>
                  <a:cxn ang="f58">
                    <a:pos x="f73" y="f74"/>
                  </a:cxn>
                  <a:cxn ang="f58">
                    <a:pos x="f75" y="f76"/>
                  </a:cxn>
                  <a:cxn ang="f58">
                    <a:pos x="f77" y="f78"/>
                  </a:cxn>
                  <a:cxn ang="f58">
                    <a:pos x="f79" y="f80"/>
                  </a:cxn>
                  <a:cxn ang="f58">
                    <a:pos x="f59" y="f81"/>
                  </a:cxn>
                  <a:cxn ang="f58">
                    <a:pos x="f82" y="f83"/>
                  </a:cxn>
                  <a:cxn ang="f58">
                    <a:pos x="f63" y="f62"/>
                  </a:cxn>
                </a:cxnLst>
                <a:rect l="f59" t="f62" r="f60" b="f61"/>
                <a:pathLst>
                  <a:path w="52" h="45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6" y="f10"/>
                    </a:lnTo>
                    <a:lnTo>
                      <a:pt x="f14" y="f15"/>
                    </a:lnTo>
                    <a:lnTo>
                      <a:pt x="f15" y="f7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5" y="f22"/>
                    </a:lnTo>
                    <a:lnTo>
                      <a:pt x="f23" y="f8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65" name="Freeform 27">
                <a:extLst>
                  <a:ext uri="{FF2B5EF4-FFF2-40B4-BE49-F238E27FC236}">
                    <a16:creationId xmlns:a16="http://schemas.microsoft.com/office/drawing/2014/main" id="{2DACA904-052F-4E78-8CA9-879C257DF9E5}"/>
                  </a:ext>
                </a:extLst>
              </p:cNvPr>
              <p:cNvSpPr/>
              <p:nvPr/>
            </p:nvSpPr>
            <p:spPr>
              <a:xfrm>
                <a:off x="4557717" y="2661580"/>
                <a:ext cx="50932" cy="3580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07"/>
                  <a:gd name="f7" fmla="val 220"/>
                  <a:gd name="f8" fmla="val 7"/>
                  <a:gd name="f9" fmla="val 9"/>
                  <a:gd name="f10" fmla="val 10"/>
                  <a:gd name="f11" fmla="val 3"/>
                  <a:gd name="f12" fmla="val 11"/>
                  <a:gd name="f13" fmla="val 5"/>
                  <a:gd name="f14" fmla="val 13"/>
                  <a:gd name="f15" fmla="val 14"/>
                  <a:gd name="f16" fmla="val 17"/>
                  <a:gd name="f17" fmla="val 18"/>
                  <a:gd name="f18" fmla="val 21"/>
                  <a:gd name="f19" fmla="val 20"/>
                  <a:gd name="f20" fmla="val 25"/>
                  <a:gd name="f21" fmla="val 35"/>
                  <a:gd name="f22" fmla="val 46"/>
                  <a:gd name="f23" fmla="val 27"/>
                  <a:gd name="f24" fmla="val 58"/>
                  <a:gd name="f25" fmla="val 31"/>
                  <a:gd name="f26" fmla="val 71"/>
                  <a:gd name="f27" fmla="val 36"/>
                  <a:gd name="f28" fmla="val 79"/>
                  <a:gd name="f29" fmla="val 39"/>
                  <a:gd name="f30" fmla="val 85"/>
                  <a:gd name="f31" fmla="val 90"/>
                  <a:gd name="f32" fmla="val 98"/>
                  <a:gd name="f33" fmla="val 111"/>
                  <a:gd name="f34" fmla="val 24"/>
                  <a:gd name="f35" fmla="val 123"/>
                  <a:gd name="f36" fmla="val 137"/>
                  <a:gd name="f37" fmla="val 148"/>
                  <a:gd name="f38" fmla="val 155"/>
                  <a:gd name="f39" fmla="val 163"/>
                  <a:gd name="f40" fmla="val 173"/>
                  <a:gd name="f41" fmla="val 32"/>
                  <a:gd name="f42" fmla="val 181"/>
                  <a:gd name="f43" fmla="val 45"/>
                  <a:gd name="f44" fmla="val 190"/>
                  <a:gd name="f45" fmla="val 54"/>
                  <a:gd name="f46" fmla="val 206"/>
                  <a:gd name="f47" fmla="val 60"/>
                  <a:gd name="f48" fmla="val 216"/>
                  <a:gd name="f49" fmla="val 68"/>
                  <a:gd name="f50" fmla="val 225"/>
                  <a:gd name="f51" fmla="val 235"/>
                  <a:gd name="f52" fmla="val 89"/>
                  <a:gd name="f53" fmla="val 246"/>
                  <a:gd name="f54" fmla="val 93"/>
                  <a:gd name="f55" fmla="val 253"/>
                  <a:gd name="f56" fmla="val 96"/>
                  <a:gd name="f57" fmla="val 257"/>
                  <a:gd name="f58" fmla="val 100"/>
                  <a:gd name="f59" fmla="val 266"/>
                  <a:gd name="f60" fmla="val 113"/>
                  <a:gd name="f61" fmla="val 272"/>
                  <a:gd name="f62" fmla="val 283"/>
                  <a:gd name="f63" fmla="val 295"/>
                  <a:gd name="f64" fmla="val 303"/>
                  <a:gd name="f65" fmla="val 114"/>
                  <a:gd name="f66" fmla="val 299"/>
                  <a:gd name="f67" fmla="val 122"/>
                  <a:gd name="f68" fmla="val 128"/>
                  <a:gd name="f69" fmla="val 292"/>
                  <a:gd name="f70" fmla="val 145"/>
                  <a:gd name="f71" fmla="val 288"/>
                  <a:gd name="f72" fmla="val 150"/>
                  <a:gd name="f73" fmla="val 271"/>
                  <a:gd name="f74" fmla="val 161"/>
                  <a:gd name="f75" fmla="val 264"/>
                  <a:gd name="f76" fmla="val 167"/>
                  <a:gd name="f77" fmla="val 261"/>
                  <a:gd name="f78" fmla="val 171"/>
                  <a:gd name="f79" fmla="val 260"/>
                  <a:gd name="f80" fmla="val 179"/>
                  <a:gd name="f81" fmla="val 256"/>
                  <a:gd name="f82" fmla="val 249"/>
                  <a:gd name="f83" fmla="val 197"/>
                  <a:gd name="f84" fmla="val 238"/>
                  <a:gd name="f85" fmla="val 200"/>
                  <a:gd name="f86" fmla="val 227"/>
                  <a:gd name="f87" fmla="val 202"/>
                  <a:gd name="f88" fmla="val 209"/>
                  <a:gd name="f89" fmla="val 203"/>
                  <a:gd name="f90" fmla="val 183"/>
                  <a:gd name="f91" fmla="val 217"/>
                  <a:gd name="f92" fmla="val 174"/>
                  <a:gd name="f93" fmla="val 169"/>
                  <a:gd name="f94" fmla="val 159"/>
                  <a:gd name="f95" fmla="val 207"/>
                  <a:gd name="f96" fmla="val 152"/>
                  <a:gd name="f97" fmla="val 140"/>
                  <a:gd name="f98" fmla="val 125"/>
                  <a:gd name="f99" fmla="val 210"/>
                  <a:gd name="f100" fmla="val 112"/>
                  <a:gd name="f101" fmla="val 211"/>
                  <a:gd name="f102" fmla="val 108"/>
                  <a:gd name="f103" fmla="val 208"/>
                  <a:gd name="f104" fmla="val 105"/>
                  <a:gd name="f105" fmla="val 104"/>
                  <a:gd name="f106" fmla="val 189"/>
                  <a:gd name="f107" fmla="val 101"/>
                  <a:gd name="f108" fmla="val 178"/>
                  <a:gd name="f109" fmla="val 168"/>
                  <a:gd name="f110" fmla="val 94"/>
                  <a:gd name="f111" fmla="val 160"/>
                  <a:gd name="f112" fmla="val 78"/>
                  <a:gd name="f113" fmla="val 164"/>
                  <a:gd name="f114" fmla="val 170"/>
                  <a:gd name="f115" fmla="val 49"/>
                  <a:gd name="f116" fmla="val 175"/>
                  <a:gd name="f117" fmla="val 44"/>
                  <a:gd name="f118" fmla="val 172"/>
                  <a:gd name="f119" fmla="val 47"/>
                  <a:gd name="f120" fmla="val 165"/>
                  <a:gd name="f121" fmla="val 40"/>
                  <a:gd name="f122" fmla="val 29"/>
                  <a:gd name="f123" fmla="val 127"/>
                  <a:gd name="f124" fmla="val 91"/>
                  <a:gd name="f125" fmla="val 82"/>
                  <a:gd name="f126" fmla="val 75"/>
                  <a:gd name="f127" fmla="val 4"/>
                  <a:gd name="f128" fmla="val 70"/>
                  <a:gd name="f129" fmla="val 2"/>
                  <a:gd name="f130" fmla="val 48"/>
                  <a:gd name="f131" fmla="val 34"/>
                  <a:gd name="f132" fmla="+- 0 0 -90"/>
                  <a:gd name="f133" fmla="*/ f3 1 307"/>
                  <a:gd name="f134" fmla="*/ f4 1 220"/>
                  <a:gd name="f135" fmla="+- f7 0 f5"/>
                  <a:gd name="f136" fmla="+- f6 0 f5"/>
                  <a:gd name="f137" fmla="*/ f132 f0 1"/>
                  <a:gd name="f138" fmla="*/ f136 1 307"/>
                  <a:gd name="f139" fmla="*/ f135 1 220"/>
                  <a:gd name="f140" fmla="*/ f137 1 f2"/>
                  <a:gd name="f141" fmla="*/ 9 1 f138"/>
                  <a:gd name="f142" fmla="*/ 0 1 f139"/>
                  <a:gd name="f143" fmla="*/ 11 1 f138"/>
                  <a:gd name="f144" fmla="*/ 5 1 f139"/>
                  <a:gd name="f145" fmla="*/ 14 1 f138"/>
                  <a:gd name="f146" fmla="*/ 11 1 f139"/>
                  <a:gd name="f147" fmla="*/ 18 1 f138"/>
                  <a:gd name="f148" fmla="*/ 17 1 f139"/>
                  <a:gd name="f149" fmla="*/ 25 1 f138"/>
                  <a:gd name="f150" fmla="*/ 20 1 f139"/>
                  <a:gd name="f151" fmla="*/ 46 1 f138"/>
                  <a:gd name="f152" fmla="*/ 27 1 f139"/>
                  <a:gd name="f153" fmla="*/ 71 1 f138"/>
                  <a:gd name="f154" fmla="*/ 36 1 f139"/>
                  <a:gd name="f155" fmla="*/ 85 1 f138"/>
                  <a:gd name="f156" fmla="*/ 39 1 f139"/>
                  <a:gd name="f157" fmla="*/ 98 1 f138"/>
                  <a:gd name="f158" fmla="*/ 31 1 f139"/>
                  <a:gd name="f159" fmla="*/ 123 1 f138"/>
                  <a:gd name="f160" fmla="*/ 18 1 f139"/>
                  <a:gd name="f161" fmla="*/ 148 1 f138"/>
                  <a:gd name="f162" fmla="*/ 13 1 f139"/>
                  <a:gd name="f163" fmla="*/ 163 1 f138"/>
                  <a:gd name="f164" fmla="*/ 21 1 f139"/>
                  <a:gd name="f165" fmla="*/ 181 1 f138"/>
                  <a:gd name="f166" fmla="*/ 45 1 f139"/>
                  <a:gd name="f167" fmla="*/ 206 1 f138"/>
                  <a:gd name="f168" fmla="*/ 60 1 f139"/>
                  <a:gd name="f169" fmla="*/ 225 1 f138"/>
                  <a:gd name="f170" fmla="*/ 79 1 f139"/>
                  <a:gd name="f171" fmla="*/ 246 1 f138"/>
                  <a:gd name="f172" fmla="*/ 93 1 f139"/>
                  <a:gd name="f173" fmla="*/ 257 1 f138"/>
                  <a:gd name="f174" fmla="*/ 100 1 f139"/>
                  <a:gd name="f175" fmla="*/ 272 1 f138"/>
                  <a:gd name="f176" fmla="*/ 113 1 f139"/>
                  <a:gd name="f177" fmla="*/ 295 1 f138"/>
                  <a:gd name="f178" fmla="*/ 111 1 f139"/>
                  <a:gd name="f179" fmla="*/ 307 1 f138"/>
                  <a:gd name="f180" fmla="*/ 114 1 f139"/>
                  <a:gd name="f181" fmla="*/ 128 1 f139"/>
                  <a:gd name="f182" fmla="*/ 288 1 f138"/>
                  <a:gd name="f183" fmla="*/ 150 1 f139"/>
                  <a:gd name="f184" fmla="*/ 264 1 f138"/>
                  <a:gd name="f185" fmla="*/ 167 1 f139"/>
                  <a:gd name="f186" fmla="*/ 260 1 f138"/>
                  <a:gd name="f187" fmla="*/ 179 1 f139"/>
                  <a:gd name="f188" fmla="*/ 249 1 f138"/>
                  <a:gd name="f189" fmla="*/ 197 1 f139"/>
                  <a:gd name="f190" fmla="*/ 227 1 f138"/>
                  <a:gd name="f191" fmla="*/ 202 1 f139"/>
                  <a:gd name="f192" fmla="*/ 209 1 f138"/>
                  <a:gd name="f193" fmla="*/ 200 1 f139"/>
                  <a:gd name="f194" fmla="*/ 183 1 f138"/>
                  <a:gd name="f195" fmla="*/ 217 1 f139"/>
                  <a:gd name="f196" fmla="*/ 169 1 f138"/>
                  <a:gd name="f197" fmla="*/ 152 1 f138"/>
                  <a:gd name="f198" fmla="*/ 206 1 f139"/>
                  <a:gd name="f199" fmla="*/ 125 1 f138"/>
                  <a:gd name="f200" fmla="*/ 210 1 f139"/>
                  <a:gd name="f201" fmla="*/ 108 1 f138"/>
                  <a:gd name="f202" fmla="*/ 208 1 f139"/>
                  <a:gd name="f203" fmla="*/ 104 1 f138"/>
                  <a:gd name="f204" fmla="*/ 189 1 f139"/>
                  <a:gd name="f205" fmla="*/ 168 1 f139"/>
                  <a:gd name="f206" fmla="*/ 89 1 f138"/>
                  <a:gd name="f207" fmla="*/ 160 1 f139"/>
                  <a:gd name="f208" fmla="*/ 68 1 f138"/>
                  <a:gd name="f209" fmla="*/ 170 1 f139"/>
                  <a:gd name="f210" fmla="*/ 49 1 f138"/>
                  <a:gd name="f211" fmla="*/ 175 1 f139"/>
                  <a:gd name="f212" fmla="*/ 44 1 f138"/>
                  <a:gd name="f213" fmla="*/ 172 1 f139"/>
                  <a:gd name="f214" fmla="*/ 47 1 f138"/>
                  <a:gd name="f215" fmla="*/ 165 1 f139"/>
                  <a:gd name="f216" fmla="*/ 164 1 f139"/>
                  <a:gd name="f217" fmla="*/ 40 1 f138"/>
                  <a:gd name="f218" fmla="*/ 163 1 f139"/>
                  <a:gd name="f219" fmla="*/ 24 1 f138"/>
                  <a:gd name="f220" fmla="*/ 13 1 f138"/>
                  <a:gd name="f221" fmla="*/ 140 1 f139"/>
                  <a:gd name="f222" fmla="*/ 17 1 f138"/>
                  <a:gd name="f223" fmla="*/ 91 1 f139"/>
                  <a:gd name="f224" fmla="*/ 7 1 f138"/>
                  <a:gd name="f225" fmla="*/ 75 1 f139"/>
                  <a:gd name="f226" fmla="*/ 3 1 f138"/>
                  <a:gd name="f227" fmla="*/ 0 1 f138"/>
                  <a:gd name="f228" fmla="*/ 34 1 f139"/>
                  <a:gd name="f229" fmla="*/ 4 1 f138"/>
                  <a:gd name="f230" fmla="*/ 2 1 f139"/>
                  <a:gd name="f231" fmla="*/ f6 1 f138"/>
                  <a:gd name="f232" fmla="*/ f7 1 f139"/>
                  <a:gd name="f233" fmla="+- f140 0 f1"/>
                  <a:gd name="f234" fmla="*/ f227 f133 1"/>
                  <a:gd name="f235" fmla="*/ f231 f133 1"/>
                  <a:gd name="f236" fmla="*/ f232 f134 1"/>
                  <a:gd name="f237" fmla="*/ f142 f134 1"/>
                  <a:gd name="f238" fmla="*/ f141 f133 1"/>
                  <a:gd name="f239" fmla="*/ f143 f133 1"/>
                  <a:gd name="f240" fmla="*/ f144 f134 1"/>
                  <a:gd name="f241" fmla="*/ f145 f133 1"/>
                  <a:gd name="f242" fmla="*/ f146 f134 1"/>
                  <a:gd name="f243" fmla="*/ f147 f133 1"/>
                  <a:gd name="f244" fmla="*/ f148 f134 1"/>
                  <a:gd name="f245" fmla="*/ f149 f133 1"/>
                  <a:gd name="f246" fmla="*/ f150 f134 1"/>
                  <a:gd name="f247" fmla="*/ f151 f133 1"/>
                  <a:gd name="f248" fmla="*/ f152 f134 1"/>
                  <a:gd name="f249" fmla="*/ f153 f133 1"/>
                  <a:gd name="f250" fmla="*/ f154 f134 1"/>
                  <a:gd name="f251" fmla="*/ f155 f133 1"/>
                  <a:gd name="f252" fmla="*/ f156 f134 1"/>
                  <a:gd name="f253" fmla="*/ f157 f133 1"/>
                  <a:gd name="f254" fmla="*/ f158 f134 1"/>
                  <a:gd name="f255" fmla="*/ f159 f133 1"/>
                  <a:gd name="f256" fmla="*/ f160 f134 1"/>
                  <a:gd name="f257" fmla="*/ f161 f133 1"/>
                  <a:gd name="f258" fmla="*/ f162 f134 1"/>
                  <a:gd name="f259" fmla="*/ f163 f133 1"/>
                  <a:gd name="f260" fmla="*/ f164 f134 1"/>
                  <a:gd name="f261" fmla="*/ f165 f133 1"/>
                  <a:gd name="f262" fmla="*/ f166 f134 1"/>
                  <a:gd name="f263" fmla="*/ f167 f133 1"/>
                  <a:gd name="f264" fmla="*/ f168 f134 1"/>
                  <a:gd name="f265" fmla="*/ f169 f133 1"/>
                  <a:gd name="f266" fmla="*/ f170 f134 1"/>
                  <a:gd name="f267" fmla="*/ f171 f133 1"/>
                  <a:gd name="f268" fmla="*/ f172 f134 1"/>
                  <a:gd name="f269" fmla="*/ f173 f133 1"/>
                  <a:gd name="f270" fmla="*/ f174 f134 1"/>
                  <a:gd name="f271" fmla="*/ f175 f133 1"/>
                  <a:gd name="f272" fmla="*/ f176 f134 1"/>
                  <a:gd name="f273" fmla="*/ f177 f133 1"/>
                  <a:gd name="f274" fmla="*/ f178 f134 1"/>
                  <a:gd name="f275" fmla="*/ f179 f133 1"/>
                  <a:gd name="f276" fmla="*/ f180 f134 1"/>
                  <a:gd name="f277" fmla="*/ f181 f134 1"/>
                  <a:gd name="f278" fmla="*/ f182 f133 1"/>
                  <a:gd name="f279" fmla="*/ f183 f134 1"/>
                  <a:gd name="f280" fmla="*/ f184 f133 1"/>
                  <a:gd name="f281" fmla="*/ f185 f134 1"/>
                  <a:gd name="f282" fmla="*/ f186 f133 1"/>
                  <a:gd name="f283" fmla="*/ f187 f134 1"/>
                  <a:gd name="f284" fmla="*/ f188 f133 1"/>
                  <a:gd name="f285" fmla="*/ f189 f134 1"/>
                  <a:gd name="f286" fmla="*/ f190 f133 1"/>
                  <a:gd name="f287" fmla="*/ f191 f134 1"/>
                  <a:gd name="f288" fmla="*/ f192 f133 1"/>
                  <a:gd name="f289" fmla="*/ f193 f134 1"/>
                  <a:gd name="f290" fmla="*/ f194 f133 1"/>
                  <a:gd name="f291" fmla="*/ f195 f134 1"/>
                  <a:gd name="f292" fmla="*/ f196 f133 1"/>
                  <a:gd name="f293" fmla="*/ f197 f133 1"/>
                  <a:gd name="f294" fmla="*/ f198 f134 1"/>
                  <a:gd name="f295" fmla="*/ f199 f133 1"/>
                  <a:gd name="f296" fmla="*/ f200 f134 1"/>
                  <a:gd name="f297" fmla="*/ f201 f133 1"/>
                  <a:gd name="f298" fmla="*/ f202 f134 1"/>
                  <a:gd name="f299" fmla="*/ f203 f133 1"/>
                  <a:gd name="f300" fmla="*/ f204 f134 1"/>
                  <a:gd name="f301" fmla="*/ f205 f134 1"/>
                  <a:gd name="f302" fmla="*/ f206 f133 1"/>
                  <a:gd name="f303" fmla="*/ f207 f134 1"/>
                  <a:gd name="f304" fmla="*/ f208 f133 1"/>
                  <a:gd name="f305" fmla="*/ f209 f134 1"/>
                  <a:gd name="f306" fmla="*/ f210 f133 1"/>
                  <a:gd name="f307" fmla="*/ f211 f134 1"/>
                  <a:gd name="f308" fmla="*/ f212 f133 1"/>
                  <a:gd name="f309" fmla="*/ f213 f134 1"/>
                  <a:gd name="f310" fmla="*/ f214 f133 1"/>
                  <a:gd name="f311" fmla="*/ f215 f134 1"/>
                  <a:gd name="f312" fmla="*/ f216 f134 1"/>
                  <a:gd name="f313" fmla="*/ f217 f133 1"/>
                  <a:gd name="f314" fmla="*/ f218 f134 1"/>
                  <a:gd name="f315" fmla="*/ f219 f133 1"/>
                  <a:gd name="f316" fmla="*/ f220 f133 1"/>
                  <a:gd name="f317" fmla="*/ f221 f134 1"/>
                  <a:gd name="f318" fmla="*/ f222 f133 1"/>
                  <a:gd name="f319" fmla="*/ f223 f134 1"/>
                  <a:gd name="f320" fmla="*/ f224 f133 1"/>
                  <a:gd name="f321" fmla="*/ f225 f134 1"/>
                  <a:gd name="f322" fmla="*/ f226 f133 1"/>
                  <a:gd name="f323" fmla="*/ f228 f134 1"/>
                  <a:gd name="f324" fmla="*/ f229 f133 1"/>
                  <a:gd name="f325" fmla="*/ f230 f13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33">
                    <a:pos x="f238" y="f237"/>
                  </a:cxn>
                  <a:cxn ang="f233">
                    <a:pos x="f239" y="f240"/>
                  </a:cxn>
                  <a:cxn ang="f233">
                    <a:pos x="f241" y="f242"/>
                  </a:cxn>
                  <a:cxn ang="f233">
                    <a:pos x="f243" y="f244"/>
                  </a:cxn>
                  <a:cxn ang="f233">
                    <a:pos x="f245" y="f246"/>
                  </a:cxn>
                  <a:cxn ang="f233">
                    <a:pos x="f247" y="f248"/>
                  </a:cxn>
                  <a:cxn ang="f233">
                    <a:pos x="f249" y="f250"/>
                  </a:cxn>
                  <a:cxn ang="f233">
                    <a:pos x="f251" y="f252"/>
                  </a:cxn>
                  <a:cxn ang="f233">
                    <a:pos x="f253" y="f254"/>
                  </a:cxn>
                  <a:cxn ang="f233">
                    <a:pos x="f255" y="f256"/>
                  </a:cxn>
                  <a:cxn ang="f233">
                    <a:pos x="f257" y="f258"/>
                  </a:cxn>
                  <a:cxn ang="f233">
                    <a:pos x="f259" y="f260"/>
                  </a:cxn>
                  <a:cxn ang="f233">
                    <a:pos x="f261" y="f262"/>
                  </a:cxn>
                  <a:cxn ang="f233">
                    <a:pos x="f263" y="f264"/>
                  </a:cxn>
                  <a:cxn ang="f233">
                    <a:pos x="f265" y="f266"/>
                  </a:cxn>
                  <a:cxn ang="f233">
                    <a:pos x="f267" y="f268"/>
                  </a:cxn>
                  <a:cxn ang="f233">
                    <a:pos x="f269" y="f270"/>
                  </a:cxn>
                  <a:cxn ang="f233">
                    <a:pos x="f271" y="f272"/>
                  </a:cxn>
                  <a:cxn ang="f233">
                    <a:pos x="f273" y="f274"/>
                  </a:cxn>
                  <a:cxn ang="f233">
                    <a:pos x="f275" y="f276"/>
                  </a:cxn>
                  <a:cxn ang="f233">
                    <a:pos x="f273" y="f277"/>
                  </a:cxn>
                  <a:cxn ang="f233">
                    <a:pos x="f278" y="f279"/>
                  </a:cxn>
                  <a:cxn ang="f233">
                    <a:pos x="f280" y="f281"/>
                  </a:cxn>
                  <a:cxn ang="f233">
                    <a:pos x="f282" y="f283"/>
                  </a:cxn>
                  <a:cxn ang="f233">
                    <a:pos x="f284" y="f285"/>
                  </a:cxn>
                  <a:cxn ang="f233">
                    <a:pos x="f286" y="f287"/>
                  </a:cxn>
                  <a:cxn ang="f233">
                    <a:pos x="f288" y="f289"/>
                  </a:cxn>
                  <a:cxn ang="f233">
                    <a:pos x="f290" y="f291"/>
                  </a:cxn>
                  <a:cxn ang="f233">
                    <a:pos x="f292" y="f291"/>
                  </a:cxn>
                  <a:cxn ang="f233">
                    <a:pos x="f293" y="f294"/>
                  </a:cxn>
                  <a:cxn ang="f233">
                    <a:pos x="f295" y="f296"/>
                  </a:cxn>
                  <a:cxn ang="f233">
                    <a:pos x="f297" y="f298"/>
                  </a:cxn>
                  <a:cxn ang="f233">
                    <a:pos x="f299" y="f300"/>
                  </a:cxn>
                  <a:cxn ang="f233">
                    <a:pos x="f253" y="f301"/>
                  </a:cxn>
                  <a:cxn ang="f233">
                    <a:pos x="f302" y="f303"/>
                  </a:cxn>
                  <a:cxn ang="f233">
                    <a:pos x="f304" y="f305"/>
                  </a:cxn>
                  <a:cxn ang="f233">
                    <a:pos x="f306" y="f307"/>
                  </a:cxn>
                  <a:cxn ang="f233">
                    <a:pos x="f308" y="f309"/>
                  </a:cxn>
                  <a:cxn ang="f233">
                    <a:pos x="f247" y="f301"/>
                  </a:cxn>
                  <a:cxn ang="f233">
                    <a:pos x="f310" y="f311"/>
                  </a:cxn>
                  <a:cxn ang="f233">
                    <a:pos x="f247" y="f312"/>
                  </a:cxn>
                  <a:cxn ang="f233">
                    <a:pos x="f313" y="f314"/>
                  </a:cxn>
                  <a:cxn ang="f233">
                    <a:pos x="f315" y="f311"/>
                  </a:cxn>
                  <a:cxn ang="f233">
                    <a:pos x="f316" y="f303"/>
                  </a:cxn>
                  <a:cxn ang="f233">
                    <a:pos x="f239" y="f317"/>
                  </a:cxn>
                  <a:cxn ang="f233">
                    <a:pos x="f318" y="f276"/>
                  </a:cxn>
                  <a:cxn ang="f233">
                    <a:pos x="f318" y="f319"/>
                  </a:cxn>
                  <a:cxn ang="f233">
                    <a:pos x="f320" y="f321"/>
                  </a:cxn>
                  <a:cxn ang="f233">
                    <a:pos x="f322" y="f264"/>
                  </a:cxn>
                  <a:cxn ang="f233">
                    <a:pos x="f234" y="f323"/>
                  </a:cxn>
                  <a:cxn ang="f233">
                    <a:pos x="f324" y="f325"/>
                  </a:cxn>
                </a:cxnLst>
                <a:rect l="f234" t="f237" r="f235" b="f236"/>
                <a:pathLst>
                  <a:path w="307" h="220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9"/>
                    </a:lnTo>
                    <a:lnTo>
                      <a:pt x="f15" y="f12"/>
                    </a:lnTo>
                    <a:lnTo>
                      <a:pt x="f16" y="f15"/>
                    </a:lnTo>
                    <a:lnTo>
                      <a:pt x="f17" y="f16"/>
                    </a:lnTo>
                    <a:lnTo>
                      <a:pt x="f18" y="f19"/>
                    </a:lnTo>
                    <a:lnTo>
                      <a:pt x="f20" y="f19"/>
                    </a:lnTo>
                    <a:lnTo>
                      <a:pt x="f21" y="f18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29"/>
                    </a:lnTo>
                    <a:lnTo>
                      <a:pt x="f31" y="f21"/>
                    </a:lnTo>
                    <a:lnTo>
                      <a:pt x="f32" y="f25"/>
                    </a:lnTo>
                    <a:lnTo>
                      <a:pt x="f33" y="f34"/>
                    </a:lnTo>
                    <a:lnTo>
                      <a:pt x="f35" y="f17"/>
                    </a:lnTo>
                    <a:lnTo>
                      <a:pt x="f36" y="f15"/>
                    </a:lnTo>
                    <a:lnTo>
                      <a:pt x="f37" y="f14"/>
                    </a:lnTo>
                    <a:lnTo>
                      <a:pt x="f38" y="f15"/>
                    </a:lnTo>
                    <a:lnTo>
                      <a:pt x="f39" y="f18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28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60"/>
                    </a:lnTo>
                    <a:lnTo>
                      <a:pt x="f62" y="f33"/>
                    </a:lnTo>
                    <a:lnTo>
                      <a:pt x="f63" y="f33"/>
                    </a:lnTo>
                    <a:lnTo>
                      <a:pt x="f64" y="f60"/>
                    </a:lnTo>
                    <a:lnTo>
                      <a:pt x="f6" y="f65"/>
                    </a:lnTo>
                    <a:lnTo>
                      <a:pt x="f66" y="f67"/>
                    </a:lnTo>
                    <a:lnTo>
                      <a:pt x="f63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44"/>
                    </a:lnTo>
                    <a:lnTo>
                      <a:pt x="f82" y="f83"/>
                    </a:lnTo>
                    <a:lnTo>
                      <a:pt x="f84" y="f85"/>
                    </a:lnTo>
                    <a:lnTo>
                      <a:pt x="f86" y="f87"/>
                    </a:lnTo>
                    <a:lnTo>
                      <a:pt x="f48" y="f85"/>
                    </a:lnTo>
                    <a:lnTo>
                      <a:pt x="f88" y="f85"/>
                    </a:lnTo>
                    <a:lnTo>
                      <a:pt x="f87" y="f89"/>
                    </a:lnTo>
                    <a:lnTo>
                      <a:pt x="f90" y="f91"/>
                    </a:lnTo>
                    <a:lnTo>
                      <a:pt x="f92" y="f7"/>
                    </a:lnTo>
                    <a:lnTo>
                      <a:pt x="f93" y="f91"/>
                    </a:lnTo>
                    <a:lnTo>
                      <a:pt x="f94" y="f95"/>
                    </a:lnTo>
                    <a:lnTo>
                      <a:pt x="f96" y="f46"/>
                    </a:lnTo>
                    <a:lnTo>
                      <a:pt x="f97" y="f95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lnTo>
                      <a:pt x="f104" y="f85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32" y="f109"/>
                    </a:lnTo>
                    <a:lnTo>
                      <a:pt x="f110" y="f74"/>
                    </a:lnTo>
                    <a:lnTo>
                      <a:pt x="f52" y="f111"/>
                    </a:lnTo>
                    <a:lnTo>
                      <a:pt x="f112" y="f113"/>
                    </a:lnTo>
                    <a:lnTo>
                      <a:pt x="f49" y="f114"/>
                    </a:lnTo>
                    <a:lnTo>
                      <a:pt x="f24" y="f92"/>
                    </a:lnTo>
                    <a:lnTo>
                      <a:pt x="f115" y="f116"/>
                    </a:lnTo>
                    <a:lnTo>
                      <a:pt x="f22" y="f92"/>
                    </a:lnTo>
                    <a:lnTo>
                      <a:pt x="f117" y="f118"/>
                    </a:lnTo>
                    <a:lnTo>
                      <a:pt x="f117" y="f114"/>
                    </a:lnTo>
                    <a:lnTo>
                      <a:pt x="f22" y="f109"/>
                    </a:lnTo>
                    <a:lnTo>
                      <a:pt x="f22" y="f76"/>
                    </a:lnTo>
                    <a:lnTo>
                      <a:pt x="f119" y="f120"/>
                    </a:lnTo>
                    <a:lnTo>
                      <a:pt x="f119" y="f113"/>
                    </a:lnTo>
                    <a:lnTo>
                      <a:pt x="f22" y="f113"/>
                    </a:lnTo>
                    <a:lnTo>
                      <a:pt x="f117" y="f39"/>
                    </a:lnTo>
                    <a:lnTo>
                      <a:pt x="f121" y="f39"/>
                    </a:lnTo>
                    <a:lnTo>
                      <a:pt x="f122" y="f113"/>
                    </a:lnTo>
                    <a:lnTo>
                      <a:pt x="f34" y="f120"/>
                    </a:lnTo>
                    <a:lnTo>
                      <a:pt x="f17" y="f120"/>
                    </a:lnTo>
                    <a:lnTo>
                      <a:pt x="f14" y="f111"/>
                    </a:lnTo>
                    <a:lnTo>
                      <a:pt x="f10" y="f96"/>
                    </a:lnTo>
                    <a:lnTo>
                      <a:pt x="f12" y="f97"/>
                    </a:lnTo>
                    <a:lnTo>
                      <a:pt x="f15" y="f123"/>
                    </a:lnTo>
                    <a:lnTo>
                      <a:pt x="f16" y="f65"/>
                    </a:lnTo>
                    <a:lnTo>
                      <a:pt x="f17" y="f58"/>
                    </a:lnTo>
                    <a:lnTo>
                      <a:pt x="f16" y="f124"/>
                    </a:lnTo>
                    <a:lnTo>
                      <a:pt x="f12" y="f125"/>
                    </a:lnTo>
                    <a:lnTo>
                      <a:pt x="f8" y="f126"/>
                    </a:lnTo>
                    <a:lnTo>
                      <a:pt x="f127" y="f128"/>
                    </a:lnTo>
                    <a:lnTo>
                      <a:pt x="f11" y="f47"/>
                    </a:lnTo>
                    <a:lnTo>
                      <a:pt x="f129" y="f130"/>
                    </a:lnTo>
                    <a:lnTo>
                      <a:pt x="f5" y="f131"/>
                    </a:lnTo>
                    <a:lnTo>
                      <a:pt x="f5" y="f9"/>
                    </a:lnTo>
                    <a:lnTo>
                      <a:pt x="f127" y="f129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E92E3F4F-75B8-48A2-B9A6-E7F7F9BA0813}"/>
                  </a:ext>
                </a:extLst>
              </p:cNvPr>
              <p:cNvSpPr/>
              <p:nvPr/>
            </p:nvSpPr>
            <p:spPr>
              <a:xfrm>
                <a:off x="4321490" y="2721482"/>
                <a:ext cx="21735" cy="31089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31"/>
                  <a:gd name="f7" fmla="val 191"/>
                  <a:gd name="f8" fmla="val 84"/>
                  <a:gd name="f9" fmla="val 90"/>
                  <a:gd name="f10" fmla="val 94"/>
                  <a:gd name="f11" fmla="val 22"/>
                  <a:gd name="f12" fmla="val 101"/>
                  <a:gd name="f13" fmla="val 46"/>
                  <a:gd name="f14" fmla="val 109"/>
                  <a:gd name="f15" fmla="val 67"/>
                  <a:gd name="f16" fmla="val 117"/>
                  <a:gd name="f17" fmla="val 86"/>
                  <a:gd name="f18" fmla="val 124"/>
                  <a:gd name="f19" fmla="val 130"/>
                  <a:gd name="f20" fmla="val 112"/>
                  <a:gd name="f21" fmla="val 119"/>
                  <a:gd name="f22" fmla="val 125"/>
                  <a:gd name="f23" fmla="val 128"/>
                  <a:gd name="f24" fmla="val 110"/>
                  <a:gd name="f25" fmla="val 133"/>
                  <a:gd name="f26" fmla="val 103"/>
                  <a:gd name="f27" fmla="val 137"/>
                  <a:gd name="f28" fmla="val 98"/>
                  <a:gd name="f29" fmla="val 144"/>
                  <a:gd name="f30" fmla="val 153"/>
                  <a:gd name="f31" fmla="val 161"/>
                  <a:gd name="f32" fmla="val 102"/>
                  <a:gd name="f33" fmla="val 168"/>
                  <a:gd name="f34" fmla="val 99"/>
                  <a:gd name="f35" fmla="val 175"/>
                  <a:gd name="f36" fmla="val 186"/>
                  <a:gd name="f37" fmla="val 79"/>
                  <a:gd name="f38" fmla="val 76"/>
                  <a:gd name="f39" fmla="val 73"/>
                  <a:gd name="f40" fmla="val 72"/>
                  <a:gd name="f41" fmla="val 177"/>
                  <a:gd name="f42" fmla="val 169"/>
                  <a:gd name="f43" fmla="val 69"/>
                  <a:gd name="f44" fmla="val 66"/>
                  <a:gd name="f45" fmla="val 158"/>
                  <a:gd name="f46" fmla="val 61"/>
                  <a:gd name="f47" fmla="val 154"/>
                  <a:gd name="f48" fmla="val 54"/>
                  <a:gd name="f49" fmla="val 45"/>
                  <a:gd name="f50" fmla="val 132"/>
                  <a:gd name="f51" fmla="val 37"/>
                  <a:gd name="f52" fmla="val 116"/>
                  <a:gd name="f53" fmla="val 27"/>
                  <a:gd name="f54" fmla="val 21"/>
                  <a:gd name="f55" fmla="val 92"/>
                  <a:gd name="f56" fmla="val 14"/>
                  <a:gd name="f57" fmla="val 11"/>
                  <a:gd name="f58" fmla="val 85"/>
                  <a:gd name="f59" fmla="val 8"/>
                  <a:gd name="f60" fmla="val 80"/>
                  <a:gd name="f61" fmla="val 4"/>
                  <a:gd name="f62" fmla="val 78"/>
                  <a:gd name="f63" fmla="val 62"/>
                  <a:gd name="f64" fmla="val 26"/>
                  <a:gd name="f65" fmla="val 53"/>
                  <a:gd name="f66" fmla="val 44"/>
                  <a:gd name="f67" fmla="val 43"/>
                  <a:gd name="f68" fmla="val 51"/>
                  <a:gd name="f69" fmla="val 39"/>
                  <a:gd name="f70" fmla="val 77"/>
                  <a:gd name="f71" fmla="val 10"/>
                  <a:gd name="f72" fmla="+- 0 0 -90"/>
                  <a:gd name="f73" fmla="*/ f3 1 131"/>
                  <a:gd name="f74" fmla="*/ f4 1 191"/>
                  <a:gd name="f75" fmla="+- f7 0 f5"/>
                  <a:gd name="f76" fmla="+- f6 0 f5"/>
                  <a:gd name="f77" fmla="*/ f72 f0 1"/>
                  <a:gd name="f78" fmla="*/ f76 1 131"/>
                  <a:gd name="f79" fmla="*/ f75 1 191"/>
                  <a:gd name="f80" fmla="*/ f77 1 f2"/>
                  <a:gd name="f81" fmla="*/ 84 1 f78"/>
                  <a:gd name="f82" fmla="*/ 0 1 f79"/>
                  <a:gd name="f83" fmla="*/ 90 1 f78"/>
                  <a:gd name="f84" fmla="*/ 94 1 f78"/>
                  <a:gd name="f85" fmla="*/ 22 1 f79"/>
                  <a:gd name="f86" fmla="*/ 101 1 f78"/>
                  <a:gd name="f87" fmla="*/ 46 1 f79"/>
                  <a:gd name="f88" fmla="*/ 109 1 f78"/>
                  <a:gd name="f89" fmla="*/ 67 1 f79"/>
                  <a:gd name="f90" fmla="*/ 117 1 f78"/>
                  <a:gd name="f91" fmla="*/ 86 1 f79"/>
                  <a:gd name="f92" fmla="*/ 124 1 f78"/>
                  <a:gd name="f93" fmla="*/ 101 1 f79"/>
                  <a:gd name="f94" fmla="*/ 130 1 f78"/>
                  <a:gd name="f95" fmla="*/ 112 1 f79"/>
                  <a:gd name="f96" fmla="*/ 131 1 f78"/>
                  <a:gd name="f97" fmla="*/ 119 1 f79"/>
                  <a:gd name="f98" fmla="*/ 125 1 f79"/>
                  <a:gd name="f99" fmla="*/ 128 1 f79"/>
                  <a:gd name="f100" fmla="*/ 110 1 f78"/>
                  <a:gd name="f101" fmla="*/ 133 1 f79"/>
                  <a:gd name="f102" fmla="*/ 103 1 f78"/>
                  <a:gd name="f103" fmla="*/ 137 1 f79"/>
                  <a:gd name="f104" fmla="*/ 98 1 f78"/>
                  <a:gd name="f105" fmla="*/ 144 1 f79"/>
                  <a:gd name="f106" fmla="*/ 153 1 f79"/>
                  <a:gd name="f107" fmla="*/ 161 1 f79"/>
                  <a:gd name="f108" fmla="*/ 102 1 f78"/>
                  <a:gd name="f109" fmla="*/ 168 1 f79"/>
                  <a:gd name="f110" fmla="*/ 99 1 f78"/>
                  <a:gd name="f111" fmla="*/ 175 1 f79"/>
                  <a:gd name="f112" fmla="*/ 180 1 f79"/>
                  <a:gd name="f113" fmla="*/ 86 1 f78"/>
                  <a:gd name="f114" fmla="*/ 186 1 f79"/>
                  <a:gd name="f115" fmla="*/ 79 1 f78"/>
                  <a:gd name="f116" fmla="*/ 191 1 f79"/>
                  <a:gd name="f117" fmla="*/ 76 1 f78"/>
                  <a:gd name="f118" fmla="*/ 73 1 f78"/>
                  <a:gd name="f119" fmla="*/ 72 1 f78"/>
                  <a:gd name="f120" fmla="*/ 177 1 f79"/>
                  <a:gd name="f121" fmla="*/ 169 1 f79"/>
                  <a:gd name="f122" fmla="*/ 69 1 f78"/>
                  <a:gd name="f123" fmla="*/ 66 1 f78"/>
                  <a:gd name="f124" fmla="*/ 158 1 f79"/>
                  <a:gd name="f125" fmla="*/ 61 1 f78"/>
                  <a:gd name="f126" fmla="*/ 154 1 f79"/>
                  <a:gd name="f127" fmla="*/ 54 1 f78"/>
                  <a:gd name="f128" fmla="*/ 45 1 f78"/>
                  <a:gd name="f129" fmla="*/ 132 1 f79"/>
                  <a:gd name="f130" fmla="*/ 37 1 f78"/>
                  <a:gd name="f131" fmla="*/ 116 1 f79"/>
                  <a:gd name="f132" fmla="*/ 27 1 f78"/>
                  <a:gd name="f133" fmla="*/ 103 1 f79"/>
                  <a:gd name="f134" fmla="*/ 21 1 f78"/>
                  <a:gd name="f135" fmla="*/ 92 1 f79"/>
                  <a:gd name="f136" fmla="*/ 14 1 f78"/>
                  <a:gd name="f137" fmla="*/ 11 1 f78"/>
                  <a:gd name="f138" fmla="*/ 85 1 f79"/>
                  <a:gd name="f139" fmla="*/ 8 1 f78"/>
                  <a:gd name="f140" fmla="*/ 80 1 f79"/>
                  <a:gd name="f141" fmla="*/ 4 1 f78"/>
                  <a:gd name="f142" fmla="*/ 78 1 f79"/>
                  <a:gd name="f143" fmla="*/ 0 1 f78"/>
                  <a:gd name="f144" fmla="*/ 72 1 f79"/>
                  <a:gd name="f145" fmla="*/ 62 1 f79"/>
                  <a:gd name="f146" fmla="*/ 26 1 f78"/>
                  <a:gd name="f147" fmla="*/ 53 1 f79"/>
                  <a:gd name="f148" fmla="*/ 44 1 f78"/>
                  <a:gd name="f149" fmla="*/ 43 1 f79"/>
                  <a:gd name="f150" fmla="*/ 51 1 f78"/>
                  <a:gd name="f151" fmla="*/ 39 1 f79"/>
                  <a:gd name="f152" fmla="*/ 21 1 f79"/>
                  <a:gd name="f153" fmla="*/ 77 1 f78"/>
                  <a:gd name="f154" fmla="*/ 10 1 f79"/>
                  <a:gd name="f155" fmla="*/ f6 1 f78"/>
                  <a:gd name="f156" fmla="*/ f7 1 f79"/>
                  <a:gd name="f157" fmla="+- f80 0 f1"/>
                  <a:gd name="f158" fmla="*/ f143 f73 1"/>
                  <a:gd name="f159" fmla="*/ f155 f73 1"/>
                  <a:gd name="f160" fmla="*/ f156 f74 1"/>
                  <a:gd name="f161" fmla="*/ f82 f74 1"/>
                  <a:gd name="f162" fmla="*/ f81 f73 1"/>
                  <a:gd name="f163" fmla="*/ f83 f73 1"/>
                  <a:gd name="f164" fmla="*/ f84 f73 1"/>
                  <a:gd name="f165" fmla="*/ f85 f74 1"/>
                  <a:gd name="f166" fmla="*/ f86 f73 1"/>
                  <a:gd name="f167" fmla="*/ f87 f74 1"/>
                  <a:gd name="f168" fmla="*/ f88 f73 1"/>
                  <a:gd name="f169" fmla="*/ f89 f74 1"/>
                  <a:gd name="f170" fmla="*/ f90 f73 1"/>
                  <a:gd name="f171" fmla="*/ f91 f74 1"/>
                  <a:gd name="f172" fmla="*/ f92 f73 1"/>
                  <a:gd name="f173" fmla="*/ f93 f74 1"/>
                  <a:gd name="f174" fmla="*/ f94 f73 1"/>
                  <a:gd name="f175" fmla="*/ f95 f74 1"/>
                  <a:gd name="f176" fmla="*/ f96 f73 1"/>
                  <a:gd name="f177" fmla="*/ f97 f74 1"/>
                  <a:gd name="f178" fmla="*/ f98 f74 1"/>
                  <a:gd name="f179" fmla="*/ f99 f74 1"/>
                  <a:gd name="f180" fmla="*/ f100 f73 1"/>
                  <a:gd name="f181" fmla="*/ f101 f74 1"/>
                  <a:gd name="f182" fmla="*/ f102 f73 1"/>
                  <a:gd name="f183" fmla="*/ f103 f74 1"/>
                  <a:gd name="f184" fmla="*/ f104 f73 1"/>
                  <a:gd name="f185" fmla="*/ f105 f74 1"/>
                  <a:gd name="f186" fmla="*/ f106 f74 1"/>
                  <a:gd name="f187" fmla="*/ f107 f74 1"/>
                  <a:gd name="f188" fmla="*/ f108 f73 1"/>
                  <a:gd name="f189" fmla="*/ f109 f74 1"/>
                  <a:gd name="f190" fmla="*/ f110 f73 1"/>
                  <a:gd name="f191" fmla="*/ f111 f74 1"/>
                  <a:gd name="f192" fmla="*/ f112 f74 1"/>
                  <a:gd name="f193" fmla="*/ f113 f73 1"/>
                  <a:gd name="f194" fmla="*/ f114 f74 1"/>
                  <a:gd name="f195" fmla="*/ f115 f73 1"/>
                  <a:gd name="f196" fmla="*/ f116 f74 1"/>
                  <a:gd name="f197" fmla="*/ f117 f73 1"/>
                  <a:gd name="f198" fmla="*/ f118 f73 1"/>
                  <a:gd name="f199" fmla="*/ f119 f73 1"/>
                  <a:gd name="f200" fmla="*/ f120 f74 1"/>
                  <a:gd name="f201" fmla="*/ f121 f74 1"/>
                  <a:gd name="f202" fmla="*/ f122 f73 1"/>
                  <a:gd name="f203" fmla="*/ f123 f73 1"/>
                  <a:gd name="f204" fmla="*/ f124 f74 1"/>
                  <a:gd name="f205" fmla="*/ f125 f73 1"/>
                  <a:gd name="f206" fmla="*/ f126 f74 1"/>
                  <a:gd name="f207" fmla="*/ f127 f73 1"/>
                  <a:gd name="f208" fmla="*/ f128 f73 1"/>
                  <a:gd name="f209" fmla="*/ f129 f74 1"/>
                  <a:gd name="f210" fmla="*/ f130 f73 1"/>
                  <a:gd name="f211" fmla="*/ f131 f74 1"/>
                  <a:gd name="f212" fmla="*/ f132 f73 1"/>
                  <a:gd name="f213" fmla="*/ f133 f74 1"/>
                  <a:gd name="f214" fmla="*/ f134 f73 1"/>
                  <a:gd name="f215" fmla="*/ f135 f74 1"/>
                  <a:gd name="f216" fmla="*/ f136 f73 1"/>
                  <a:gd name="f217" fmla="*/ f137 f73 1"/>
                  <a:gd name="f218" fmla="*/ f138 f74 1"/>
                  <a:gd name="f219" fmla="*/ f139 f73 1"/>
                  <a:gd name="f220" fmla="*/ f140 f74 1"/>
                  <a:gd name="f221" fmla="*/ f141 f73 1"/>
                  <a:gd name="f222" fmla="*/ f142 f74 1"/>
                  <a:gd name="f223" fmla="*/ f144 f74 1"/>
                  <a:gd name="f224" fmla="*/ f145 f74 1"/>
                  <a:gd name="f225" fmla="*/ f146 f73 1"/>
                  <a:gd name="f226" fmla="*/ f147 f74 1"/>
                  <a:gd name="f227" fmla="*/ f148 f73 1"/>
                  <a:gd name="f228" fmla="*/ f149 f74 1"/>
                  <a:gd name="f229" fmla="*/ f150 f73 1"/>
                  <a:gd name="f230" fmla="*/ f151 f74 1"/>
                  <a:gd name="f231" fmla="*/ f152 f74 1"/>
                  <a:gd name="f232" fmla="*/ f153 f73 1"/>
                  <a:gd name="f233" fmla="*/ f154 f7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57">
                    <a:pos x="f162" y="f161"/>
                  </a:cxn>
                  <a:cxn ang="f157">
                    <a:pos x="f163" y="f161"/>
                  </a:cxn>
                  <a:cxn ang="f157">
                    <a:pos x="f164" y="f165"/>
                  </a:cxn>
                  <a:cxn ang="f157">
                    <a:pos x="f166" y="f167"/>
                  </a:cxn>
                  <a:cxn ang="f157">
                    <a:pos x="f168" y="f169"/>
                  </a:cxn>
                  <a:cxn ang="f157">
                    <a:pos x="f170" y="f171"/>
                  </a:cxn>
                  <a:cxn ang="f157">
                    <a:pos x="f172" y="f173"/>
                  </a:cxn>
                  <a:cxn ang="f157">
                    <a:pos x="f174" y="f175"/>
                  </a:cxn>
                  <a:cxn ang="f157">
                    <a:pos x="f176" y="f177"/>
                  </a:cxn>
                  <a:cxn ang="f157">
                    <a:pos x="f174" y="f178"/>
                  </a:cxn>
                  <a:cxn ang="f157">
                    <a:pos x="f172" y="f179"/>
                  </a:cxn>
                  <a:cxn ang="f157">
                    <a:pos x="f180" y="f181"/>
                  </a:cxn>
                  <a:cxn ang="f157">
                    <a:pos x="f182" y="f183"/>
                  </a:cxn>
                  <a:cxn ang="f157">
                    <a:pos x="f184" y="f185"/>
                  </a:cxn>
                  <a:cxn ang="f157">
                    <a:pos x="f184" y="f186"/>
                  </a:cxn>
                  <a:cxn ang="f157">
                    <a:pos x="f166" y="f187"/>
                  </a:cxn>
                  <a:cxn ang="f157">
                    <a:pos x="f188" y="f189"/>
                  </a:cxn>
                  <a:cxn ang="f157">
                    <a:pos x="f190" y="f191"/>
                  </a:cxn>
                  <a:cxn ang="f157">
                    <a:pos x="f164" y="f192"/>
                  </a:cxn>
                  <a:cxn ang="f157">
                    <a:pos x="f193" y="f194"/>
                  </a:cxn>
                  <a:cxn ang="f157">
                    <a:pos x="f195" y="f196"/>
                  </a:cxn>
                  <a:cxn ang="f157">
                    <a:pos x="f197" y="f196"/>
                  </a:cxn>
                  <a:cxn ang="f157">
                    <a:pos x="f198" y="f194"/>
                  </a:cxn>
                  <a:cxn ang="f157">
                    <a:pos x="f199" y="f200"/>
                  </a:cxn>
                  <a:cxn ang="f157">
                    <a:pos x="f199" y="f201"/>
                  </a:cxn>
                  <a:cxn ang="f157">
                    <a:pos x="f202" y="f187"/>
                  </a:cxn>
                  <a:cxn ang="f157">
                    <a:pos x="f203" y="f204"/>
                  </a:cxn>
                  <a:cxn ang="f157">
                    <a:pos x="f205" y="f206"/>
                  </a:cxn>
                  <a:cxn ang="f157">
                    <a:pos x="f207" y="f185"/>
                  </a:cxn>
                  <a:cxn ang="f157">
                    <a:pos x="f208" y="f209"/>
                  </a:cxn>
                  <a:cxn ang="f157">
                    <a:pos x="f210" y="f211"/>
                  </a:cxn>
                  <a:cxn ang="f157">
                    <a:pos x="f212" y="f213"/>
                  </a:cxn>
                  <a:cxn ang="f157">
                    <a:pos x="f214" y="f215"/>
                  </a:cxn>
                  <a:cxn ang="f157">
                    <a:pos x="f216" y="f171"/>
                  </a:cxn>
                  <a:cxn ang="f157">
                    <a:pos x="f217" y="f218"/>
                  </a:cxn>
                  <a:cxn ang="f157">
                    <a:pos x="f219" y="f220"/>
                  </a:cxn>
                  <a:cxn ang="f157">
                    <a:pos x="f221" y="f222"/>
                  </a:cxn>
                  <a:cxn ang="f157">
                    <a:pos x="f158" y="f223"/>
                  </a:cxn>
                  <a:cxn ang="f157">
                    <a:pos x="f216" y="f224"/>
                  </a:cxn>
                  <a:cxn ang="f157">
                    <a:pos x="f225" y="f226"/>
                  </a:cxn>
                  <a:cxn ang="f157">
                    <a:pos x="f210" y="f167"/>
                  </a:cxn>
                  <a:cxn ang="f157">
                    <a:pos x="f227" y="f228"/>
                  </a:cxn>
                  <a:cxn ang="f157">
                    <a:pos x="f229" y="f230"/>
                  </a:cxn>
                  <a:cxn ang="f157">
                    <a:pos x="f202" y="f231"/>
                  </a:cxn>
                  <a:cxn ang="f157">
                    <a:pos x="f232" y="f233"/>
                  </a:cxn>
                  <a:cxn ang="f157">
                    <a:pos x="f162" y="f161"/>
                  </a:cxn>
                </a:cxnLst>
                <a:rect l="f158" t="f161" r="f159" b="f160"/>
                <a:pathLst>
                  <a:path w="131" h="191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2"/>
                    </a:lnTo>
                    <a:lnTo>
                      <a:pt x="f19" y="f20"/>
                    </a:lnTo>
                    <a:lnTo>
                      <a:pt x="f6" y="f21"/>
                    </a:lnTo>
                    <a:lnTo>
                      <a:pt x="f19" y="f22"/>
                    </a:lnTo>
                    <a:lnTo>
                      <a:pt x="f18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28" y="f30"/>
                    </a:lnTo>
                    <a:lnTo>
                      <a:pt x="f12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10" y="f2"/>
                    </a:lnTo>
                    <a:lnTo>
                      <a:pt x="f17" y="f36"/>
                    </a:lnTo>
                    <a:lnTo>
                      <a:pt x="f37" y="f7"/>
                    </a:lnTo>
                    <a:lnTo>
                      <a:pt x="f38" y="f7"/>
                    </a:lnTo>
                    <a:lnTo>
                      <a:pt x="f39" y="f36"/>
                    </a:lnTo>
                    <a:lnTo>
                      <a:pt x="f40" y="f41"/>
                    </a:lnTo>
                    <a:lnTo>
                      <a:pt x="f40" y="f42"/>
                    </a:lnTo>
                    <a:lnTo>
                      <a:pt x="f43" y="f31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29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26"/>
                    </a:lnTo>
                    <a:lnTo>
                      <a:pt x="f54" y="f55"/>
                    </a:lnTo>
                    <a:lnTo>
                      <a:pt x="f56" y="f17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5" y="f40"/>
                    </a:lnTo>
                    <a:lnTo>
                      <a:pt x="f56" y="f63"/>
                    </a:lnTo>
                    <a:lnTo>
                      <a:pt x="f64" y="f65"/>
                    </a:lnTo>
                    <a:lnTo>
                      <a:pt x="f51" y="f13"/>
                    </a:lnTo>
                    <a:lnTo>
                      <a:pt x="f66" y="f67"/>
                    </a:lnTo>
                    <a:lnTo>
                      <a:pt x="f68" y="f69"/>
                    </a:lnTo>
                    <a:lnTo>
                      <a:pt x="f43" y="f54"/>
                    </a:lnTo>
                    <a:lnTo>
                      <a:pt x="f70" y="f71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67" name="Freeform 29">
                <a:extLst>
                  <a:ext uri="{FF2B5EF4-FFF2-40B4-BE49-F238E27FC236}">
                    <a16:creationId xmlns:a16="http://schemas.microsoft.com/office/drawing/2014/main" id="{31D3EADE-7A11-47CB-867E-2B96BEDDE536}"/>
                  </a:ext>
                </a:extLst>
              </p:cNvPr>
              <p:cNvSpPr/>
              <p:nvPr/>
            </p:nvSpPr>
            <p:spPr>
              <a:xfrm>
                <a:off x="4293793" y="2716764"/>
                <a:ext cx="96716" cy="132661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583"/>
                  <a:gd name="f8" fmla="val 815"/>
                  <a:gd name="f9" fmla="val 425"/>
                  <a:gd name="f10" fmla="val 431"/>
                  <a:gd name="f11" fmla="val 435"/>
                  <a:gd name="f12" fmla="val 3"/>
                  <a:gd name="f13" fmla="val 8"/>
                  <a:gd name="f14" fmla="val 438"/>
                  <a:gd name="f15" fmla="val 25"/>
                  <a:gd name="f16" fmla="val 33"/>
                  <a:gd name="f17" fmla="val 432"/>
                  <a:gd name="f18" fmla="val 40"/>
                  <a:gd name="f19" fmla="val 424"/>
                  <a:gd name="f20" fmla="val 48"/>
                  <a:gd name="f21" fmla="val 417"/>
                  <a:gd name="f22" fmla="val 58"/>
                  <a:gd name="f23" fmla="val 413"/>
                  <a:gd name="f24" fmla="val 68"/>
                  <a:gd name="f25" fmla="val 411"/>
                  <a:gd name="f26" fmla="val 79"/>
                  <a:gd name="f27" fmla="val 87"/>
                  <a:gd name="f28" fmla="val 416"/>
                  <a:gd name="f29" fmla="val 96"/>
                  <a:gd name="f30" fmla="val 418"/>
                  <a:gd name="f31" fmla="val 105"/>
                  <a:gd name="f32" fmla="val 112"/>
                  <a:gd name="f33" fmla="val 414"/>
                  <a:gd name="f34" fmla="val 118"/>
                  <a:gd name="f35" fmla="val 403"/>
                  <a:gd name="f36" fmla="val 129"/>
                  <a:gd name="f37" fmla="val 399"/>
                  <a:gd name="f38" fmla="val 134"/>
                  <a:gd name="f39" fmla="val 400"/>
                  <a:gd name="f40" fmla="val 139"/>
                  <a:gd name="f41" fmla="val 407"/>
                  <a:gd name="f42" fmla="val 140"/>
                  <a:gd name="f43" fmla="val 141"/>
                  <a:gd name="f44" fmla="val 443"/>
                  <a:gd name="f45" fmla="val 144"/>
                  <a:gd name="f46" fmla="val 456"/>
                  <a:gd name="f47" fmla="val 147"/>
                  <a:gd name="f48" fmla="val 465"/>
                  <a:gd name="f49" fmla="val 152"/>
                  <a:gd name="f50" fmla="val 479"/>
                  <a:gd name="f51" fmla="val 159"/>
                  <a:gd name="f52" fmla="val 496"/>
                  <a:gd name="f53" fmla="val 161"/>
                  <a:gd name="f54" fmla="val 530"/>
                  <a:gd name="f55" fmla="val 545"/>
                  <a:gd name="f56" fmla="val 162"/>
                  <a:gd name="f57" fmla="val 555"/>
                  <a:gd name="f58" fmla="val 166"/>
                  <a:gd name="f59" fmla="val 559"/>
                  <a:gd name="f60" fmla="val 173"/>
                  <a:gd name="f61" fmla="val 561"/>
                  <a:gd name="f62" fmla="val 183"/>
                  <a:gd name="f63" fmla="val 209"/>
                  <a:gd name="f64" fmla="val 562"/>
                  <a:gd name="f65" fmla="val 212"/>
                  <a:gd name="f66" fmla="val 215"/>
                  <a:gd name="f67" fmla="val 216"/>
                  <a:gd name="f68" fmla="val 558"/>
                  <a:gd name="f69" fmla="val 218"/>
                  <a:gd name="f70" fmla="val 552"/>
                  <a:gd name="f71" fmla="val 220"/>
                  <a:gd name="f72" fmla="val 550"/>
                  <a:gd name="f73" fmla="val 223"/>
                  <a:gd name="f74" fmla="val 544"/>
                  <a:gd name="f75" fmla="val 226"/>
                  <a:gd name="f76" fmla="val 539"/>
                  <a:gd name="f77" fmla="val 222"/>
                  <a:gd name="f78" fmla="val 525"/>
                  <a:gd name="f79" fmla="val 208"/>
                  <a:gd name="f80" fmla="val 519"/>
                  <a:gd name="f81" fmla="val 204"/>
                  <a:gd name="f82" fmla="val 514"/>
                  <a:gd name="f83" fmla="val 205"/>
                  <a:gd name="f84" fmla="val 511"/>
                  <a:gd name="f85" fmla="val 234"/>
                  <a:gd name="f86" fmla="val 526"/>
                  <a:gd name="f87" fmla="val 247"/>
                  <a:gd name="f88" fmla="val 532"/>
                  <a:gd name="f89" fmla="val 259"/>
                  <a:gd name="f90" fmla="val 269"/>
                  <a:gd name="f91" fmla="val 527"/>
                  <a:gd name="f92" fmla="val 280"/>
                  <a:gd name="f93" fmla="val 521"/>
                  <a:gd name="f94" fmla="val 292"/>
                  <a:gd name="f95" fmla="val 512"/>
                  <a:gd name="f96" fmla="val 304"/>
                  <a:gd name="f97" fmla="val 504"/>
                  <a:gd name="f98" fmla="val 313"/>
                  <a:gd name="f99" fmla="val 497"/>
                  <a:gd name="f100" fmla="val 322"/>
                  <a:gd name="f101" fmla="val 494"/>
                  <a:gd name="f102" fmla="val 327"/>
                  <a:gd name="f103" fmla="val 333"/>
                  <a:gd name="f104" fmla="val 498"/>
                  <a:gd name="f105" fmla="val 338"/>
                  <a:gd name="f106" fmla="val 505"/>
                  <a:gd name="f107" fmla="val 347"/>
                  <a:gd name="f108" fmla="val 358"/>
                  <a:gd name="f109" fmla="val 518"/>
                  <a:gd name="f110" fmla="val 365"/>
                  <a:gd name="f111" fmla="val 369"/>
                  <a:gd name="f112" fmla="val 516"/>
                  <a:gd name="f113" fmla="val 373"/>
                  <a:gd name="f114" fmla="val 509"/>
                  <a:gd name="f115" fmla="val 380"/>
                  <a:gd name="f116" fmla="val 387"/>
                  <a:gd name="f117" fmla="val 395"/>
                  <a:gd name="f118" fmla="val 402"/>
                  <a:gd name="f119" fmla="val 408"/>
                  <a:gd name="f120" fmla="val 529"/>
                  <a:gd name="f121" fmla="val 415"/>
                  <a:gd name="f122" fmla="val 537"/>
                  <a:gd name="f123" fmla="val 420"/>
                  <a:gd name="f124" fmla="val 543"/>
                  <a:gd name="f125" fmla="val 427"/>
                  <a:gd name="f126" fmla="val 437"/>
                  <a:gd name="f127" fmla="val 444"/>
                  <a:gd name="f128" fmla="val 568"/>
                  <a:gd name="f129" fmla="val 452"/>
                  <a:gd name="f130" fmla="val 579"/>
                  <a:gd name="f131" fmla="val 463"/>
                  <a:gd name="f132" fmla="val 476"/>
                  <a:gd name="f133" fmla="val 489"/>
                  <a:gd name="f134" fmla="val 580"/>
                  <a:gd name="f135" fmla="val 503"/>
                  <a:gd name="f136" fmla="val 574"/>
                  <a:gd name="f137" fmla="val 524"/>
                  <a:gd name="f138" fmla="val 563"/>
                  <a:gd name="f139" fmla="val 520"/>
                  <a:gd name="f140" fmla="val 554"/>
                  <a:gd name="f141" fmla="val 513"/>
                  <a:gd name="f142" fmla="val 547"/>
                  <a:gd name="f143" fmla="val 506"/>
                  <a:gd name="f144" fmla="val 523"/>
                  <a:gd name="f145" fmla="val 534"/>
                  <a:gd name="f146" fmla="val 535"/>
                  <a:gd name="f147" fmla="val 515"/>
                  <a:gd name="f148" fmla="val 548"/>
                  <a:gd name="f149" fmla="val 577"/>
                  <a:gd name="f150" fmla="val 593"/>
                  <a:gd name="f151" fmla="val 609"/>
                  <a:gd name="f152" fmla="val 616"/>
                  <a:gd name="f153" fmla="val 507"/>
                  <a:gd name="f154" fmla="val 617"/>
                  <a:gd name="f155" fmla="val 500"/>
                  <a:gd name="f156" fmla="val 492"/>
                  <a:gd name="f157" fmla="val 613"/>
                  <a:gd name="f158" fmla="val 485"/>
                  <a:gd name="f159" fmla="val 612"/>
                  <a:gd name="f160" fmla="val 478"/>
                  <a:gd name="f161" fmla="val 475"/>
                  <a:gd name="f162" fmla="val 623"/>
                  <a:gd name="f163" fmla="val 468"/>
                  <a:gd name="f164" fmla="val 632"/>
                  <a:gd name="f165" fmla="val 457"/>
                  <a:gd name="f166" fmla="val 642"/>
                  <a:gd name="f167" fmla="val 445"/>
                  <a:gd name="f168" fmla="val 652"/>
                  <a:gd name="f169" fmla="val 434"/>
                  <a:gd name="f170" fmla="val 661"/>
                  <a:gd name="f171" fmla="val 670"/>
                  <a:gd name="f172" fmla="val 677"/>
                  <a:gd name="f173" fmla="val 679"/>
                  <a:gd name="f174" fmla="val 406"/>
                  <a:gd name="f175" fmla="val 666"/>
                  <a:gd name="f176" fmla="val 664"/>
                  <a:gd name="f177" fmla="val 398"/>
                  <a:gd name="f178" fmla="val 388"/>
                  <a:gd name="f179" fmla="val 671"/>
                  <a:gd name="f180" fmla="val 363"/>
                  <a:gd name="f181" fmla="val 682"/>
                  <a:gd name="f182" fmla="val 352"/>
                  <a:gd name="f183" fmla="val 689"/>
                  <a:gd name="f184" fmla="val 348"/>
                  <a:gd name="f185" fmla="val 698"/>
                  <a:gd name="f186" fmla="val 345"/>
                  <a:gd name="f187" fmla="val 706"/>
                  <a:gd name="f188" fmla="val 716"/>
                  <a:gd name="f189" fmla="val 329"/>
                  <a:gd name="f190" fmla="val 725"/>
                  <a:gd name="f191" fmla="val 309"/>
                  <a:gd name="f192" fmla="val 742"/>
                  <a:gd name="f193" fmla="val 298"/>
                  <a:gd name="f194" fmla="val 747"/>
                  <a:gd name="f195" fmla="val 284"/>
                  <a:gd name="f196" fmla="val 749"/>
                  <a:gd name="f197" fmla="val 752"/>
                  <a:gd name="f198" fmla="val 251"/>
                  <a:gd name="f199" fmla="val 759"/>
                  <a:gd name="f200" fmla="val 239"/>
                  <a:gd name="f201" fmla="val 767"/>
                  <a:gd name="f202" fmla="val 225"/>
                  <a:gd name="f203" fmla="val 778"/>
                  <a:gd name="f204" fmla="val 792"/>
                  <a:gd name="f205" fmla="val 203"/>
                  <a:gd name="f206" fmla="val 803"/>
                  <a:gd name="f207" fmla="val 193"/>
                  <a:gd name="f208" fmla="val 811"/>
                  <a:gd name="f209" fmla="val 188"/>
                  <a:gd name="f210" fmla="val 185"/>
                  <a:gd name="f211" fmla="val 813"/>
                  <a:gd name="f212" fmla="val 181"/>
                  <a:gd name="f213" fmla="val 177"/>
                  <a:gd name="f214" fmla="val 788"/>
                  <a:gd name="f215" fmla="val 171"/>
                  <a:gd name="f216" fmla="val 771"/>
                  <a:gd name="f217" fmla="val 165"/>
                  <a:gd name="f218" fmla="val 756"/>
                  <a:gd name="f219" fmla="val 734"/>
                  <a:gd name="f220" fmla="val 113"/>
                  <a:gd name="f221" fmla="val 703"/>
                  <a:gd name="f222" fmla="val 688"/>
                  <a:gd name="f223" fmla="val 89"/>
                  <a:gd name="f224" fmla="val 686"/>
                  <a:gd name="f225" fmla="val 83"/>
                  <a:gd name="f226" fmla="val 691"/>
                  <a:gd name="f227" fmla="val 76"/>
                  <a:gd name="f228" fmla="val 69"/>
                  <a:gd name="f229" fmla="val 707"/>
                  <a:gd name="f230" fmla="val 63"/>
                  <a:gd name="f231" fmla="val 717"/>
                  <a:gd name="f232" fmla="val 724"/>
                  <a:gd name="f233" fmla="val 54"/>
                  <a:gd name="f234" fmla="val 728"/>
                  <a:gd name="f235" fmla="val 727"/>
                  <a:gd name="f236" fmla="val 722"/>
                  <a:gd name="f237" fmla="val 31"/>
                  <a:gd name="f238" fmla="val 16"/>
                  <a:gd name="f239" fmla="val 702"/>
                  <a:gd name="f240" fmla="val 12"/>
                  <a:gd name="f241" fmla="val 696"/>
                  <a:gd name="f242" fmla="val 15"/>
                  <a:gd name="f243" fmla="val 20"/>
                  <a:gd name="f244" fmla="val 673"/>
                  <a:gd name="f245" fmla="val 27"/>
                  <a:gd name="f246" fmla="val 668"/>
                  <a:gd name="f247" fmla="val 34"/>
                  <a:gd name="f248" fmla="val 43"/>
                  <a:gd name="f249" fmla="val 51"/>
                  <a:gd name="f250" fmla="val 675"/>
                  <a:gd name="f251" fmla="val 59"/>
                  <a:gd name="f252" fmla="val 66"/>
                  <a:gd name="f253" fmla="val 674"/>
                  <a:gd name="f254" fmla="val 74"/>
                  <a:gd name="f255" fmla="val 660"/>
                  <a:gd name="f256" fmla="val 643"/>
                  <a:gd name="f257" fmla="val 636"/>
                  <a:gd name="f258" fmla="val 81"/>
                  <a:gd name="f259" fmla="val 628"/>
                  <a:gd name="f260" fmla="val 72"/>
                  <a:gd name="f261" fmla="val 620"/>
                  <a:gd name="f262" fmla="val 55"/>
                  <a:gd name="f263" fmla="val 607"/>
                  <a:gd name="f264" fmla="val 49"/>
                  <a:gd name="f265" fmla="val 44"/>
                  <a:gd name="f266" fmla="val 610"/>
                  <a:gd name="f267" fmla="val 37"/>
                  <a:gd name="f268" fmla="val 605"/>
                  <a:gd name="f269" fmla="val 606"/>
                  <a:gd name="f270" fmla="val 2"/>
                  <a:gd name="f271" fmla="val 614"/>
                  <a:gd name="f272" fmla="val 1"/>
                  <a:gd name="f273" fmla="val 560"/>
                  <a:gd name="f274" fmla="val 7"/>
                  <a:gd name="f275" fmla="val 14"/>
                  <a:gd name="f276" fmla="val 502"/>
                  <a:gd name="f277" fmla="val 36"/>
                  <a:gd name="f278" fmla="val 41"/>
                  <a:gd name="f279" fmla="val 45"/>
                  <a:gd name="f280" fmla="val 501"/>
                  <a:gd name="f281" fmla="val 52"/>
                  <a:gd name="f282" fmla="val 62"/>
                  <a:gd name="f283" fmla="val 487"/>
                  <a:gd name="f284" fmla="val 65"/>
                  <a:gd name="f285" fmla="val 470"/>
                  <a:gd name="f286" fmla="val 67"/>
                  <a:gd name="f287" fmla="val 459"/>
                  <a:gd name="f288" fmla="val 84"/>
                  <a:gd name="f289" fmla="val 448"/>
                  <a:gd name="f290" fmla="val 433"/>
                  <a:gd name="f291" fmla="val 106"/>
                  <a:gd name="f292" fmla="val 116"/>
                  <a:gd name="f293" fmla="val 409"/>
                  <a:gd name="f294" fmla="val 128"/>
                  <a:gd name="f295" fmla="val 397"/>
                  <a:gd name="f296" fmla="val 138"/>
                  <a:gd name="f297" fmla="val 381"/>
                  <a:gd name="f298" fmla="val 377"/>
                  <a:gd name="f299" fmla="val 374"/>
                  <a:gd name="f300" fmla="val 370"/>
                  <a:gd name="f301" fmla="val 135"/>
                  <a:gd name="f302" fmla="val 132"/>
                  <a:gd name="f303" fmla="val 125"/>
                  <a:gd name="f304" fmla="val 123"/>
                  <a:gd name="f305" fmla="val 367"/>
                  <a:gd name="f306" fmla="val 119"/>
                  <a:gd name="f307" fmla="val 366"/>
                  <a:gd name="f308" fmla="val 117"/>
                  <a:gd name="f309" fmla="val 114"/>
                  <a:gd name="f310" fmla="val 356"/>
                  <a:gd name="f311" fmla="val 354"/>
                  <a:gd name="f312" fmla="val 121"/>
                  <a:gd name="f313" fmla="val 349"/>
                  <a:gd name="f314" fmla="val 344"/>
                  <a:gd name="f315" fmla="val 142"/>
                  <a:gd name="f316" fmla="val 334"/>
                  <a:gd name="f317" fmla="val 148"/>
                  <a:gd name="f318" fmla="val 326"/>
                  <a:gd name="f319" fmla="val 154"/>
                  <a:gd name="f320" fmla="val 317"/>
                  <a:gd name="f321" fmla="val 308"/>
                  <a:gd name="f322" fmla="val 295"/>
                  <a:gd name="f323" fmla="val 170"/>
                  <a:gd name="f324" fmla="val 281"/>
                  <a:gd name="f325" fmla="val 268"/>
                  <a:gd name="f326" fmla="val 174"/>
                  <a:gd name="f327" fmla="val 256"/>
                  <a:gd name="f328" fmla="val 178"/>
                  <a:gd name="f329" fmla="val 249"/>
                  <a:gd name="f330" fmla="val 192"/>
                  <a:gd name="f331" fmla="val 199"/>
                  <a:gd name="f332" fmla="val 245"/>
                  <a:gd name="f333" fmla="val 206"/>
                  <a:gd name="f334" fmla="val 243"/>
                  <a:gd name="f335" fmla="val 241"/>
                  <a:gd name="f336" fmla="val 238"/>
                  <a:gd name="f337" fmla="val 233"/>
                  <a:gd name="f338" fmla="val 194"/>
                  <a:gd name="f339" fmla="val 230"/>
                  <a:gd name="f340" fmla="val 190"/>
                  <a:gd name="f341" fmla="val 229"/>
                  <a:gd name="f342" fmla="val 186"/>
                  <a:gd name="f343" fmla="val 182"/>
                  <a:gd name="f344" fmla="val 211"/>
                  <a:gd name="f345" fmla="val 201"/>
                  <a:gd name="f346" fmla="val 175"/>
                  <a:gd name="f347" fmla="val 176"/>
                  <a:gd name="f348" fmla="val 168"/>
                  <a:gd name="f349" fmla="val 179"/>
                  <a:gd name="f350" fmla="val 164"/>
                  <a:gd name="f351" fmla="val 157"/>
                  <a:gd name="f352" fmla="val 169"/>
                  <a:gd name="f353" fmla="val 149"/>
                  <a:gd name="f354" fmla="val 130"/>
                  <a:gd name="f355" fmla="val 126"/>
                  <a:gd name="f356" fmla="val 143"/>
                  <a:gd name="f357" fmla="val 153"/>
                  <a:gd name="f358" fmla="val 111"/>
                  <a:gd name="f359" fmla="val 167"/>
                  <a:gd name="f360" fmla="val 101"/>
                  <a:gd name="f361" fmla="val 107"/>
                  <a:gd name="f362" fmla="val 109"/>
                  <a:gd name="f363" fmla="val 115"/>
                  <a:gd name="f364" fmla="val 145"/>
                  <a:gd name="f365" fmla="val 221"/>
                  <a:gd name="f366" fmla="val 228"/>
                  <a:gd name="f367" fmla="val 187"/>
                  <a:gd name="f368" fmla="val 236"/>
                  <a:gd name="f369" fmla="val 198"/>
                  <a:gd name="f370" fmla="val 240"/>
                  <a:gd name="f371" fmla="val 246"/>
                  <a:gd name="f372" fmla="val 253"/>
                  <a:gd name="f373" fmla="val 261"/>
                  <a:gd name="f374" fmla="val 266"/>
                  <a:gd name="f375" fmla="val 197"/>
                  <a:gd name="f376" fmla="val 265"/>
                  <a:gd name="f377" fmla="val 270"/>
                  <a:gd name="f378" fmla="val 277"/>
                  <a:gd name="f379" fmla="val 291"/>
                  <a:gd name="f380" fmla="val 297"/>
                  <a:gd name="f381" fmla="val 276"/>
                  <a:gd name="f382" fmla="val 75"/>
                  <a:gd name="f383" fmla="val 257"/>
                  <a:gd name="f384" fmla="val 29"/>
                  <a:gd name="f385" fmla="val 287"/>
                  <a:gd name="f386" fmla="val 30"/>
                  <a:gd name="f387" fmla="val 19"/>
                  <a:gd name="f388" fmla="val 389"/>
                  <a:gd name="f389" fmla="+- 0 0 -90"/>
                  <a:gd name="f390" fmla="*/ f4 1 583"/>
                  <a:gd name="f391" fmla="*/ f5 1 815"/>
                  <a:gd name="f392" fmla="+- f8 0 f6"/>
                  <a:gd name="f393" fmla="+- f7 0 f6"/>
                  <a:gd name="f394" fmla="*/ f389 f0 1"/>
                  <a:gd name="f395" fmla="*/ f393 1 583"/>
                  <a:gd name="f396" fmla="*/ f392 1 815"/>
                  <a:gd name="f397" fmla="*/ f394 1 f3"/>
                  <a:gd name="f398" fmla="*/ 438 1 f395"/>
                  <a:gd name="f399" fmla="*/ 25 1 f396"/>
                  <a:gd name="f400" fmla="*/ 413 1 f395"/>
                  <a:gd name="f401" fmla="*/ 68 1 f396"/>
                  <a:gd name="f402" fmla="*/ 418 1 f395"/>
                  <a:gd name="f403" fmla="*/ 112 1 f396"/>
                  <a:gd name="f404" fmla="*/ 407 1 f395"/>
                  <a:gd name="f405" fmla="*/ 140 1 f396"/>
                  <a:gd name="f406" fmla="*/ 479 1 f395"/>
                  <a:gd name="f407" fmla="*/ 159 1 f396"/>
                  <a:gd name="f408" fmla="*/ 559 1 f395"/>
                  <a:gd name="f409" fmla="*/ 173 1 f396"/>
                  <a:gd name="f410" fmla="*/ 561 1 f395"/>
                  <a:gd name="f411" fmla="*/ 216 1 f396"/>
                  <a:gd name="f412" fmla="*/ 544 1 f395"/>
                  <a:gd name="f413" fmla="*/ 226 1 f396"/>
                  <a:gd name="f414" fmla="*/ 511 1 f395"/>
                  <a:gd name="f415" fmla="*/ 212 1 f396"/>
                  <a:gd name="f416" fmla="*/ 532 1 f395"/>
                  <a:gd name="f417" fmla="*/ 269 1 f396"/>
                  <a:gd name="f418" fmla="*/ 497 1 f395"/>
                  <a:gd name="f419" fmla="*/ 322 1 f396"/>
                  <a:gd name="f420" fmla="*/ 514 1 f395"/>
                  <a:gd name="f421" fmla="*/ 358 1 f396"/>
                  <a:gd name="f422" fmla="*/ 505 1 f395"/>
                  <a:gd name="f423" fmla="*/ 387 1 f396"/>
                  <a:gd name="f424" fmla="*/ 537 1 f395"/>
                  <a:gd name="f425" fmla="*/ 420 1 f396"/>
                  <a:gd name="f426" fmla="*/ 579 1 f395"/>
                  <a:gd name="f427" fmla="*/ 463 1 f396"/>
                  <a:gd name="f428" fmla="*/ 568 1 f395"/>
                  <a:gd name="f429" fmla="*/ 524 1 f396"/>
                  <a:gd name="f430" fmla="*/ 547 1 f395"/>
                  <a:gd name="f431" fmla="*/ 506 1 f396"/>
                  <a:gd name="f432" fmla="*/ 527 1 f395"/>
                  <a:gd name="f433" fmla="*/ 513 1 f396"/>
                  <a:gd name="f434" fmla="*/ 523 1 f395"/>
                  <a:gd name="f435" fmla="*/ 534 1 f396"/>
                  <a:gd name="f436" fmla="*/ 515 1 f395"/>
                  <a:gd name="f437" fmla="*/ 577 1 f396"/>
                  <a:gd name="f438" fmla="*/ 500 1 f395"/>
                  <a:gd name="f439" fmla="*/ 616 1 f396"/>
                  <a:gd name="f440" fmla="*/ 475 1 f395"/>
                  <a:gd name="f441" fmla="*/ 623 1 f396"/>
                  <a:gd name="f442" fmla="*/ 424 1 f395"/>
                  <a:gd name="f443" fmla="*/ 670 1 f396"/>
                  <a:gd name="f444" fmla="*/ 406 1 f395"/>
                  <a:gd name="f445" fmla="*/ 666 1 f396"/>
                  <a:gd name="f446" fmla="*/ 363 1 f395"/>
                  <a:gd name="f447" fmla="*/ 682 1 f396"/>
                  <a:gd name="f448" fmla="*/ 329 1 f395"/>
                  <a:gd name="f449" fmla="*/ 725 1 f396"/>
                  <a:gd name="f450" fmla="*/ 251 1 f395"/>
                  <a:gd name="f451" fmla="*/ 759 1 f396"/>
                  <a:gd name="f452" fmla="*/ 193 1 f395"/>
                  <a:gd name="f453" fmla="*/ 811 1 f396"/>
                  <a:gd name="f454" fmla="*/ 171 1 f395"/>
                  <a:gd name="f455" fmla="*/ 771 1 f396"/>
                  <a:gd name="f456" fmla="*/ 96 1 f395"/>
                  <a:gd name="f457" fmla="*/ 688 1 f396"/>
                  <a:gd name="f458" fmla="*/ 63 1 f395"/>
                  <a:gd name="f459" fmla="*/ 717 1 f396"/>
                  <a:gd name="f460" fmla="*/ 31 1 f395"/>
                  <a:gd name="f461" fmla="*/ 20 1 f395"/>
                  <a:gd name="f462" fmla="*/ 673 1 f396"/>
                  <a:gd name="f463" fmla="*/ 59 1 f395"/>
                  <a:gd name="f464" fmla="*/ 677 1 f396"/>
                  <a:gd name="f465" fmla="*/ 89 1 f395"/>
                  <a:gd name="f466" fmla="*/ 643 1 f396"/>
                  <a:gd name="f467" fmla="*/ 55 1 f395"/>
                  <a:gd name="f468" fmla="*/ 607 1 f396"/>
                  <a:gd name="f469" fmla="*/ 605 1 f396"/>
                  <a:gd name="f470" fmla="*/ 0 1 f395"/>
                  <a:gd name="f471" fmla="*/ 14 1 f395"/>
                  <a:gd name="f472" fmla="*/ 502 1 f396"/>
                  <a:gd name="f473" fmla="*/ 45 1 f395"/>
                  <a:gd name="f474" fmla="*/ 501 1 f396"/>
                  <a:gd name="f475" fmla="*/ 65 1 f395"/>
                  <a:gd name="f476" fmla="*/ 478 1 f396"/>
                  <a:gd name="f477" fmla="*/ 433 1 f396"/>
                  <a:gd name="f478" fmla="*/ 139 1 f395"/>
                  <a:gd name="f479" fmla="*/ 377 1 f396"/>
                  <a:gd name="f480" fmla="*/ 132 1 f395"/>
                  <a:gd name="f481" fmla="*/ 369 1 f396"/>
                  <a:gd name="f482" fmla="*/ 114 1 f395"/>
                  <a:gd name="f483" fmla="*/ 360 1 f396"/>
                  <a:gd name="f484" fmla="*/ 125 1 f395"/>
                  <a:gd name="f485" fmla="*/ 352 1 f396"/>
                  <a:gd name="f486" fmla="*/ 154 1 f395"/>
                  <a:gd name="f487" fmla="*/ 317 1 f396"/>
                  <a:gd name="f488" fmla="*/ 174 1 f395"/>
                  <a:gd name="f489" fmla="*/ 256 1 f396"/>
                  <a:gd name="f490" fmla="*/ 206 1 f395"/>
                  <a:gd name="f491" fmla="*/ 243 1 f396"/>
                  <a:gd name="f492" fmla="*/ 190 1 f395"/>
                  <a:gd name="f493" fmla="*/ 229 1 f396"/>
                  <a:gd name="f494" fmla="*/ 186 1 f395"/>
                  <a:gd name="f495" fmla="*/ 190 1 f396"/>
                  <a:gd name="f496" fmla="*/ 182 1 f395"/>
                  <a:gd name="f497" fmla="*/ 176 1 f396"/>
                  <a:gd name="f498" fmla="*/ 157 1 f395"/>
                  <a:gd name="f499" fmla="*/ 169 1 f396"/>
                  <a:gd name="f500" fmla="*/ 135 1 f395"/>
                  <a:gd name="f501" fmla="*/ 126 1 f396"/>
                  <a:gd name="f502" fmla="*/ 175 1 f395"/>
                  <a:gd name="f503" fmla="*/ 109 1 f396"/>
                  <a:gd name="f504" fmla="*/ 204 1 f395"/>
                  <a:gd name="f505" fmla="*/ 145 1 f396"/>
                  <a:gd name="f506" fmla="*/ 236 1 f395"/>
                  <a:gd name="f507" fmla="*/ 246 1 f395"/>
                  <a:gd name="f508" fmla="*/ 220 1 f396"/>
                  <a:gd name="f509" fmla="*/ 268 1 f395"/>
                  <a:gd name="f510" fmla="*/ 291 1 f395"/>
                  <a:gd name="f511" fmla="*/ 157 1 f396"/>
                  <a:gd name="f512" fmla="*/ 284 1 f395"/>
                  <a:gd name="f513" fmla="*/ 115 1 f396"/>
                  <a:gd name="f514" fmla="*/ 287 1 f395"/>
                  <a:gd name="f515" fmla="*/ 30 1 f396"/>
                  <a:gd name="f516" fmla="*/ 7 1 f396"/>
                  <a:gd name="f517" fmla="*/ f7 1 f395"/>
                  <a:gd name="f518" fmla="*/ 0 1 f396"/>
                  <a:gd name="f519" fmla="*/ f8 1 f396"/>
                  <a:gd name="f520" fmla="+- f397 0 f1"/>
                  <a:gd name="f521" fmla="*/ f470 f390 1"/>
                  <a:gd name="f522" fmla="*/ f517 f390 1"/>
                  <a:gd name="f523" fmla="*/ f519 f391 1"/>
                  <a:gd name="f524" fmla="*/ f518 f391 1"/>
                  <a:gd name="f525" fmla="*/ f398 f390 1"/>
                  <a:gd name="f526" fmla="*/ f399 f391 1"/>
                  <a:gd name="f527" fmla="*/ f400 f390 1"/>
                  <a:gd name="f528" fmla="*/ f401 f391 1"/>
                  <a:gd name="f529" fmla="*/ f402 f390 1"/>
                  <a:gd name="f530" fmla="*/ f403 f391 1"/>
                  <a:gd name="f531" fmla="*/ f404 f390 1"/>
                  <a:gd name="f532" fmla="*/ f405 f391 1"/>
                  <a:gd name="f533" fmla="*/ f406 f390 1"/>
                  <a:gd name="f534" fmla="*/ f407 f391 1"/>
                  <a:gd name="f535" fmla="*/ f408 f390 1"/>
                  <a:gd name="f536" fmla="*/ f409 f391 1"/>
                  <a:gd name="f537" fmla="*/ f410 f390 1"/>
                  <a:gd name="f538" fmla="*/ f411 f391 1"/>
                  <a:gd name="f539" fmla="*/ f412 f390 1"/>
                  <a:gd name="f540" fmla="*/ f413 f391 1"/>
                  <a:gd name="f541" fmla="*/ f414 f390 1"/>
                  <a:gd name="f542" fmla="*/ f415 f391 1"/>
                  <a:gd name="f543" fmla="*/ f416 f390 1"/>
                  <a:gd name="f544" fmla="*/ f417 f391 1"/>
                  <a:gd name="f545" fmla="*/ f418 f390 1"/>
                  <a:gd name="f546" fmla="*/ f419 f391 1"/>
                  <a:gd name="f547" fmla="*/ f420 f390 1"/>
                  <a:gd name="f548" fmla="*/ f421 f391 1"/>
                  <a:gd name="f549" fmla="*/ f422 f390 1"/>
                  <a:gd name="f550" fmla="*/ f423 f391 1"/>
                  <a:gd name="f551" fmla="*/ f424 f390 1"/>
                  <a:gd name="f552" fmla="*/ f425 f391 1"/>
                  <a:gd name="f553" fmla="*/ f426 f390 1"/>
                  <a:gd name="f554" fmla="*/ f427 f391 1"/>
                  <a:gd name="f555" fmla="*/ f428 f390 1"/>
                  <a:gd name="f556" fmla="*/ f429 f391 1"/>
                  <a:gd name="f557" fmla="*/ f430 f390 1"/>
                  <a:gd name="f558" fmla="*/ f431 f391 1"/>
                  <a:gd name="f559" fmla="*/ f432 f390 1"/>
                  <a:gd name="f560" fmla="*/ f433 f391 1"/>
                  <a:gd name="f561" fmla="*/ f434 f390 1"/>
                  <a:gd name="f562" fmla="*/ f435 f391 1"/>
                  <a:gd name="f563" fmla="*/ f436 f390 1"/>
                  <a:gd name="f564" fmla="*/ f437 f391 1"/>
                  <a:gd name="f565" fmla="*/ f438 f390 1"/>
                  <a:gd name="f566" fmla="*/ f439 f391 1"/>
                  <a:gd name="f567" fmla="*/ f440 f390 1"/>
                  <a:gd name="f568" fmla="*/ f441 f391 1"/>
                  <a:gd name="f569" fmla="*/ f442 f390 1"/>
                  <a:gd name="f570" fmla="*/ f443 f391 1"/>
                  <a:gd name="f571" fmla="*/ f444 f390 1"/>
                  <a:gd name="f572" fmla="*/ f445 f391 1"/>
                  <a:gd name="f573" fmla="*/ f446 f390 1"/>
                  <a:gd name="f574" fmla="*/ f447 f391 1"/>
                  <a:gd name="f575" fmla="*/ f448 f390 1"/>
                  <a:gd name="f576" fmla="*/ f449 f391 1"/>
                  <a:gd name="f577" fmla="*/ f450 f390 1"/>
                  <a:gd name="f578" fmla="*/ f451 f391 1"/>
                  <a:gd name="f579" fmla="*/ f452 f390 1"/>
                  <a:gd name="f580" fmla="*/ f453 f391 1"/>
                  <a:gd name="f581" fmla="*/ f454 f390 1"/>
                  <a:gd name="f582" fmla="*/ f455 f391 1"/>
                  <a:gd name="f583" fmla="*/ f456 f390 1"/>
                  <a:gd name="f584" fmla="*/ f457 f391 1"/>
                  <a:gd name="f585" fmla="*/ f458 f390 1"/>
                  <a:gd name="f586" fmla="*/ f459 f391 1"/>
                  <a:gd name="f587" fmla="*/ f460 f390 1"/>
                  <a:gd name="f588" fmla="*/ f461 f390 1"/>
                  <a:gd name="f589" fmla="*/ f462 f391 1"/>
                  <a:gd name="f590" fmla="*/ f463 f390 1"/>
                  <a:gd name="f591" fmla="*/ f464 f391 1"/>
                  <a:gd name="f592" fmla="*/ f465 f390 1"/>
                  <a:gd name="f593" fmla="*/ f466 f391 1"/>
                  <a:gd name="f594" fmla="*/ f467 f390 1"/>
                  <a:gd name="f595" fmla="*/ f468 f391 1"/>
                  <a:gd name="f596" fmla="*/ f469 f391 1"/>
                  <a:gd name="f597" fmla="*/ f471 f390 1"/>
                  <a:gd name="f598" fmla="*/ f472 f391 1"/>
                  <a:gd name="f599" fmla="*/ f473 f390 1"/>
                  <a:gd name="f600" fmla="*/ f474 f391 1"/>
                  <a:gd name="f601" fmla="*/ f475 f390 1"/>
                  <a:gd name="f602" fmla="*/ f476 f391 1"/>
                  <a:gd name="f603" fmla="*/ f477 f391 1"/>
                  <a:gd name="f604" fmla="*/ f478 f390 1"/>
                  <a:gd name="f605" fmla="*/ f479 f391 1"/>
                  <a:gd name="f606" fmla="*/ f480 f390 1"/>
                  <a:gd name="f607" fmla="*/ f481 f391 1"/>
                  <a:gd name="f608" fmla="*/ f482 f390 1"/>
                  <a:gd name="f609" fmla="*/ f483 f391 1"/>
                  <a:gd name="f610" fmla="*/ f484 f390 1"/>
                  <a:gd name="f611" fmla="*/ f485 f391 1"/>
                  <a:gd name="f612" fmla="*/ f486 f390 1"/>
                  <a:gd name="f613" fmla="*/ f487 f391 1"/>
                  <a:gd name="f614" fmla="*/ f488 f390 1"/>
                  <a:gd name="f615" fmla="*/ f489 f391 1"/>
                  <a:gd name="f616" fmla="*/ f490 f390 1"/>
                  <a:gd name="f617" fmla="*/ f491 f391 1"/>
                  <a:gd name="f618" fmla="*/ f492 f390 1"/>
                  <a:gd name="f619" fmla="*/ f493 f391 1"/>
                  <a:gd name="f620" fmla="*/ f494 f390 1"/>
                  <a:gd name="f621" fmla="*/ f495 f391 1"/>
                  <a:gd name="f622" fmla="*/ f496 f390 1"/>
                  <a:gd name="f623" fmla="*/ f497 f391 1"/>
                  <a:gd name="f624" fmla="*/ f498 f390 1"/>
                  <a:gd name="f625" fmla="*/ f499 f391 1"/>
                  <a:gd name="f626" fmla="*/ f500 f390 1"/>
                  <a:gd name="f627" fmla="*/ f501 f391 1"/>
                  <a:gd name="f628" fmla="*/ f502 f390 1"/>
                  <a:gd name="f629" fmla="*/ f503 f391 1"/>
                  <a:gd name="f630" fmla="*/ f504 f390 1"/>
                  <a:gd name="f631" fmla="*/ f505 f391 1"/>
                  <a:gd name="f632" fmla="*/ f506 f390 1"/>
                  <a:gd name="f633" fmla="*/ f507 f390 1"/>
                  <a:gd name="f634" fmla="*/ f508 f391 1"/>
                  <a:gd name="f635" fmla="*/ f509 f390 1"/>
                  <a:gd name="f636" fmla="*/ f510 f390 1"/>
                  <a:gd name="f637" fmla="*/ f511 f391 1"/>
                  <a:gd name="f638" fmla="*/ f512 f390 1"/>
                  <a:gd name="f639" fmla="*/ f513 f391 1"/>
                  <a:gd name="f640" fmla="*/ f514 f390 1"/>
                  <a:gd name="f641" fmla="*/ f515 f391 1"/>
                  <a:gd name="f642" fmla="*/ f516 f39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20">
                    <a:pos x="f525" y="f526"/>
                  </a:cxn>
                  <a:cxn ang="f520">
                    <a:pos x="f527" y="f528"/>
                  </a:cxn>
                  <a:cxn ang="f520">
                    <a:pos x="f529" y="f530"/>
                  </a:cxn>
                  <a:cxn ang="f520">
                    <a:pos x="f531" y="f532"/>
                  </a:cxn>
                  <a:cxn ang="f520">
                    <a:pos x="f533" y="f534"/>
                  </a:cxn>
                  <a:cxn ang="f520">
                    <a:pos x="f535" y="f536"/>
                  </a:cxn>
                  <a:cxn ang="f520">
                    <a:pos x="f537" y="f538"/>
                  </a:cxn>
                  <a:cxn ang="f520">
                    <a:pos x="f539" y="f540"/>
                  </a:cxn>
                  <a:cxn ang="f520">
                    <a:pos x="f541" y="f542"/>
                  </a:cxn>
                  <a:cxn ang="f520">
                    <a:pos x="f543" y="f544"/>
                  </a:cxn>
                  <a:cxn ang="f520">
                    <a:pos x="f545" y="f546"/>
                  </a:cxn>
                  <a:cxn ang="f520">
                    <a:pos x="f547" y="f548"/>
                  </a:cxn>
                  <a:cxn ang="f520">
                    <a:pos x="f549" y="f550"/>
                  </a:cxn>
                  <a:cxn ang="f520">
                    <a:pos x="f551" y="f552"/>
                  </a:cxn>
                  <a:cxn ang="f520">
                    <a:pos x="f553" y="f554"/>
                  </a:cxn>
                  <a:cxn ang="f520">
                    <a:pos x="f555" y="f556"/>
                  </a:cxn>
                  <a:cxn ang="f520">
                    <a:pos x="f557" y="f558"/>
                  </a:cxn>
                  <a:cxn ang="f520">
                    <a:pos x="f559" y="f560"/>
                  </a:cxn>
                  <a:cxn ang="f520">
                    <a:pos x="f561" y="f562"/>
                  </a:cxn>
                  <a:cxn ang="f520">
                    <a:pos x="f563" y="f564"/>
                  </a:cxn>
                  <a:cxn ang="f520">
                    <a:pos x="f565" y="f566"/>
                  </a:cxn>
                  <a:cxn ang="f520">
                    <a:pos x="f567" y="f568"/>
                  </a:cxn>
                  <a:cxn ang="f520">
                    <a:pos x="f569" y="f570"/>
                  </a:cxn>
                  <a:cxn ang="f520">
                    <a:pos x="f571" y="f572"/>
                  </a:cxn>
                  <a:cxn ang="f520">
                    <a:pos x="f573" y="f574"/>
                  </a:cxn>
                  <a:cxn ang="f520">
                    <a:pos x="f575" y="f576"/>
                  </a:cxn>
                  <a:cxn ang="f520">
                    <a:pos x="f577" y="f578"/>
                  </a:cxn>
                  <a:cxn ang="f520">
                    <a:pos x="f579" y="f580"/>
                  </a:cxn>
                  <a:cxn ang="f520">
                    <a:pos x="f581" y="f582"/>
                  </a:cxn>
                  <a:cxn ang="f520">
                    <a:pos x="f583" y="f584"/>
                  </a:cxn>
                  <a:cxn ang="f520">
                    <a:pos x="f585" y="f586"/>
                  </a:cxn>
                  <a:cxn ang="f520">
                    <a:pos x="f587" y="f586"/>
                  </a:cxn>
                  <a:cxn ang="f520">
                    <a:pos x="f588" y="f589"/>
                  </a:cxn>
                  <a:cxn ang="f520">
                    <a:pos x="f590" y="f591"/>
                  </a:cxn>
                  <a:cxn ang="f520">
                    <a:pos x="f592" y="f593"/>
                  </a:cxn>
                  <a:cxn ang="f520">
                    <a:pos x="f594" y="f595"/>
                  </a:cxn>
                  <a:cxn ang="f520">
                    <a:pos x="f588" y="f596"/>
                  </a:cxn>
                  <a:cxn ang="f520">
                    <a:pos x="f521" y="f564"/>
                  </a:cxn>
                  <a:cxn ang="f520">
                    <a:pos x="f597" y="f598"/>
                  </a:cxn>
                  <a:cxn ang="f520">
                    <a:pos x="f599" y="f600"/>
                  </a:cxn>
                  <a:cxn ang="f520">
                    <a:pos x="f601" y="f602"/>
                  </a:cxn>
                  <a:cxn ang="f520">
                    <a:pos x="f583" y="f603"/>
                  </a:cxn>
                  <a:cxn ang="f520">
                    <a:pos x="f604" y="f605"/>
                  </a:cxn>
                  <a:cxn ang="f520">
                    <a:pos x="f606" y="f607"/>
                  </a:cxn>
                  <a:cxn ang="f520">
                    <a:pos x="f608" y="f609"/>
                  </a:cxn>
                  <a:cxn ang="f520">
                    <a:pos x="f610" y="f611"/>
                  </a:cxn>
                  <a:cxn ang="f520">
                    <a:pos x="f612" y="f613"/>
                  </a:cxn>
                  <a:cxn ang="f520">
                    <a:pos x="f614" y="f615"/>
                  </a:cxn>
                  <a:cxn ang="f520">
                    <a:pos x="f616" y="f617"/>
                  </a:cxn>
                  <a:cxn ang="f520">
                    <a:pos x="f618" y="f619"/>
                  </a:cxn>
                  <a:cxn ang="f520">
                    <a:pos x="f620" y="f621"/>
                  </a:cxn>
                  <a:cxn ang="f520">
                    <a:pos x="f622" y="f623"/>
                  </a:cxn>
                  <a:cxn ang="f520">
                    <a:pos x="f624" y="f625"/>
                  </a:cxn>
                  <a:cxn ang="f520">
                    <a:pos x="f626" y="f627"/>
                  </a:cxn>
                  <a:cxn ang="f520">
                    <a:pos x="f628" y="f629"/>
                  </a:cxn>
                  <a:cxn ang="f520">
                    <a:pos x="f630" y="f631"/>
                  </a:cxn>
                  <a:cxn ang="f520">
                    <a:pos x="f632" y="f621"/>
                  </a:cxn>
                  <a:cxn ang="f520">
                    <a:pos x="f633" y="f634"/>
                  </a:cxn>
                  <a:cxn ang="f520">
                    <a:pos x="f635" y="f621"/>
                  </a:cxn>
                  <a:cxn ang="f520">
                    <a:pos x="f636" y="f637"/>
                  </a:cxn>
                  <a:cxn ang="f520">
                    <a:pos x="f638" y="f639"/>
                  </a:cxn>
                  <a:cxn ang="f520">
                    <a:pos x="f640" y="f641"/>
                  </a:cxn>
                  <a:cxn ang="f520">
                    <a:pos x="f531" y="f642"/>
                  </a:cxn>
                </a:cxnLst>
                <a:rect l="f521" t="f524" r="f522" b="f523"/>
                <a:pathLst>
                  <a:path w="583" h="815">
                    <a:moveTo>
                      <a:pt x="f9" y="f6"/>
                    </a:moveTo>
                    <a:lnTo>
                      <a:pt x="f10" y="f6"/>
                    </a:lnTo>
                    <a:lnTo>
                      <a:pt x="f11" y="f12"/>
                    </a:lnTo>
                    <a:lnTo>
                      <a:pt x="f11" y="f13"/>
                    </a:lnTo>
                    <a:lnTo>
                      <a:pt x="f14" y="f15"/>
                    </a:lnTo>
                    <a:lnTo>
                      <a:pt x="f14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3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0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30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51"/>
                    </a:lnTo>
                    <a:lnTo>
                      <a:pt x="f52" y="f53"/>
                    </a:lnTo>
                    <a:lnTo>
                      <a:pt x="f54" y="f53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61" y="f63"/>
                    </a:lnTo>
                    <a:lnTo>
                      <a:pt x="f64" y="f65"/>
                    </a:lnTo>
                    <a:lnTo>
                      <a:pt x="f61" y="f66"/>
                    </a:lnTo>
                    <a:lnTo>
                      <a:pt x="f61" y="f67"/>
                    </a:lnTo>
                    <a:lnTo>
                      <a:pt x="f59" y="f67"/>
                    </a:ln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65"/>
                    </a:lnTo>
                    <a:lnTo>
                      <a:pt x="f82" y="f73"/>
                    </a:lnTo>
                    <a:lnTo>
                      <a:pt x="f80" y="f8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88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1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82" y="f108"/>
                    </a:lnTo>
                    <a:lnTo>
                      <a:pt x="f109" y="f110"/>
                    </a:lnTo>
                    <a:lnTo>
                      <a:pt x="f8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06" y="f116"/>
                    </a:lnTo>
                    <a:lnTo>
                      <a:pt x="f106" y="f117"/>
                    </a:lnTo>
                    <a:lnTo>
                      <a:pt x="f84" y="f118"/>
                    </a:lnTo>
                    <a:lnTo>
                      <a:pt x="f80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72" y="f126"/>
                    </a:lnTo>
                    <a:lnTo>
                      <a:pt x="f68" y="f127"/>
                    </a:lnTo>
                    <a:lnTo>
                      <a:pt x="f128" y="f129"/>
                    </a:lnTo>
                    <a:lnTo>
                      <a:pt x="f130" y="f131"/>
                    </a:lnTo>
                    <a:lnTo>
                      <a:pt x="f7" y="f132"/>
                    </a:lnTo>
                    <a:lnTo>
                      <a:pt x="f7" y="f133"/>
                    </a:lnTo>
                    <a:lnTo>
                      <a:pt x="f134" y="f135"/>
                    </a:lnTo>
                    <a:lnTo>
                      <a:pt x="f136" y="f82"/>
                    </a:lnTo>
                    <a:lnTo>
                      <a:pt x="f128" y="f137"/>
                    </a:lnTo>
                    <a:lnTo>
                      <a:pt x="f138" y="f91"/>
                    </a:lnTo>
                    <a:lnTo>
                      <a:pt x="f61" y="f86"/>
                    </a:lnTo>
                    <a:lnTo>
                      <a:pt x="f6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lnTo>
                      <a:pt x="f122" y="f135"/>
                    </a:lnTo>
                    <a:lnTo>
                      <a:pt x="f91" y="f135"/>
                    </a:lnTo>
                    <a:lnTo>
                      <a:pt x="f144" y="f106"/>
                    </a:lnTo>
                    <a:lnTo>
                      <a:pt x="f144" y="f114"/>
                    </a:lnTo>
                    <a:lnTo>
                      <a:pt x="f91" y="f141"/>
                    </a:lnTo>
                    <a:lnTo>
                      <a:pt x="f54" y="f80"/>
                    </a:lnTo>
                    <a:lnTo>
                      <a:pt x="f145" y="f86"/>
                    </a:lnTo>
                    <a:lnTo>
                      <a:pt x="f145" y="f54"/>
                    </a:lnTo>
                    <a:lnTo>
                      <a:pt x="f54" y="f88"/>
                    </a:lnTo>
                    <a:lnTo>
                      <a:pt x="f144" y="f145"/>
                    </a:lnTo>
                    <a:lnTo>
                      <a:pt x="f112" y="f145"/>
                    </a:lnTo>
                    <a:lnTo>
                      <a:pt x="f95" y="f146"/>
                    </a:lnTo>
                    <a:lnTo>
                      <a:pt x="f95" y="f76"/>
                    </a:lnTo>
                    <a:lnTo>
                      <a:pt x="f147" y="f148"/>
                    </a:lnTo>
                    <a:lnTo>
                      <a:pt x="f147" y="f149"/>
                    </a:lnTo>
                    <a:lnTo>
                      <a:pt x="f82" y="f150"/>
                    </a:lnTo>
                    <a:lnTo>
                      <a:pt x="f82" y="f151"/>
                    </a:lnTo>
                    <a:lnTo>
                      <a:pt x="f95" y="f152"/>
                    </a:lnTo>
                    <a:lnTo>
                      <a:pt x="f153" y="f154"/>
                    </a:lnTo>
                    <a:lnTo>
                      <a:pt x="f155" y="f152"/>
                    </a:lnTo>
                    <a:lnTo>
                      <a:pt x="f156" y="f157"/>
                    </a:lnTo>
                    <a:lnTo>
                      <a:pt x="f158" y="f159"/>
                    </a:lnTo>
                    <a:lnTo>
                      <a:pt x="f50" y="f159"/>
                    </a:lnTo>
                    <a:lnTo>
                      <a:pt x="f160" y="f152"/>
                    </a:lnTo>
                    <a:lnTo>
                      <a:pt x="f161" y="f162"/>
                    </a:lnTo>
                    <a:lnTo>
                      <a:pt x="f163" y="f164"/>
                    </a:lnTo>
                    <a:lnTo>
                      <a:pt x="f165" y="f166"/>
                    </a:lnTo>
                    <a:lnTo>
                      <a:pt x="f167" y="f168"/>
                    </a:lnTo>
                    <a:lnTo>
                      <a:pt x="f169" y="f170"/>
                    </a:lnTo>
                    <a:lnTo>
                      <a:pt x="f19" y="f171"/>
                    </a:lnTo>
                    <a:lnTo>
                      <a:pt x="f30" y="f172"/>
                    </a:lnTo>
                    <a:lnTo>
                      <a:pt x="f21" y="f173"/>
                    </a:lnTo>
                    <a:lnTo>
                      <a:pt x="f33" y="f173"/>
                    </a:lnTo>
                    <a:lnTo>
                      <a:pt x="f25" y="f172"/>
                    </a:lnTo>
                    <a:lnTo>
                      <a:pt x="f174" y="f175"/>
                    </a:lnTo>
                    <a:lnTo>
                      <a:pt x="f35" y="f176"/>
                    </a:lnTo>
                    <a:lnTo>
                      <a:pt x="f39" y="f176"/>
                    </a:lnTo>
                    <a:lnTo>
                      <a:pt x="f177" y="f175"/>
                    </a:lnTo>
                    <a:lnTo>
                      <a:pt x="f178" y="f179"/>
                    </a:lnTo>
                    <a:lnTo>
                      <a:pt x="f180" y="f181"/>
                    </a:lnTo>
                    <a:lnTo>
                      <a:pt x="f182" y="f183"/>
                    </a:lnTo>
                    <a:lnTo>
                      <a:pt x="f184" y="f185"/>
                    </a:lnTo>
                    <a:lnTo>
                      <a:pt x="f186" y="f187"/>
                    </a:lnTo>
                    <a:lnTo>
                      <a:pt x="f105" y="f188"/>
                    </a:lnTo>
                    <a:lnTo>
                      <a:pt x="f189" y="f190"/>
                    </a:lnTo>
                    <a:lnTo>
                      <a:pt x="f191" y="f192"/>
                    </a:lnTo>
                    <a:lnTo>
                      <a:pt x="f193" y="f194"/>
                    </a:lnTo>
                    <a:lnTo>
                      <a:pt x="f195" y="f196"/>
                    </a:lnTo>
                    <a:lnTo>
                      <a:pt x="f90" y="f197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202" y="f203"/>
                    </a:lnTo>
                    <a:lnTo>
                      <a:pt x="f65" y="f204"/>
                    </a:lnTo>
                    <a:lnTo>
                      <a:pt x="f205" y="f206"/>
                    </a:lnTo>
                    <a:lnTo>
                      <a:pt x="f207" y="f208"/>
                    </a:lnTo>
                    <a:lnTo>
                      <a:pt x="f209" y="f8"/>
                    </a:lnTo>
                    <a:lnTo>
                      <a:pt x="f210" y="f211"/>
                    </a:lnTo>
                    <a:lnTo>
                      <a:pt x="f212" y="f206"/>
                    </a:lnTo>
                    <a:lnTo>
                      <a:pt x="f213" y="f214"/>
                    </a:lnTo>
                    <a:lnTo>
                      <a:pt x="f215" y="f216"/>
                    </a:lnTo>
                    <a:lnTo>
                      <a:pt x="f217" y="f218"/>
                    </a:lnTo>
                    <a:lnTo>
                      <a:pt x="f51" y="f192"/>
                    </a:lnTo>
                    <a:lnTo>
                      <a:pt x="f49" y="f219"/>
                    </a:lnTo>
                    <a:lnTo>
                      <a:pt x="f220" y="f221"/>
                    </a:lnTo>
                    <a:lnTo>
                      <a:pt x="f29" y="f222"/>
                    </a:lnTo>
                    <a:lnTo>
                      <a:pt x="f223" y="f224"/>
                    </a:lnTo>
                    <a:lnTo>
                      <a:pt x="f225" y="f226"/>
                    </a:lnTo>
                    <a:lnTo>
                      <a:pt x="f227" y="f185"/>
                    </a:lnTo>
                    <a:lnTo>
                      <a:pt x="f228" y="f229"/>
                    </a:lnTo>
                    <a:lnTo>
                      <a:pt x="f230" y="f231"/>
                    </a:lnTo>
                    <a:lnTo>
                      <a:pt x="f22" y="f232"/>
                    </a:lnTo>
                    <a:lnTo>
                      <a:pt x="f233" y="f234"/>
                    </a:lnTo>
                    <a:lnTo>
                      <a:pt x="f20" y="f235"/>
                    </a:lnTo>
                    <a:lnTo>
                      <a:pt x="f18" y="f236"/>
                    </a:lnTo>
                    <a:lnTo>
                      <a:pt x="f237" y="f231"/>
                    </a:lnTo>
                    <a:lnTo>
                      <a:pt x="f238" y="f239"/>
                    </a:lnTo>
                    <a:lnTo>
                      <a:pt x="f240" y="f241"/>
                    </a:lnTo>
                    <a:lnTo>
                      <a:pt x="f240" y="f222"/>
                    </a:lnTo>
                    <a:lnTo>
                      <a:pt x="f242" y="f173"/>
                    </a:lnTo>
                    <a:lnTo>
                      <a:pt x="f243" y="f244"/>
                    </a:lnTo>
                    <a:lnTo>
                      <a:pt x="f245" y="f246"/>
                    </a:lnTo>
                    <a:lnTo>
                      <a:pt x="f247" y="f246"/>
                    </a:lnTo>
                    <a:lnTo>
                      <a:pt x="f248" y="f179"/>
                    </a:lnTo>
                    <a:lnTo>
                      <a:pt x="f249" y="f250"/>
                    </a:lnTo>
                    <a:lnTo>
                      <a:pt x="f251" y="f172"/>
                    </a:lnTo>
                    <a:lnTo>
                      <a:pt x="f252" y="f253"/>
                    </a:lnTo>
                    <a:lnTo>
                      <a:pt x="f254" y="f246"/>
                    </a:lnTo>
                    <a:lnTo>
                      <a:pt x="f225" y="f255"/>
                    </a:lnTo>
                    <a:lnTo>
                      <a:pt x="f27" y="f168"/>
                    </a:lnTo>
                    <a:lnTo>
                      <a:pt x="f223" y="f256"/>
                    </a:lnTo>
                    <a:lnTo>
                      <a:pt x="f27" y="f257"/>
                    </a:lnTo>
                    <a:lnTo>
                      <a:pt x="f258" y="f259"/>
                    </a:lnTo>
                    <a:lnTo>
                      <a:pt x="f260" y="f261"/>
                    </a:lnTo>
                    <a:lnTo>
                      <a:pt x="f230" y="f159"/>
                    </a:lnTo>
                    <a:lnTo>
                      <a:pt x="f262" y="f263"/>
                    </a:lnTo>
                    <a:lnTo>
                      <a:pt x="f264" y="f263"/>
                    </a:lnTo>
                    <a:lnTo>
                      <a:pt x="f265" y="f266"/>
                    </a:lnTo>
                    <a:lnTo>
                      <a:pt x="f267" y="f157"/>
                    </a:lnTo>
                    <a:lnTo>
                      <a:pt x="f237" y="f157"/>
                    </a:lnTo>
                    <a:lnTo>
                      <a:pt x="f243" y="f268"/>
                    </a:lnTo>
                    <a:lnTo>
                      <a:pt x="f242" y="f269"/>
                    </a:lnTo>
                    <a:lnTo>
                      <a:pt x="f13" y="f159"/>
                    </a:lnTo>
                    <a:lnTo>
                      <a:pt x="f270" y="f152"/>
                    </a:lnTo>
                    <a:lnTo>
                      <a:pt x="f6" y="f271"/>
                    </a:lnTo>
                    <a:lnTo>
                      <a:pt x="f6" y="f149"/>
                    </a:lnTo>
                    <a:lnTo>
                      <a:pt x="f272" y="f273"/>
                    </a:lnTo>
                    <a:lnTo>
                      <a:pt x="f272" y="f112"/>
                    </a:lnTo>
                    <a:lnTo>
                      <a:pt x="f270" y="f114"/>
                    </a:lnTo>
                    <a:lnTo>
                      <a:pt x="f274" y="f106"/>
                    </a:lnTo>
                    <a:lnTo>
                      <a:pt x="f275" y="f276"/>
                    </a:lnTo>
                    <a:lnTo>
                      <a:pt x="f15" y="f52"/>
                    </a:lnTo>
                    <a:lnTo>
                      <a:pt x="f237" y="f156"/>
                    </a:lnTo>
                    <a:lnTo>
                      <a:pt x="f277" y="f156"/>
                    </a:lnTo>
                    <a:lnTo>
                      <a:pt x="f278" y="f104"/>
                    </a:lnTo>
                    <a:lnTo>
                      <a:pt x="f279" y="f280"/>
                    </a:lnTo>
                    <a:lnTo>
                      <a:pt x="f281" y="f280"/>
                    </a:lnTo>
                    <a:lnTo>
                      <a:pt x="f251" y="f104"/>
                    </a:lnTo>
                    <a:lnTo>
                      <a:pt x="f282" y="f101"/>
                    </a:lnTo>
                    <a:lnTo>
                      <a:pt x="f230" y="f283"/>
                    </a:lnTo>
                    <a:lnTo>
                      <a:pt x="f284" y="f160"/>
                    </a:lnTo>
                    <a:lnTo>
                      <a:pt x="f284" y="f285"/>
                    </a:lnTo>
                    <a:lnTo>
                      <a:pt x="f286" y="f131"/>
                    </a:lnTo>
                    <a:lnTo>
                      <a:pt x="f260" y="f287"/>
                    </a:lnTo>
                    <a:lnTo>
                      <a:pt x="f288" y="f289"/>
                    </a:lnTo>
                    <a:lnTo>
                      <a:pt x="f29" y="f290"/>
                    </a:lnTo>
                    <a:lnTo>
                      <a:pt x="f291" y="f123"/>
                    </a:lnTo>
                    <a:lnTo>
                      <a:pt x="f292" y="f293"/>
                    </a:lnTo>
                    <a:lnTo>
                      <a:pt x="f294" y="f295"/>
                    </a:lnTo>
                    <a:lnTo>
                      <a:pt x="f296" y="f297"/>
                    </a:lnTo>
                    <a:lnTo>
                      <a:pt x="f40" y="f298"/>
                    </a:lnTo>
                    <a:lnTo>
                      <a:pt x="f43" y="f299"/>
                    </a:lnTo>
                    <a:lnTo>
                      <a:pt x="f43" y="f113"/>
                    </a:lnTo>
                    <a:lnTo>
                      <a:pt x="f296" y="f300"/>
                    </a:lnTo>
                    <a:lnTo>
                      <a:pt x="f301" y="f300"/>
                    </a:lnTo>
                    <a:lnTo>
                      <a:pt x="f302" y="f111"/>
                    </a:lnTo>
                    <a:lnTo>
                      <a:pt x="f303" y="f111"/>
                    </a:lnTo>
                    <a:lnTo>
                      <a:pt x="f304" y="f305"/>
                    </a:lnTo>
                    <a:lnTo>
                      <a:pt x="f306" y="f307"/>
                    </a:lnTo>
                    <a:lnTo>
                      <a:pt x="f308" y="f180"/>
                    </a:lnTo>
                    <a:lnTo>
                      <a:pt x="f309" y="f2"/>
                    </a:lnTo>
                    <a:lnTo>
                      <a:pt x="f309" y="f108"/>
                    </a:lnTo>
                    <a:lnTo>
                      <a:pt x="f292" y="f310"/>
                    </a:lnTo>
                    <a:lnTo>
                      <a:pt x="f308" y="f311"/>
                    </a:lnTo>
                    <a:lnTo>
                      <a:pt x="f312" y="f182"/>
                    </a:lnTo>
                    <a:lnTo>
                      <a:pt x="f303" y="f182"/>
                    </a:lnTo>
                    <a:lnTo>
                      <a:pt x="f302" y="f313"/>
                    </a:lnTo>
                    <a:lnTo>
                      <a:pt x="f296" y="f314"/>
                    </a:lnTo>
                    <a:lnTo>
                      <a:pt x="f315" y="f316"/>
                    </a:lnTo>
                    <a:lnTo>
                      <a:pt x="f317" y="f318"/>
                    </a:lnTo>
                    <a:lnTo>
                      <a:pt x="f319" y="f320"/>
                    </a:lnTo>
                    <a:lnTo>
                      <a:pt x="f53" y="f321"/>
                    </a:lnTo>
                    <a:lnTo>
                      <a:pt x="f217" y="f322"/>
                    </a:lnTo>
                    <a:lnTo>
                      <a:pt x="f323" y="f324"/>
                    </a:lnTo>
                    <a:lnTo>
                      <a:pt x="f215" y="f325"/>
                    </a:lnTo>
                    <a:lnTo>
                      <a:pt x="f326" y="f327"/>
                    </a:lnTo>
                    <a:lnTo>
                      <a:pt x="f328" y="f329"/>
                    </a:lnTo>
                    <a:lnTo>
                      <a:pt x="f330" y="f87"/>
                    </a:lnTo>
                    <a:lnTo>
                      <a:pt x="f331" y="f87"/>
                    </a:lnTo>
                    <a:lnTo>
                      <a:pt x="f81" y="f332"/>
                    </a:lnTo>
                    <a:lnTo>
                      <a:pt x="f333" y="f334"/>
                    </a:lnTo>
                    <a:lnTo>
                      <a:pt x="f333" y="f335"/>
                    </a:lnTo>
                    <a:lnTo>
                      <a:pt x="f81" y="f336"/>
                    </a:lnTo>
                    <a:lnTo>
                      <a:pt x="f331" y="f337"/>
                    </a:lnTo>
                    <a:lnTo>
                      <a:pt x="f338" y="f339"/>
                    </a:lnTo>
                    <a:lnTo>
                      <a:pt x="f340" y="f341"/>
                    </a:lnTo>
                    <a:lnTo>
                      <a:pt x="f342" y="f75"/>
                    </a:lnTo>
                    <a:lnTo>
                      <a:pt x="f343" y="f71"/>
                    </a:lnTo>
                    <a:lnTo>
                      <a:pt x="f343" y="f344"/>
                    </a:lnTo>
                    <a:lnTo>
                      <a:pt x="f210" y="f345"/>
                    </a:lnTo>
                    <a:lnTo>
                      <a:pt x="f342" y="f340"/>
                    </a:lnTo>
                    <a:lnTo>
                      <a:pt x="f209" y="f3"/>
                    </a:lnTo>
                    <a:lnTo>
                      <a:pt x="f209" y="f213"/>
                    </a:lnTo>
                    <a:lnTo>
                      <a:pt x="f342" y="f346"/>
                    </a:lnTo>
                    <a:lnTo>
                      <a:pt x="f62" y="f346"/>
                    </a:lnTo>
                    <a:lnTo>
                      <a:pt x="f343" y="f347"/>
                    </a:lnTo>
                    <a:lnTo>
                      <a:pt x="f326" y="f3"/>
                    </a:lnTo>
                    <a:lnTo>
                      <a:pt x="f215" y="f3"/>
                    </a:lnTo>
                    <a:lnTo>
                      <a:pt x="f348" y="f349"/>
                    </a:lnTo>
                    <a:lnTo>
                      <a:pt x="f350" y="f347"/>
                    </a:lnTo>
                    <a:lnTo>
                      <a:pt x="f351" y="f352"/>
                    </a:lnTo>
                    <a:lnTo>
                      <a:pt x="f353" y="f51"/>
                    </a:lnTo>
                    <a:lnTo>
                      <a:pt x="f40" y="f47"/>
                    </a:lnTo>
                    <a:lnTo>
                      <a:pt x="f294" y="f38"/>
                    </a:lnTo>
                    <a:lnTo>
                      <a:pt x="f302" y="f354"/>
                    </a:lnTo>
                    <a:lnTo>
                      <a:pt x="f301" y="f355"/>
                    </a:lnTo>
                    <a:lnTo>
                      <a:pt x="f356" y="f306"/>
                    </a:lnTo>
                    <a:lnTo>
                      <a:pt x="f357" y="f358"/>
                    </a:lnTo>
                    <a:lnTo>
                      <a:pt x="f359" y="f360"/>
                    </a:lnTo>
                    <a:lnTo>
                      <a:pt x="f215" y="f361"/>
                    </a:lnTo>
                    <a:lnTo>
                      <a:pt x="f346" y="f362"/>
                    </a:lnTo>
                    <a:lnTo>
                      <a:pt x="f328" y="f309"/>
                    </a:lnTo>
                    <a:lnTo>
                      <a:pt x="f212" y="f363"/>
                    </a:lnTo>
                    <a:lnTo>
                      <a:pt x="f209" y="f312"/>
                    </a:lnTo>
                    <a:lnTo>
                      <a:pt x="f338" y="f302"/>
                    </a:lnTo>
                    <a:lnTo>
                      <a:pt x="f81" y="f364"/>
                    </a:lnTo>
                    <a:lnTo>
                      <a:pt x="f65" y="f53"/>
                    </a:lnTo>
                    <a:lnTo>
                      <a:pt x="f365" y="f60"/>
                    </a:lnTo>
                    <a:lnTo>
                      <a:pt x="f366" y="f62"/>
                    </a:lnTo>
                    <a:lnTo>
                      <a:pt x="f337" y="f367"/>
                    </a:lnTo>
                    <a:lnTo>
                      <a:pt x="f368" y="f340"/>
                    </a:lnTo>
                    <a:lnTo>
                      <a:pt x="f200" y="f369"/>
                    </a:lnTo>
                    <a:lnTo>
                      <a:pt x="f200" y="f333"/>
                    </a:lnTo>
                    <a:lnTo>
                      <a:pt x="f370" y="f66"/>
                    </a:lnTo>
                    <a:lnTo>
                      <a:pt x="f334" y="f71"/>
                    </a:lnTo>
                    <a:lnTo>
                      <a:pt x="f371" y="f71"/>
                    </a:lnTo>
                    <a:lnTo>
                      <a:pt x="f372" y="f66"/>
                    </a:lnTo>
                    <a:lnTo>
                      <a:pt x="f373" y="f63"/>
                    </a:lnTo>
                    <a:lnTo>
                      <a:pt x="f374" y="f81"/>
                    </a:lnTo>
                    <a:lnTo>
                      <a:pt x="f90" y="f375"/>
                    </a:lnTo>
                    <a:lnTo>
                      <a:pt x="f325" y="f340"/>
                    </a:lnTo>
                    <a:lnTo>
                      <a:pt x="f376" y="f343"/>
                    </a:lnTo>
                    <a:lnTo>
                      <a:pt x="f376" y="f60"/>
                    </a:lnTo>
                    <a:lnTo>
                      <a:pt x="f377" y="f58"/>
                    </a:lnTo>
                    <a:lnTo>
                      <a:pt x="f378" y="f56"/>
                    </a:lnTo>
                    <a:lnTo>
                      <a:pt x="f379" y="f351"/>
                    </a:lnTo>
                    <a:lnTo>
                      <a:pt x="f380" y="f319"/>
                    </a:lnTo>
                    <a:lnTo>
                      <a:pt x="f193" y="f317"/>
                    </a:lnTo>
                    <a:lnTo>
                      <a:pt x="f380" y="f43"/>
                    </a:lnTo>
                    <a:lnTo>
                      <a:pt x="f379" y="f354"/>
                    </a:lnTo>
                    <a:lnTo>
                      <a:pt x="f195" y="f363"/>
                    </a:lnTo>
                    <a:lnTo>
                      <a:pt x="f381" y="f29"/>
                    </a:lnTo>
                    <a:lnTo>
                      <a:pt x="f325" y="f382"/>
                    </a:lnTo>
                    <a:lnTo>
                      <a:pt x="f373" y="f249"/>
                    </a:lnTo>
                    <a:lnTo>
                      <a:pt x="f383" y="f384"/>
                    </a:lnTo>
                    <a:lnTo>
                      <a:pt x="f385" y="f386"/>
                    </a:lnTo>
                    <a:lnTo>
                      <a:pt x="f320" y="f384"/>
                    </a:lnTo>
                    <a:lnTo>
                      <a:pt x="f186" y="f15"/>
                    </a:lnTo>
                    <a:lnTo>
                      <a:pt x="f111" y="f387"/>
                    </a:lnTo>
                    <a:lnTo>
                      <a:pt x="f388" y="f240"/>
                    </a:lnTo>
                    <a:lnTo>
                      <a:pt x="f41" y="f274"/>
                    </a:lnTo>
                    <a:lnTo>
                      <a:pt x="f30" y="f12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68" name="Freeform 30">
                <a:extLst>
                  <a:ext uri="{FF2B5EF4-FFF2-40B4-BE49-F238E27FC236}">
                    <a16:creationId xmlns:a16="http://schemas.microsoft.com/office/drawing/2014/main" id="{DAE55858-7CE6-4B6E-9C20-9540F4FCD65F}"/>
                  </a:ext>
                </a:extLst>
              </p:cNvPr>
              <p:cNvSpPr/>
              <p:nvPr/>
            </p:nvSpPr>
            <p:spPr>
              <a:xfrm>
                <a:off x="4392997" y="2605262"/>
                <a:ext cx="39145" cy="2180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36"/>
                  <a:gd name="f7" fmla="val 134"/>
                  <a:gd name="f8" fmla="val 206"/>
                  <a:gd name="f9" fmla="val 215"/>
                  <a:gd name="f10" fmla="val 4"/>
                  <a:gd name="f11" fmla="val 225"/>
                  <a:gd name="f12" fmla="val 9"/>
                  <a:gd name="f13" fmla="val 232"/>
                  <a:gd name="f14" fmla="val 14"/>
                  <a:gd name="f15" fmla="val 16"/>
                  <a:gd name="f16" fmla="val 23"/>
                  <a:gd name="f17" fmla="val 233"/>
                  <a:gd name="f18" fmla="val 32"/>
                  <a:gd name="f19" fmla="val 226"/>
                  <a:gd name="f20" fmla="val 41"/>
                  <a:gd name="f21" fmla="val 220"/>
                  <a:gd name="f22" fmla="val 50"/>
                  <a:gd name="f23" fmla="val 214"/>
                  <a:gd name="f24" fmla="val 58"/>
                  <a:gd name="f25" fmla="val 209"/>
                  <a:gd name="f26" fmla="val 62"/>
                  <a:gd name="f27" fmla="val 202"/>
                  <a:gd name="f28" fmla="val 65"/>
                  <a:gd name="f29" fmla="val 193"/>
                  <a:gd name="f30" fmla="val 66"/>
                  <a:gd name="f31" fmla="val 186"/>
                  <a:gd name="f32" fmla="val 69"/>
                  <a:gd name="f33" fmla="val 181"/>
                  <a:gd name="f34" fmla="val 72"/>
                  <a:gd name="f35" fmla="val 178"/>
                  <a:gd name="f36" fmla="val 76"/>
                  <a:gd name="f37" fmla="val 175"/>
                  <a:gd name="f38" fmla="val 83"/>
                  <a:gd name="f39" fmla="val 170"/>
                  <a:gd name="f40" fmla="val 86"/>
                  <a:gd name="f41" fmla="val 151"/>
                  <a:gd name="f42" fmla="val 88"/>
                  <a:gd name="f43" fmla="val 142"/>
                  <a:gd name="f44" fmla="val 93"/>
                  <a:gd name="f45" fmla="val 135"/>
                  <a:gd name="f46" fmla="val 101"/>
                  <a:gd name="f47" fmla="val 127"/>
                  <a:gd name="f48" fmla="val 112"/>
                  <a:gd name="f49" fmla="val 120"/>
                  <a:gd name="f50" fmla="val 122"/>
                  <a:gd name="f51" fmla="val 102"/>
                  <a:gd name="f52" fmla="val 94"/>
                  <a:gd name="f53" fmla="val 123"/>
                  <a:gd name="f54" fmla="val 75"/>
                  <a:gd name="f55" fmla="val 109"/>
                  <a:gd name="f56" fmla="val 63"/>
                  <a:gd name="f57" fmla="val 108"/>
                  <a:gd name="f58" fmla="val 55"/>
                  <a:gd name="f59" fmla="val 111"/>
                  <a:gd name="f60" fmla="val 48"/>
                  <a:gd name="f61" fmla="val 116"/>
                  <a:gd name="f62" fmla="val 43"/>
                  <a:gd name="f63" fmla="val 39"/>
                  <a:gd name="f64" fmla="val 130"/>
                  <a:gd name="f65" fmla="val 34"/>
                  <a:gd name="f66" fmla="val 29"/>
                  <a:gd name="f67" fmla="val 129"/>
                  <a:gd name="f68" fmla="val 18"/>
                  <a:gd name="f69" fmla="val 15"/>
                  <a:gd name="f70" fmla="val 11"/>
                  <a:gd name="f71" fmla="val 1"/>
                  <a:gd name="f72" fmla="val 91"/>
                  <a:gd name="f73" fmla="val 90"/>
                  <a:gd name="f74" fmla="val 54"/>
                  <a:gd name="f75" fmla="val 80"/>
                  <a:gd name="f76" fmla="val 51"/>
                  <a:gd name="f77" fmla="val 44"/>
                  <a:gd name="f78" fmla="val 37"/>
                  <a:gd name="f79" fmla="val 36"/>
                  <a:gd name="f80" fmla="val 20"/>
                  <a:gd name="f81" fmla="val 19"/>
                  <a:gd name="f82" fmla="val 25"/>
                  <a:gd name="f83" fmla="val 27"/>
                  <a:gd name="f84" fmla="val 81"/>
                  <a:gd name="f85" fmla="val 97"/>
                  <a:gd name="f86" fmla="val 113"/>
                  <a:gd name="f87" fmla="val 22"/>
                  <a:gd name="f88" fmla="val 128"/>
                  <a:gd name="f89" fmla="val 138"/>
                  <a:gd name="f90" fmla="val 12"/>
                  <a:gd name="f91" fmla="val 146"/>
                  <a:gd name="f92" fmla="val 8"/>
                  <a:gd name="f93" fmla="val 5"/>
                  <a:gd name="f94" fmla="val 155"/>
                  <a:gd name="f95" fmla="val 162"/>
                  <a:gd name="f96" fmla="val 167"/>
                  <a:gd name="f97" fmla="val 26"/>
                  <a:gd name="f98" fmla="val 182"/>
                  <a:gd name="f99" fmla="val 30"/>
                  <a:gd name="f100" fmla="val 188"/>
                  <a:gd name="f101" fmla="val 192"/>
                  <a:gd name="f102" fmla="val 195"/>
                  <a:gd name="f103" fmla="val 200"/>
                  <a:gd name="f104" fmla="+- 0 0 -90"/>
                  <a:gd name="f105" fmla="*/ f3 1 236"/>
                  <a:gd name="f106" fmla="*/ f4 1 134"/>
                  <a:gd name="f107" fmla="+- f7 0 f5"/>
                  <a:gd name="f108" fmla="+- f6 0 f5"/>
                  <a:gd name="f109" fmla="*/ f104 f0 1"/>
                  <a:gd name="f110" fmla="*/ f108 1 236"/>
                  <a:gd name="f111" fmla="*/ f107 1 134"/>
                  <a:gd name="f112" fmla="*/ f109 1 f2"/>
                  <a:gd name="f113" fmla="*/ 215 1 f110"/>
                  <a:gd name="f114" fmla="*/ 4 1 f111"/>
                  <a:gd name="f115" fmla="*/ 232 1 f110"/>
                  <a:gd name="f116" fmla="*/ 14 1 f111"/>
                  <a:gd name="f117" fmla="*/ 236 1 f110"/>
                  <a:gd name="f118" fmla="*/ 23 1 f111"/>
                  <a:gd name="f119" fmla="*/ 226 1 f110"/>
                  <a:gd name="f120" fmla="*/ 41 1 f111"/>
                  <a:gd name="f121" fmla="*/ 214 1 f110"/>
                  <a:gd name="f122" fmla="*/ 58 1 f111"/>
                  <a:gd name="f123" fmla="*/ 202 1 f110"/>
                  <a:gd name="f124" fmla="*/ 65 1 f111"/>
                  <a:gd name="f125" fmla="*/ 186 1 f110"/>
                  <a:gd name="f126" fmla="*/ 69 1 f111"/>
                  <a:gd name="f127" fmla="*/ 178 1 f110"/>
                  <a:gd name="f128" fmla="*/ 76 1 f111"/>
                  <a:gd name="f129" fmla="*/ 170 1 f110"/>
                  <a:gd name="f130" fmla="*/ 86 1 f111"/>
                  <a:gd name="f131" fmla="*/ 142 1 f110"/>
                  <a:gd name="f132" fmla="*/ 93 1 f111"/>
                  <a:gd name="f133" fmla="*/ 127 1 f110"/>
                  <a:gd name="f134" fmla="*/ 112 1 f111"/>
                  <a:gd name="f135" fmla="*/ 112 1 f110"/>
                  <a:gd name="f136" fmla="*/ 127 1 f111"/>
                  <a:gd name="f137" fmla="*/ 94 1 f110"/>
                  <a:gd name="f138" fmla="*/ 123 1 f111"/>
                  <a:gd name="f139" fmla="*/ 63 1 f110"/>
                  <a:gd name="f140" fmla="*/ 108 1 f111"/>
                  <a:gd name="f141" fmla="*/ 48 1 f110"/>
                  <a:gd name="f142" fmla="*/ 116 1 f111"/>
                  <a:gd name="f143" fmla="*/ 39 1 f110"/>
                  <a:gd name="f144" fmla="*/ 130 1 f111"/>
                  <a:gd name="f145" fmla="*/ 29 1 f110"/>
                  <a:gd name="f146" fmla="*/ 134 1 f111"/>
                  <a:gd name="f147" fmla="*/ 18 1 f110"/>
                  <a:gd name="f148" fmla="*/ 120 1 f111"/>
                  <a:gd name="f149" fmla="*/ 11 1 f110"/>
                  <a:gd name="f150" fmla="*/ 101 1 f111"/>
                  <a:gd name="f151" fmla="*/ 0 1 f110"/>
                  <a:gd name="f152" fmla="*/ 88 1 f111"/>
                  <a:gd name="f153" fmla="*/ 43 1 f110"/>
                  <a:gd name="f154" fmla="*/ 90 1 f111"/>
                  <a:gd name="f155" fmla="*/ 62 1 f110"/>
                  <a:gd name="f156" fmla="*/ 66 1 f111"/>
                  <a:gd name="f157" fmla="*/ 44 1 f110"/>
                  <a:gd name="f158" fmla="*/ 37 1 f111"/>
                  <a:gd name="f159" fmla="*/ 36 1 f110"/>
                  <a:gd name="f160" fmla="*/ 20 1 f111"/>
                  <a:gd name="f161" fmla="*/ 58 1 f110"/>
                  <a:gd name="f162" fmla="*/ 19 1 f111"/>
                  <a:gd name="f163" fmla="*/ 72 1 f110"/>
                  <a:gd name="f164" fmla="*/ 27 1 f111"/>
                  <a:gd name="f165" fmla="*/ 97 1 f110"/>
                  <a:gd name="f166" fmla="*/ 25 1 f111"/>
                  <a:gd name="f167" fmla="*/ 128 1 f110"/>
                  <a:gd name="f168" fmla="*/ 12 1 f111"/>
                  <a:gd name="f169" fmla="*/ 146 1 f110"/>
                  <a:gd name="f170" fmla="*/ 5 1 f111"/>
                  <a:gd name="f171" fmla="*/ 162 1 f110"/>
                  <a:gd name="f172" fmla="*/ 175 1 f110"/>
                  <a:gd name="f173" fmla="*/ 26 1 f111"/>
                  <a:gd name="f174" fmla="*/ 188 1 f110"/>
                  <a:gd name="f175" fmla="*/ 32 1 f111"/>
                  <a:gd name="f176" fmla="*/ 195 1 f110"/>
                  <a:gd name="f177" fmla="*/ 206 1 f110"/>
                  <a:gd name="f178" fmla="*/ 0 1 f111"/>
                  <a:gd name="f179" fmla="*/ f6 1 f110"/>
                  <a:gd name="f180" fmla="*/ f7 1 f111"/>
                  <a:gd name="f181" fmla="+- f112 0 f1"/>
                  <a:gd name="f182" fmla="*/ f151 f105 1"/>
                  <a:gd name="f183" fmla="*/ f179 f105 1"/>
                  <a:gd name="f184" fmla="*/ f180 f106 1"/>
                  <a:gd name="f185" fmla="*/ f178 f106 1"/>
                  <a:gd name="f186" fmla="*/ f113 f105 1"/>
                  <a:gd name="f187" fmla="*/ f114 f106 1"/>
                  <a:gd name="f188" fmla="*/ f115 f105 1"/>
                  <a:gd name="f189" fmla="*/ f116 f106 1"/>
                  <a:gd name="f190" fmla="*/ f117 f105 1"/>
                  <a:gd name="f191" fmla="*/ f118 f106 1"/>
                  <a:gd name="f192" fmla="*/ f119 f105 1"/>
                  <a:gd name="f193" fmla="*/ f120 f106 1"/>
                  <a:gd name="f194" fmla="*/ f121 f105 1"/>
                  <a:gd name="f195" fmla="*/ f122 f106 1"/>
                  <a:gd name="f196" fmla="*/ f123 f105 1"/>
                  <a:gd name="f197" fmla="*/ f124 f106 1"/>
                  <a:gd name="f198" fmla="*/ f125 f105 1"/>
                  <a:gd name="f199" fmla="*/ f126 f106 1"/>
                  <a:gd name="f200" fmla="*/ f127 f105 1"/>
                  <a:gd name="f201" fmla="*/ f128 f106 1"/>
                  <a:gd name="f202" fmla="*/ f129 f105 1"/>
                  <a:gd name="f203" fmla="*/ f130 f106 1"/>
                  <a:gd name="f204" fmla="*/ f131 f105 1"/>
                  <a:gd name="f205" fmla="*/ f132 f106 1"/>
                  <a:gd name="f206" fmla="*/ f133 f105 1"/>
                  <a:gd name="f207" fmla="*/ f134 f106 1"/>
                  <a:gd name="f208" fmla="*/ f135 f105 1"/>
                  <a:gd name="f209" fmla="*/ f136 f106 1"/>
                  <a:gd name="f210" fmla="*/ f137 f105 1"/>
                  <a:gd name="f211" fmla="*/ f138 f106 1"/>
                  <a:gd name="f212" fmla="*/ f139 f105 1"/>
                  <a:gd name="f213" fmla="*/ f140 f106 1"/>
                  <a:gd name="f214" fmla="*/ f141 f105 1"/>
                  <a:gd name="f215" fmla="*/ f142 f106 1"/>
                  <a:gd name="f216" fmla="*/ f143 f105 1"/>
                  <a:gd name="f217" fmla="*/ f144 f106 1"/>
                  <a:gd name="f218" fmla="*/ f145 f105 1"/>
                  <a:gd name="f219" fmla="*/ f146 f106 1"/>
                  <a:gd name="f220" fmla="*/ f147 f105 1"/>
                  <a:gd name="f221" fmla="*/ f148 f106 1"/>
                  <a:gd name="f222" fmla="*/ f149 f105 1"/>
                  <a:gd name="f223" fmla="*/ f150 f106 1"/>
                  <a:gd name="f224" fmla="*/ f152 f106 1"/>
                  <a:gd name="f225" fmla="*/ f153 f105 1"/>
                  <a:gd name="f226" fmla="*/ f154 f106 1"/>
                  <a:gd name="f227" fmla="*/ f155 f105 1"/>
                  <a:gd name="f228" fmla="*/ f156 f106 1"/>
                  <a:gd name="f229" fmla="*/ f157 f105 1"/>
                  <a:gd name="f230" fmla="*/ f158 f106 1"/>
                  <a:gd name="f231" fmla="*/ f159 f105 1"/>
                  <a:gd name="f232" fmla="*/ f160 f106 1"/>
                  <a:gd name="f233" fmla="*/ f161 f105 1"/>
                  <a:gd name="f234" fmla="*/ f162 f106 1"/>
                  <a:gd name="f235" fmla="*/ f163 f105 1"/>
                  <a:gd name="f236" fmla="*/ f164 f106 1"/>
                  <a:gd name="f237" fmla="*/ f165 f105 1"/>
                  <a:gd name="f238" fmla="*/ f166 f106 1"/>
                  <a:gd name="f239" fmla="*/ f167 f105 1"/>
                  <a:gd name="f240" fmla="*/ f168 f106 1"/>
                  <a:gd name="f241" fmla="*/ f169 f105 1"/>
                  <a:gd name="f242" fmla="*/ f170 f106 1"/>
                  <a:gd name="f243" fmla="*/ f171 f105 1"/>
                  <a:gd name="f244" fmla="*/ f172 f105 1"/>
                  <a:gd name="f245" fmla="*/ f173 f106 1"/>
                  <a:gd name="f246" fmla="*/ f174 f105 1"/>
                  <a:gd name="f247" fmla="*/ f175 f106 1"/>
                  <a:gd name="f248" fmla="*/ f176 f105 1"/>
                  <a:gd name="f249" fmla="*/ f177 f10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81">
                    <a:pos x="f186" y="f187"/>
                  </a:cxn>
                  <a:cxn ang="f181">
                    <a:pos x="f188" y="f189"/>
                  </a:cxn>
                  <a:cxn ang="f181">
                    <a:pos x="f190" y="f191"/>
                  </a:cxn>
                  <a:cxn ang="f181">
                    <a:pos x="f192" y="f193"/>
                  </a:cxn>
                  <a:cxn ang="f181">
                    <a:pos x="f194" y="f195"/>
                  </a:cxn>
                  <a:cxn ang="f181">
                    <a:pos x="f196" y="f197"/>
                  </a:cxn>
                  <a:cxn ang="f181">
                    <a:pos x="f198" y="f199"/>
                  </a:cxn>
                  <a:cxn ang="f181">
                    <a:pos x="f200" y="f201"/>
                  </a:cxn>
                  <a:cxn ang="f181">
                    <a:pos x="f202" y="f203"/>
                  </a:cxn>
                  <a:cxn ang="f181">
                    <a:pos x="f204" y="f205"/>
                  </a:cxn>
                  <a:cxn ang="f181">
                    <a:pos x="f206" y="f207"/>
                  </a:cxn>
                  <a:cxn ang="f181">
                    <a:pos x="f208" y="f209"/>
                  </a:cxn>
                  <a:cxn ang="f181">
                    <a:pos x="f210" y="f211"/>
                  </a:cxn>
                  <a:cxn ang="f181">
                    <a:pos x="f212" y="f213"/>
                  </a:cxn>
                  <a:cxn ang="f181">
                    <a:pos x="f214" y="f215"/>
                  </a:cxn>
                  <a:cxn ang="f181">
                    <a:pos x="f216" y="f217"/>
                  </a:cxn>
                  <a:cxn ang="f181">
                    <a:pos x="f218" y="f219"/>
                  </a:cxn>
                  <a:cxn ang="f181">
                    <a:pos x="f220" y="f221"/>
                  </a:cxn>
                  <a:cxn ang="f181">
                    <a:pos x="f222" y="f223"/>
                  </a:cxn>
                  <a:cxn ang="f181">
                    <a:pos x="f182" y="f224"/>
                  </a:cxn>
                  <a:cxn ang="f181">
                    <a:pos x="f225" y="f226"/>
                  </a:cxn>
                  <a:cxn ang="f181">
                    <a:pos x="f227" y="f203"/>
                  </a:cxn>
                  <a:cxn ang="f181">
                    <a:pos x="f227" y="f228"/>
                  </a:cxn>
                  <a:cxn ang="f181">
                    <a:pos x="f229" y="f230"/>
                  </a:cxn>
                  <a:cxn ang="f181">
                    <a:pos x="f231" y="f232"/>
                  </a:cxn>
                  <a:cxn ang="f181">
                    <a:pos x="f225" y="f189"/>
                  </a:cxn>
                  <a:cxn ang="f181">
                    <a:pos x="f233" y="f234"/>
                  </a:cxn>
                  <a:cxn ang="f181">
                    <a:pos x="f235" y="f236"/>
                  </a:cxn>
                  <a:cxn ang="f181">
                    <a:pos x="f237" y="f238"/>
                  </a:cxn>
                  <a:cxn ang="f181">
                    <a:pos x="f239" y="f234"/>
                  </a:cxn>
                  <a:cxn ang="f181">
                    <a:pos x="f204" y="f240"/>
                  </a:cxn>
                  <a:cxn ang="f181">
                    <a:pos x="f241" y="f242"/>
                  </a:cxn>
                  <a:cxn ang="f181">
                    <a:pos x="f243" y="f189"/>
                  </a:cxn>
                  <a:cxn ang="f181">
                    <a:pos x="f244" y="f245"/>
                  </a:cxn>
                  <a:cxn ang="f181">
                    <a:pos x="f246" y="f247"/>
                  </a:cxn>
                  <a:cxn ang="f181">
                    <a:pos x="f248" y="f232"/>
                  </a:cxn>
                  <a:cxn ang="f181">
                    <a:pos x="f249" y="f185"/>
                  </a:cxn>
                </a:cxnLst>
                <a:rect l="f182" t="f185" r="f183" b="f184"/>
                <a:pathLst>
                  <a:path w="236" h="134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6" y="f15"/>
                    </a:lnTo>
                    <a:lnTo>
                      <a:pt x="f6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48" y="f47"/>
                    </a:lnTo>
                    <a:lnTo>
                      <a:pt x="f51" y="f47"/>
                    </a:lnTo>
                    <a:lnTo>
                      <a:pt x="f52" y="f53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53"/>
                    </a:lnTo>
                    <a:lnTo>
                      <a:pt x="f63" y="f64"/>
                    </a:lnTo>
                    <a:lnTo>
                      <a:pt x="f65" y="f7"/>
                    </a:lnTo>
                    <a:lnTo>
                      <a:pt x="f66" y="f7"/>
                    </a:lnTo>
                    <a:lnTo>
                      <a:pt x="f16" y="f67"/>
                    </a:lnTo>
                    <a:lnTo>
                      <a:pt x="f68" y="f49"/>
                    </a:lnTo>
                    <a:lnTo>
                      <a:pt x="f69" y="f59"/>
                    </a:lnTo>
                    <a:lnTo>
                      <a:pt x="f70" y="f46"/>
                    </a:lnTo>
                    <a:lnTo>
                      <a:pt x="f71" y="f72"/>
                    </a:lnTo>
                    <a:lnTo>
                      <a:pt x="f5" y="f42"/>
                    </a:lnTo>
                    <a:lnTo>
                      <a:pt x="f14" y="f73"/>
                    </a:lnTo>
                    <a:lnTo>
                      <a:pt x="f62" y="f73"/>
                    </a:lnTo>
                    <a:lnTo>
                      <a:pt x="f74" y="f42"/>
                    </a:lnTo>
                    <a:lnTo>
                      <a:pt x="f26" y="f40"/>
                    </a:lnTo>
                    <a:lnTo>
                      <a:pt x="f28" y="f75"/>
                    </a:lnTo>
                    <a:lnTo>
                      <a:pt x="f26" y="f30"/>
                    </a:lnTo>
                    <a:lnTo>
                      <a:pt x="f74" y="f76"/>
                    </a:lnTo>
                    <a:lnTo>
                      <a:pt x="f77" y="f78"/>
                    </a:lnTo>
                    <a:lnTo>
                      <a:pt x="f18" y="f16"/>
                    </a:lnTo>
                    <a:lnTo>
                      <a:pt x="f79" y="f80"/>
                    </a:lnTo>
                    <a:lnTo>
                      <a:pt x="f63" y="f15"/>
                    </a:lnTo>
                    <a:lnTo>
                      <a:pt x="f62" y="f14"/>
                    </a:lnTo>
                    <a:lnTo>
                      <a:pt x="f60" y="f70"/>
                    </a:lnTo>
                    <a:lnTo>
                      <a:pt x="f24" y="f81"/>
                    </a:lnTo>
                    <a:lnTo>
                      <a:pt x="f28" y="f82"/>
                    </a:lnTo>
                    <a:lnTo>
                      <a:pt x="f34" y="f83"/>
                    </a:lnTo>
                    <a:lnTo>
                      <a:pt x="f84" y="f83"/>
                    </a:lnTo>
                    <a:lnTo>
                      <a:pt x="f85" y="f82"/>
                    </a:lnTo>
                    <a:lnTo>
                      <a:pt x="f86" y="f87"/>
                    </a:lnTo>
                    <a:lnTo>
                      <a:pt x="f88" y="f81"/>
                    </a:lnTo>
                    <a:lnTo>
                      <a:pt x="f89" y="f69"/>
                    </a:lnTo>
                    <a:lnTo>
                      <a:pt x="f43" y="f90"/>
                    </a:lnTo>
                    <a:lnTo>
                      <a:pt x="f91" y="f92"/>
                    </a:lnTo>
                    <a:lnTo>
                      <a:pt x="f91" y="f93"/>
                    </a:lnTo>
                    <a:lnTo>
                      <a:pt x="f94" y="f12"/>
                    </a:lnTo>
                    <a:lnTo>
                      <a:pt x="f95" y="f14"/>
                    </a:lnTo>
                    <a:lnTo>
                      <a:pt x="f96" y="f68"/>
                    </a:lnTo>
                    <a:lnTo>
                      <a:pt x="f37" y="f97"/>
                    </a:lnTo>
                    <a:lnTo>
                      <a:pt x="f98" y="f99"/>
                    </a:lnTo>
                    <a:lnTo>
                      <a:pt x="f100" y="f18"/>
                    </a:lnTo>
                    <a:lnTo>
                      <a:pt x="f101" y="f83"/>
                    </a:lnTo>
                    <a:lnTo>
                      <a:pt x="f102" y="f80"/>
                    </a:lnTo>
                    <a:lnTo>
                      <a:pt x="f103" y="f12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69" name="Freeform 31">
                <a:extLst>
                  <a:ext uri="{FF2B5EF4-FFF2-40B4-BE49-F238E27FC236}">
                    <a16:creationId xmlns:a16="http://schemas.microsoft.com/office/drawing/2014/main" id="{2A97D499-F683-46E3-9736-7AD5AF6DC4D2}"/>
                  </a:ext>
                </a:extLst>
              </p:cNvPr>
              <p:cNvSpPr/>
              <p:nvPr/>
            </p:nvSpPr>
            <p:spPr>
              <a:xfrm>
                <a:off x="4302416" y="2596795"/>
                <a:ext cx="117619" cy="85130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709"/>
                  <a:gd name="f8" fmla="val 523"/>
                  <a:gd name="f9" fmla="val 176"/>
                  <a:gd name="f10" fmla="val 187"/>
                  <a:gd name="f11" fmla="val 199"/>
                  <a:gd name="f12" fmla="val 3"/>
                  <a:gd name="f13" fmla="val 213"/>
                  <a:gd name="f14" fmla="val 10"/>
                  <a:gd name="f15" fmla="val 224"/>
                  <a:gd name="f16" fmla="val 17"/>
                  <a:gd name="f17" fmla="val 234"/>
                  <a:gd name="f18" fmla="val 20"/>
                  <a:gd name="f19" fmla="val 243"/>
                  <a:gd name="f20" fmla="val 18"/>
                  <a:gd name="f21" fmla="val 254"/>
                  <a:gd name="f22" fmla="val 13"/>
                  <a:gd name="f23" fmla="val 265"/>
                  <a:gd name="f24" fmla="val 9"/>
                  <a:gd name="f25" fmla="val 278"/>
                  <a:gd name="f26" fmla="val 4"/>
                  <a:gd name="f27" fmla="val 288"/>
                  <a:gd name="f28" fmla="val 293"/>
                  <a:gd name="f29" fmla="val 7"/>
                  <a:gd name="f30" fmla="val 301"/>
                  <a:gd name="f31" fmla="val 308"/>
                  <a:gd name="f32" fmla="val 16"/>
                  <a:gd name="f33" fmla="val 319"/>
                  <a:gd name="f34" fmla="val 332"/>
                  <a:gd name="f35" fmla="val 341"/>
                  <a:gd name="f36" fmla="val 348"/>
                  <a:gd name="f37" fmla="val 351"/>
                  <a:gd name="f38" fmla="val 350"/>
                  <a:gd name="f39" fmla="val 21"/>
                  <a:gd name="f40" fmla="val 344"/>
                  <a:gd name="f41" fmla="val 29"/>
                  <a:gd name="f42" fmla="val 340"/>
                  <a:gd name="f43" fmla="val 38"/>
                  <a:gd name="f44" fmla="val 337"/>
                  <a:gd name="f45" fmla="val 47"/>
                  <a:gd name="f46" fmla="val 336"/>
                  <a:gd name="f47" fmla="val 60"/>
                  <a:gd name="f48" fmla="val 71"/>
                  <a:gd name="f49" fmla="val 81"/>
                  <a:gd name="f50" fmla="val 89"/>
                  <a:gd name="f51" fmla="val 347"/>
                  <a:gd name="f52" fmla="val 93"/>
                  <a:gd name="f53" fmla="val 358"/>
                  <a:gd name="f54" fmla="val 95"/>
                  <a:gd name="f55" fmla="val 372"/>
                  <a:gd name="f56" fmla="val 384"/>
                  <a:gd name="f57" fmla="val 96"/>
                  <a:gd name="f58" fmla="val 393"/>
                  <a:gd name="f59" fmla="val 100"/>
                  <a:gd name="f60" fmla="val 397"/>
                  <a:gd name="f61" fmla="val 107"/>
                  <a:gd name="f62" fmla="val 401"/>
                  <a:gd name="f63" fmla="val 115"/>
                  <a:gd name="f64" fmla="val 408"/>
                  <a:gd name="f65" fmla="val 120"/>
                  <a:gd name="f66" fmla="val 417"/>
                  <a:gd name="f67" fmla="val 121"/>
                  <a:gd name="f68" fmla="val 427"/>
                  <a:gd name="f69" fmla="val 117"/>
                  <a:gd name="f70" fmla="val 441"/>
                  <a:gd name="f71" fmla="val 455"/>
                  <a:gd name="f72" fmla="val 470"/>
                  <a:gd name="f73" fmla="val 481"/>
                  <a:gd name="f74" fmla="val 103"/>
                  <a:gd name="f75" fmla="val 488"/>
                  <a:gd name="f76" fmla="val 500"/>
                  <a:gd name="f77" fmla="val 511"/>
                  <a:gd name="f78" fmla="val 133"/>
                  <a:gd name="f79" fmla="val 522"/>
                  <a:gd name="f80" fmla="val 138"/>
                  <a:gd name="f81" fmla="val 532"/>
                  <a:gd name="f82" fmla="val 139"/>
                  <a:gd name="f83" fmla="val 546"/>
                  <a:gd name="f84" fmla="val 140"/>
                  <a:gd name="f85" fmla="val 547"/>
                  <a:gd name="f86" fmla="val 143"/>
                  <a:gd name="f87" fmla="val 557"/>
                  <a:gd name="f88" fmla="val 153"/>
                  <a:gd name="f89" fmla="val 561"/>
                  <a:gd name="f90" fmla="val 163"/>
                  <a:gd name="f91" fmla="val 564"/>
                  <a:gd name="f92" fmla="val 172"/>
                  <a:gd name="f93" fmla="val 569"/>
                  <a:gd name="f94" fmla="val 181"/>
                  <a:gd name="f95" fmla="val 575"/>
                  <a:gd name="f96" fmla="val 186"/>
                  <a:gd name="f97" fmla="val 578"/>
                  <a:gd name="f98" fmla="val 188"/>
                  <a:gd name="f99" fmla="val 580"/>
                  <a:gd name="f100" fmla="val 583"/>
                  <a:gd name="f101" fmla="val 183"/>
                  <a:gd name="f102" fmla="val 585"/>
                  <a:gd name="f103" fmla="val 587"/>
                  <a:gd name="f104" fmla="val 178"/>
                  <a:gd name="f105" fmla="val 605"/>
                  <a:gd name="f106" fmla="val 189"/>
                  <a:gd name="f107" fmla="val 625"/>
                  <a:gd name="f108" fmla="val 196"/>
                  <a:gd name="f109" fmla="val 645"/>
                  <a:gd name="f110" fmla="val 201"/>
                  <a:gd name="f111" fmla="val 662"/>
                  <a:gd name="f112" fmla="val 204"/>
                  <a:gd name="f113" fmla="val 674"/>
                  <a:gd name="f114" fmla="val 206"/>
                  <a:gd name="f115" fmla="val 684"/>
                  <a:gd name="f116" fmla="val 208"/>
                  <a:gd name="f117" fmla="val 691"/>
                  <a:gd name="f118" fmla="val 214"/>
                  <a:gd name="f119" fmla="val 697"/>
                  <a:gd name="f120" fmla="val 221"/>
                  <a:gd name="f121" fmla="val 701"/>
                  <a:gd name="f122" fmla="val 229"/>
                  <a:gd name="f123" fmla="val 706"/>
                  <a:gd name="f124" fmla="val 239"/>
                  <a:gd name="f125" fmla="val 246"/>
                  <a:gd name="f126" fmla="val 250"/>
                  <a:gd name="f127" fmla="val 702"/>
                  <a:gd name="f128" fmla="val 257"/>
                  <a:gd name="f129" fmla="val 261"/>
                  <a:gd name="f130" fmla="val 688"/>
                  <a:gd name="f131" fmla="val 681"/>
                  <a:gd name="f132" fmla="val 672"/>
                  <a:gd name="f133" fmla="val 289"/>
                  <a:gd name="f134" fmla="val 661"/>
                  <a:gd name="f135" fmla="val 299"/>
                  <a:gd name="f136" fmla="val 652"/>
                  <a:gd name="f137" fmla="val 636"/>
                  <a:gd name="f138" fmla="val 296"/>
                  <a:gd name="f139" fmla="val 627"/>
                  <a:gd name="f140" fmla="val 292"/>
                  <a:gd name="f141" fmla="val 616"/>
                  <a:gd name="f142" fmla="val 598"/>
                  <a:gd name="f143" fmla="val 286"/>
                  <a:gd name="f144" fmla="val 283"/>
                  <a:gd name="f145" fmla="val 558"/>
                  <a:gd name="f146" fmla="val 282"/>
                  <a:gd name="f147" fmla="val 543"/>
                  <a:gd name="f148" fmla="val 280"/>
                  <a:gd name="f149" fmla="val 538"/>
                  <a:gd name="f150" fmla="val 535"/>
                  <a:gd name="f151" fmla="val 279"/>
                  <a:gd name="f152" fmla="val 531"/>
                  <a:gd name="f153" fmla="val 275"/>
                  <a:gd name="f154" fmla="val 268"/>
                  <a:gd name="f155" fmla="val 529"/>
                  <a:gd name="f156" fmla="val 267"/>
                  <a:gd name="f157" fmla="val 527"/>
                  <a:gd name="f158" fmla="val 271"/>
                  <a:gd name="f159" fmla="val 514"/>
                  <a:gd name="f160" fmla="val 285"/>
                  <a:gd name="f161" fmla="val 509"/>
                  <a:gd name="f162" fmla="val 502"/>
                  <a:gd name="f163" fmla="val 491"/>
                  <a:gd name="f164" fmla="val 477"/>
                  <a:gd name="f165" fmla="val 307"/>
                  <a:gd name="f166" fmla="val 459"/>
                  <a:gd name="f167" fmla="val 315"/>
                  <a:gd name="f168" fmla="val 445"/>
                  <a:gd name="f169" fmla="val 428"/>
                  <a:gd name="f170" fmla="val 411"/>
                  <a:gd name="f171" fmla="val 318"/>
                  <a:gd name="f172" fmla="val 394"/>
                  <a:gd name="f173" fmla="val 314"/>
                  <a:gd name="f174" fmla="val 382"/>
                  <a:gd name="f175" fmla="val 310"/>
                  <a:gd name="f176" fmla="val 305"/>
                  <a:gd name="f177" fmla="val 364"/>
                  <a:gd name="f178" fmla="val 303"/>
                  <a:gd name="f179" fmla="val 352"/>
                  <a:gd name="f180" fmla="val 300"/>
                  <a:gd name="f181" fmla="val 343"/>
                  <a:gd name="f182" fmla="val 333"/>
                  <a:gd name="f183" fmla="val 330"/>
                  <a:gd name="f184" fmla="val 317"/>
                  <a:gd name="f185" fmla="val 325"/>
                  <a:gd name="f186" fmla="val 329"/>
                  <a:gd name="f187" fmla="val 312"/>
                  <a:gd name="f188" fmla="val 346"/>
                  <a:gd name="f189" fmla="val 357"/>
                  <a:gd name="f190" fmla="val 365"/>
                  <a:gd name="f191" fmla="val 371"/>
                  <a:gd name="f192" fmla="val 375"/>
                  <a:gd name="f193" fmla="val 379"/>
                  <a:gd name="f194" fmla="val 270"/>
                  <a:gd name="f195" fmla="val 383"/>
                  <a:gd name="f196" fmla="val 385"/>
                  <a:gd name="f197" fmla="val 247"/>
                  <a:gd name="f198" fmla="val 380"/>
                  <a:gd name="f199" fmla="val 218"/>
                  <a:gd name="f200" fmla="val 378"/>
                  <a:gd name="f201" fmla="val 209"/>
                  <a:gd name="f202" fmla="val 389"/>
                  <a:gd name="f203" fmla="val 205"/>
                  <a:gd name="f204" fmla="val 203"/>
                  <a:gd name="f205" fmla="val 414"/>
                  <a:gd name="f206" fmla="val 426"/>
                  <a:gd name="f207" fmla="val 437"/>
                  <a:gd name="f208" fmla="val 444"/>
                  <a:gd name="f209" fmla="val 192"/>
                  <a:gd name="f210" fmla="val 447"/>
                  <a:gd name="f211" fmla="val 169"/>
                  <a:gd name="f212" fmla="val 446"/>
                  <a:gd name="f213" fmla="val 160"/>
                  <a:gd name="f214" fmla="val 454"/>
                  <a:gd name="f215" fmla="val 155"/>
                  <a:gd name="f216" fmla="val 464"/>
                  <a:gd name="f217" fmla="val 148"/>
                  <a:gd name="f218" fmla="val 473"/>
                  <a:gd name="f219" fmla="val 141"/>
                  <a:gd name="f220" fmla="val 476"/>
                  <a:gd name="f221" fmla="val 475"/>
                  <a:gd name="f222" fmla="val 125"/>
                  <a:gd name="f223" fmla="val 471"/>
                  <a:gd name="f224" fmla="val 118"/>
                  <a:gd name="f225" fmla="val 468"/>
                  <a:gd name="f226" fmla="val 111"/>
                  <a:gd name="f227" fmla="val 101"/>
                  <a:gd name="f228" fmla="val 90"/>
                  <a:gd name="f229" fmla="val 486"/>
                  <a:gd name="f230" fmla="val 80"/>
                  <a:gd name="f231" fmla="val 498"/>
                  <a:gd name="f232" fmla="val 62"/>
                  <a:gd name="f233" fmla="val 516"/>
                  <a:gd name="f234" fmla="val 50"/>
                  <a:gd name="f235" fmla="val 36"/>
                  <a:gd name="f236" fmla="val 24"/>
                  <a:gd name="f237" fmla="val 507"/>
                  <a:gd name="f238" fmla="val 490"/>
                  <a:gd name="f239" fmla="val 2"/>
                  <a:gd name="f240" fmla="val 483"/>
                  <a:gd name="f241" fmla="val 482"/>
                  <a:gd name="f242" fmla="val 8"/>
                  <a:gd name="f243" fmla="val 22"/>
                  <a:gd name="f244" fmla="val 37"/>
                  <a:gd name="f245" fmla="val 443"/>
                  <a:gd name="f246" fmla="val 51"/>
                  <a:gd name="f247" fmla="val 67"/>
                  <a:gd name="f248" fmla="val 416"/>
                  <a:gd name="f249" fmla="val 78"/>
                  <a:gd name="f250" fmla="val 409"/>
                  <a:gd name="f251" fmla="val 403"/>
                  <a:gd name="f252" fmla="val 396"/>
                  <a:gd name="f253" fmla="val 387"/>
                  <a:gd name="f254" fmla="val 109"/>
                  <a:gd name="f255" fmla="val 376"/>
                  <a:gd name="f256" fmla="val 342"/>
                  <a:gd name="f257" fmla="val 105"/>
                  <a:gd name="f258" fmla="val 328"/>
                  <a:gd name="f259" fmla="val 108"/>
                  <a:gd name="f260" fmla="val 113"/>
                  <a:gd name="f261" fmla="val 122"/>
                  <a:gd name="f262" fmla="val 136"/>
                  <a:gd name="f263" fmla="val 144"/>
                  <a:gd name="f264" fmla="val 154"/>
                  <a:gd name="f265" fmla="val 290"/>
                  <a:gd name="f266" fmla="val 173"/>
                  <a:gd name="f267" fmla="val 174"/>
                  <a:gd name="f268" fmla="val 262"/>
                  <a:gd name="f269" fmla="val 195"/>
                  <a:gd name="f270" fmla="val 225"/>
                  <a:gd name="f271" fmla="val 235"/>
                  <a:gd name="f272" fmla="val 228"/>
                  <a:gd name="f273" fmla="val 217"/>
                  <a:gd name="f274" fmla="val 207"/>
                  <a:gd name="f275" fmla="val 198"/>
                  <a:gd name="f276" fmla="val 200"/>
                  <a:gd name="f277" fmla="val 184"/>
                  <a:gd name="f278" fmla="val 197"/>
                  <a:gd name="f279" fmla="val 162"/>
                  <a:gd name="f280" fmla="val 156"/>
                  <a:gd name="f281" fmla="val 149"/>
                  <a:gd name="f282" fmla="val 210"/>
                  <a:gd name="f283" fmla="val 211"/>
                  <a:gd name="f284" fmla="val 131"/>
                  <a:gd name="f285" fmla="val 116"/>
                  <a:gd name="f286" fmla="val 215"/>
                  <a:gd name="f287" fmla="val 40"/>
                  <a:gd name="f288" fmla="val 42"/>
                  <a:gd name="f289" fmla="val 46"/>
                  <a:gd name="f290" fmla="val 193"/>
                  <a:gd name="f291" fmla="val 54"/>
                  <a:gd name="f292" fmla="val 185"/>
                  <a:gd name="f293" fmla="val 64"/>
                  <a:gd name="f294" fmla="val 171"/>
                  <a:gd name="f295" fmla="val 75"/>
                  <a:gd name="f296" fmla="val 164"/>
                  <a:gd name="f297" fmla="val 86"/>
                  <a:gd name="f298" fmla="val 142"/>
                  <a:gd name="f299" fmla="val 132"/>
                  <a:gd name="f300" fmla="val 104"/>
                  <a:gd name="f301" fmla="val 102"/>
                  <a:gd name="f302" fmla="val 97"/>
                  <a:gd name="f303" fmla="val 123"/>
                  <a:gd name="f304" fmla="val 137"/>
                  <a:gd name="f305" fmla="val 84"/>
                  <a:gd name="f306" fmla="val 166"/>
                  <a:gd name="f307" fmla="val 70"/>
                  <a:gd name="f308" fmla="val 57"/>
                  <a:gd name="f309" fmla="val 159"/>
                  <a:gd name="f310" fmla="val 35"/>
                  <a:gd name="f311" fmla="val 25"/>
                  <a:gd name="f312" fmla="val 152"/>
                  <a:gd name="f313" fmla="val 167"/>
                  <a:gd name="f314" fmla="+- 0 0 -90"/>
                  <a:gd name="f315" fmla="*/ f4 1 709"/>
                  <a:gd name="f316" fmla="*/ f5 1 523"/>
                  <a:gd name="f317" fmla="+- f8 0 f6"/>
                  <a:gd name="f318" fmla="+- f7 0 f6"/>
                  <a:gd name="f319" fmla="*/ f314 f0 1"/>
                  <a:gd name="f320" fmla="*/ f318 1 709"/>
                  <a:gd name="f321" fmla="*/ f317 1 523"/>
                  <a:gd name="f322" fmla="*/ f319 1 f3"/>
                  <a:gd name="f323" fmla="*/ 213 1 f320"/>
                  <a:gd name="f324" fmla="*/ 10 1 f321"/>
                  <a:gd name="f325" fmla="*/ 254 1 f320"/>
                  <a:gd name="f326" fmla="*/ 13 1 f321"/>
                  <a:gd name="f327" fmla="*/ 293 1 f320"/>
                  <a:gd name="f328" fmla="*/ 7 1 f321"/>
                  <a:gd name="f329" fmla="*/ 332 1 f320"/>
                  <a:gd name="f330" fmla="*/ 17 1 f321"/>
                  <a:gd name="f331" fmla="*/ 350 1 f320"/>
                  <a:gd name="f332" fmla="*/ 21 1 f321"/>
                  <a:gd name="f333" fmla="*/ 336 1 f320"/>
                  <a:gd name="f334" fmla="*/ 60 1 f321"/>
                  <a:gd name="f335" fmla="*/ 347 1 f320"/>
                  <a:gd name="f336" fmla="*/ 93 1 f321"/>
                  <a:gd name="f337" fmla="*/ 393 1 f320"/>
                  <a:gd name="f338" fmla="*/ 100 1 f321"/>
                  <a:gd name="f339" fmla="*/ 417 1 f320"/>
                  <a:gd name="f340" fmla="*/ 121 1 f321"/>
                  <a:gd name="f341" fmla="*/ 470 1 f320"/>
                  <a:gd name="f342" fmla="*/ 511 1 f320"/>
                  <a:gd name="f343" fmla="*/ 133 1 f321"/>
                  <a:gd name="f344" fmla="*/ 547 1 f320"/>
                  <a:gd name="f345" fmla="*/ 143 1 f321"/>
                  <a:gd name="f346" fmla="*/ 569 1 f320"/>
                  <a:gd name="f347" fmla="*/ 181 1 f321"/>
                  <a:gd name="f348" fmla="*/ 583 1 f320"/>
                  <a:gd name="f349" fmla="*/ 183 1 f321"/>
                  <a:gd name="f350" fmla="*/ 625 1 f320"/>
                  <a:gd name="f351" fmla="*/ 196 1 f321"/>
                  <a:gd name="f352" fmla="*/ 684 1 f320"/>
                  <a:gd name="f353" fmla="*/ 208 1 f321"/>
                  <a:gd name="f354" fmla="*/ 706 1 f320"/>
                  <a:gd name="f355" fmla="*/ 239 1 f321"/>
                  <a:gd name="f356" fmla="*/ 697 1 f320"/>
                  <a:gd name="f357" fmla="*/ 257 1 f321"/>
                  <a:gd name="f358" fmla="*/ 672 1 f320"/>
                  <a:gd name="f359" fmla="*/ 289 1 f321"/>
                  <a:gd name="f360" fmla="*/ 627 1 f320"/>
                  <a:gd name="f361" fmla="*/ 292 1 f321"/>
                  <a:gd name="f362" fmla="*/ 558 1 f320"/>
                  <a:gd name="f363" fmla="*/ 282 1 f321"/>
                  <a:gd name="f364" fmla="*/ 532 1 f320"/>
                  <a:gd name="f365" fmla="*/ 279 1 f321"/>
                  <a:gd name="f366" fmla="*/ 529 1 f320"/>
                  <a:gd name="f367" fmla="*/ 267 1 f321"/>
                  <a:gd name="f368" fmla="*/ 509 1 f320"/>
                  <a:gd name="f369" fmla="*/ 459 1 f320"/>
                  <a:gd name="f370" fmla="*/ 315 1 f321"/>
                  <a:gd name="f371" fmla="*/ 394 1 f320"/>
                  <a:gd name="f372" fmla="*/ 314 1 f321"/>
                  <a:gd name="f373" fmla="*/ 352 1 f320"/>
                  <a:gd name="f374" fmla="*/ 300 1 f321"/>
                  <a:gd name="f375" fmla="*/ 330 1 f320"/>
                  <a:gd name="f376" fmla="*/ 317 1 f321"/>
                  <a:gd name="f377" fmla="*/ 315 1 f320"/>
                  <a:gd name="f378" fmla="*/ 357 1 f321"/>
                  <a:gd name="f379" fmla="*/ 303 1 f320"/>
                  <a:gd name="f380" fmla="*/ 379 1 f321"/>
                  <a:gd name="f381" fmla="*/ 234 1 f320"/>
                  <a:gd name="f382" fmla="*/ 380 1 f321"/>
                  <a:gd name="f383" fmla="*/ 205 1 f320"/>
                  <a:gd name="f384" fmla="*/ 401 1 f321"/>
                  <a:gd name="f385" fmla="*/ 196 1 f320"/>
                  <a:gd name="f386" fmla="*/ 444 1 f321"/>
                  <a:gd name="f387" fmla="*/ 169 1 f320"/>
                  <a:gd name="f388" fmla="*/ 446 1 f321"/>
                  <a:gd name="f389" fmla="*/ 141 1 f320"/>
                  <a:gd name="f390" fmla="*/ 476 1 f321"/>
                  <a:gd name="f391" fmla="*/ 111 1 f320"/>
                  <a:gd name="f392" fmla="*/ 471 1 f321"/>
                  <a:gd name="f393" fmla="*/ 71 1 f320"/>
                  <a:gd name="f394" fmla="*/ 509 1 f321"/>
                  <a:gd name="f395" fmla="*/ 24 1 f320"/>
                  <a:gd name="f396" fmla="*/ 507 1 f321"/>
                  <a:gd name="f397" fmla="*/ 0 1 f320"/>
                  <a:gd name="f398" fmla="*/ 482 1 f321"/>
                  <a:gd name="f399" fmla="*/ 22 1 f320"/>
                  <a:gd name="f400" fmla="*/ 459 1 f321"/>
                  <a:gd name="f401" fmla="*/ 78 1 f320"/>
                  <a:gd name="f402" fmla="*/ 409 1 f321"/>
                  <a:gd name="f403" fmla="*/ 109 1 f320"/>
                  <a:gd name="f404" fmla="*/ 376 1 f321"/>
                  <a:gd name="f405" fmla="*/ 105 1 f320"/>
                  <a:gd name="f406" fmla="*/ 136 1 f320"/>
                  <a:gd name="f407" fmla="*/ 172 1 f320"/>
                  <a:gd name="f408" fmla="*/ 290 1 f321"/>
                  <a:gd name="f409" fmla="*/ 271 1 f321"/>
                  <a:gd name="f410" fmla="*/ 209 1 f320"/>
                  <a:gd name="f411" fmla="*/ 250 1 f321"/>
                  <a:gd name="f412" fmla="*/ 218 1 f320"/>
                  <a:gd name="f413" fmla="*/ 217 1 f321"/>
                  <a:gd name="f414" fmla="*/ 199 1 f321"/>
                  <a:gd name="f415" fmla="*/ 211 1 f321"/>
                  <a:gd name="f416" fmla="*/ 80 1 f320"/>
                  <a:gd name="f417" fmla="*/ 215 1 f321"/>
                  <a:gd name="f418" fmla="*/ 42 1 f320"/>
                  <a:gd name="f419" fmla="*/ 203 1 f321"/>
                  <a:gd name="f420" fmla="*/ 171 1 f321"/>
                  <a:gd name="f421" fmla="*/ 96 1 f320"/>
                  <a:gd name="f422" fmla="*/ 142 1 f321"/>
                  <a:gd name="f423" fmla="*/ 102 1 f321"/>
                  <a:gd name="f424" fmla="*/ 137 1 f320"/>
                  <a:gd name="f425" fmla="*/ 89 1 f321"/>
                  <a:gd name="f426" fmla="*/ 70 1 f321"/>
                  <a:gd name="f427" fmla="*/ 149 1 f320"/>
                  <a:gd name="f428" fmla="*/ 25 1 f321"/>
                  <a:gd name="f429" fmla="*/ 176 1 f320"/>
                  <a:gd name="f430" fmla="*/ 0 1 f321"/>
                  <a:gd name="f431" fmla="*/ f7 1 f320"/>
                  <a:gd name="f432" fmla="*/ f8 1 f321"/>
                  <a:gd name="f433" fmla="+- f322 0 f1"/>
                  <a:gd name="f434" fmla="*/ f397 f315 1"/>
                  <a:gd name="f435" fmla="*/ f431 f315 1"/>
                  <a:gd name="f436" fmla="*/ f432 f316 1"/>
                  <a:gd name="f437" fmla="*/ f430 f316 1"/>
                  <a:gd name="f438" fmla="*/ f323 f315 1"/>
                  <a:gd name="f439" fmla="*/ f324 f316 1"/>
                  <a:gd name="f440" fmla="*/ f325 f315 1"/>
                  <a:gd name="f441" fmla="*/ f326 f316 1"/>
                  <a:gd name="f442" fmla="*/ f327 f315 1"/>
                  <a:gd name="f443" fmla="*/ f328 f316 1"/>
                  <a:gd name="f444" fmla="*/ f329 f315 1"/>
                  <a:gd name="f445" fmla="*/ f330 f316 1"/>
                  <a:gd name="f446" fmla="*/ f331 f315 1"/>
                  <a:gd name="f447" fmla="*/ f332 f316 1"/>
                  <a:gd name="f448" fmla="*/ f333 f315 1"/>
                  <a:gd name="f449" fmla="*/ f334 f316 1"/>
                  <a:gd name="f450" fmla="*/ f335 f315 1"/>
                  <a:gd name="f451" fmla="*/ f336 f316 1"/>
                  <a:gd name="f452" fmla="*/ f337 f315 1"/>
                  <a:gd name="f453" fmla="*/ f338 f316 1"/>
                  <a:gd name="f454" fmla="*/ f339 f315 1"/>
                  <a:gd name="f455" fmla="*/ f340 f316 1"/>
                  <a:gd name="f456" fmla="*/ f341 f315 1"/>
                  <a:gd name="f457" fmla="*/ f342 f315 1"/>
                  <a:gd name="f458" fmla="*/ f343 f316 1"/>
                  <a:gd name="f459" fmla="*/ f344 f315 1"/>
                  <a:gd name="f460" fmla="*/ f345 f316 1"/>
                  <a:gd name="f461" fmla="*/ f346 f315 1"/>
                  <a:gd name="f462" fmla="*/ f347 f316 1"/>
                  <a:gd name="f463" fmla="*/ f348 f315 1"/>
                  <a:gd name="f464" fmla="*/ f349 f316 1"/>
                  <a:gd name="f465" fmla="*/ f350 f315 1"/>
                  <a:gd name="f466" fmla="*/ f351 f316 1"/>
                  <a:gd name="f467" fmla="*/ f352 f315 1"/>
                  <a:gd name="f468" fmla="*/ f353 f316 1"/>
                  <a:gd name="f469" fmla="*/ f354 f315 1"/>
                  <a:gd name="f470" fmla="*/ f355 f316 1"/>
                  <a:gd name="f471" fmla="*/ f356 f315 1"/>
                  <a:gd name="f472" fmla="*/ f357 f316 1"/>
                  <a:gd name="f473" fmla="*/ f358 f315 1"/>
                  <a:gd name="f474" fmla="*/ f359 f316 1"/>
                  <a:gd name="f475" fmla="*/ f360 f315 1"/>
                  <a:gd name="f476" fmla="*/ f361 f316 1"/>
                  <a:gd name="f477" fmla="*/ f362 f315 1"/>
                  <a:gd name="f478" fmla="*/ f363 f316 1"/>
                  <a:gd name="f479" fmla="*/ f364 f315 1"/>
                  <a:gd name="f480" fmla="*/ f365 f316 1"/>
                  <a:gd name="f481" fmla="*/ f366 f315 1"/>
                  <a:gd name="f482" fmla="*/ f367 f316 1"/>
                  <a:gd name="f483" fmla="*/ f368 f315 1"/>
                  <a:gd name="f484" fmla="*/ f369 f315 1"/>
                  <a:gd name="f485" fmla="*/ f370 f316 1"/>
                  <a:gd name="f486" fmla="*/ f371 f315 1"/>
                  <a:gd name="f487" fmla="*/ f372 f316 1"/>
                  <a:gd name="f488" fmla="*/ f373 f315 1"/>
                  <a:gd name="f489" fmla="*/ f374 f316 1"/>
                  <a:gd name="f490" fmla="*/ f375 f315 1"/>
                  <a:gd name="f491" fmla="*/ f376 f316 1"/>
                  <a:gd name="f492" fmla="*/ f377 f315 1"/>
                  <a:gd name="f493" fmla="*/ f378 f316 1"/>
                  <a:gd name="f494" fmla="*/ f379 f315 1"/>
                  <a:gd name="f495" fmla="*/ f380 f316 1"/>
                  <a:gd name="f496" fmla="*/ f381 f315 1"/>
                  <a:gd name="f497" fmla="*/ f382 f316 1"/>
                  <a:gd name="f498" fmla="*/ f383 f315 1"/>
                  <a:gd name="f499" fmla="*/ f384 f316 1"/>
                  <a:gd name="f500" fmla="*/ f385 f315 1"/>
                  <a:gd name="f501" fmla="*/ f386 f316 1"/>
                  <a:gd name="f502" fmla="*/ f387 f315 1"/>
                  <a:gd name="f503" fmla="*/ f388 f316 1"/>
                  <a:gd name="f504" fmla="*/ f389 f315 1"/>
                  <a:gd name="f505" fmla="*/ f390 f316 1"/>
                  <a:gd name="f506" fmla="*/ f391 f315 1"/>
                  <a:gd name="f507" fmla="*/ f392 f316 1"/>
                  <a:gd name="f508" fmla="*/ f393 f315 1"/>
                  <a:gd name="f509" fmla="*/ f394 f316 1"/>
                  <a:gd name="f510" fmla="*/ f395 f315 1"/>
                  <a:gd name="f511" fmla="*/ f396 f316 1"/>
                  <a:gd name="f512" fmla="*/ f398 f316 1"/>
                  <a:gd name="f513" fmla="*/ f399 f315 1"/>
                  <a:gd name="f514" fmla="*/ f400 f316 1"/>
                  <a:gd name="f515" fmla="*/ f401 f315 1"/>
                  <a:gd name="f516" fmla="*/ f402 f316 1"/>
                  <a:gd name="f517" fmla="*/ f403 f315 1"/>
                  <a:gd name="f518" fmla="*/ f404 f316 1"/>
                  <a:gd name="f519" fmla="*/ f405 f315 1"/>
                  <a:gd name="f520" fmla="*/ f406 f315 1"/>
                  <a:gd name="f521" fmla="*/ f407 f315 1"/>
                  <a:gd name="f522" fmla="*/ f408 f316 1"/>
                  <a:gd name="f523" fmla="*/ f409 f316 1"/>
                  <a:gd name="f524" fmla="*/ f410 f315 1"/>
                  <a:gd name="f525" fmla="*/ f411 f316 1"/>
                  <a:gd name="f526" fmla="*/ f412 f315 1"/>
                  <a:gd name="f527" fmla="*/ f413 f316 1"/>
                  <a:gd name="f528" fmla="*/ f414 f316 1"/>
                  <a:gd name="f529" fmla="*/ f415 f316 1"/>
                  <a:gd name="f530" fmla="*/ f416 f315 1"/>
                  <a:gd name="f531" fmla="*/ f417 f316 1"/>
                  <a:gd name="f532" fmla="*/ f418 f315 1"/>
                  <a:gd name="f533" fmla="*/ f419 f316 1"/>
                  <a:gd name="f534" fmla="*/ f420 f316 1"/>
                  <a:gd name="f535" fmla="*/ f421 f315 1"/>
                  <a:gd name="f536" fmla="*/ f422 f316 1"/>
                  <a:gd name="f537" fmla="*/ f423 f316 1"/>
                  <a:gd name="f538" fmla="*/ f424 f315 1"/>
                  <a:gd name="f539" fmla="*/ f425 f316 1"/>
                  <a:gd name="f540" fmla="*/ f426 f316 1"/>
                  <a:gd name="f541" fmla="*/ f427 f315 1"/>
                  <a:gd name="f542" fmla="*/ f428 f316 1"/>
                  <a:gd name="f543" fmla="*/ f429 f31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33">
                    <a:pos x="f438" y="f439"/>
                  </a:cxn>
                  <a:cxn ang="f433">
                    <a:pos x="f440" y="f441"/>
                  </a:cxn>
                  <a:cxn ang="f433">
                    <a:pos x="f442" y="f443"/>
                  </a:cxn>
                  <a:cxn ang="f433">
                    <a:pos x="f444" y="f445"/>
                  </a:cxn>
                  <a:cxn ang="f433">
                    <a:pos x="f446" y="f447"/>
                  </a:cxn>
                  <a:cxn ang="f433">
                    <a:pos x="f448" y="f449"/>
                  </a:cxn>
                  <a:cxn ang="f433">
                    <a:pos x="f450" y="f451"/>
                  </a:cxn>
                  <a:cxn ang="f433">
                    <a:pos x="f452" y="f453"/>
                  </a:cxn>
                  <a:cxn ang="f433">
                    <a:pos x="f454" y="f455"/>
                  </a:cxn>
                  <a:cxn ang="f433">
                    <a:pos x="f456" y="f453"/>
                  </a:cxn>
                  <a:cxn ang="f433">
                    <a:pos x="f457" y="f458"/>
                  </a:cxn>
                  <a:cxn ang="f433">
                    <a:pos x="f459" y="f460"/>
                  </a:cxn>
                  <a:cxn ang="f433">
                    <a:pos x="f461" y="f462"/>
                  </a:cxn>
                  <a:cxn ang="f433">
                    <a:pos x="f463" y="f464"/>
                  </a:cxn>
                  <a:cxn ang="f433">
                    <a:pos x="f465" y="f466"/>
                  </a:cxn>
                  <a:cxn ang="f433">
                    <a:pos x="f467" y="f468"/>
                  </a:cxn>
                  <a:cxn ang="f433">
                    <a:pos x="f469" y="f470"/>
                  </a:cxn>
                  <a:cxn ang="f433">
                    <a:pos x="f471" y="f472"/>
                  </a:cxn>
                  <a:cxn ang="f433">
                    <a:pos x="f473" y="f474"/>
                  </a:cxn>
                  <a:cxn ang="f433">
                    <a:pos x="f475" y="f476"/>
                  </a:cxn>
                  <a:cxn ang="f433">
                    <a:pos x="f477" y="f478"/>
                  </a:cxn>
                  <a:cxn ang="f433">
                    <a:pos x="f479" y="f480"/>
                  </a:cxn>
                  <a:cxn ang="f433">
                    <a:pos x="f481" y="f482"/>
                  </a:cxn>
                  <a:cxn ang="f433">
                    <a:pos x="f483" y="f474"/>
                  </a:cxn>
                  <a:cxn ang="f433">
                    <a:pos x="f484" y="f485"/>
                  </a:cxn>
                  <a:cxn ang="f433">
                    <a:pos x="f486" y="f487"/>
                  </a:cxn>
                  <a:cxn ang="f433">
                    <a:pos x="f488" y="f489"/>
                  </a:cxn>
                  <a:cxn ang="f433">
                    <a:pos x="f490" y="f491"/>
                  </a:cxn>
                  <a:cxn ang="f433">
                    <a:pos x="f492" y="f493"/>
                  </a:cxn>
                  <a:cxn ang="f433">
                    <a:pos x="f494" y="f495"/>
                  </a:cxn>
                  <a:cxn ang="f433">
                    <a:pos x="f496" y="f497"/>
                  </a:cxn>
                  <a:cxn ang="f433">
                    <a:pos x="f498" y="f499"/>
                  </a:cxn>
                  <a:cxn ang="f433">
                    <a:pos x="f500" y="f501"/>
                  </a:cxn>
                  <a:cxn ang="f433">
                    <a:pos x="f502" y="f503"/>
                  </a:cxn>
                  <a:cxn ang="f433">
                    <a:pos x="f504" y="f505"/>
                  </a:cxn>
                  <a:cxn ang="f433">
                    <a:pos x="f506" y="f507"/>
                  </a:cxn>
                  <a:cxn ang="f433">
                    <a:pos x="f508" y="f509"/>
                  </a:cxn>
                  <a:cxn ang="f433">
                    <a:pos x="f510" y="f511"/>
                  </a:cxn>
                  <a:cxn ang="f433">
                    <a:pos x="f434" y="f512"/>
                  </a:cxn>
                  <a:cxn ang="f433">
                    <a:pos x="f513" y="f514"/>
                  </a:cxn>
                  <a:cxn ang="f433">
                    <a:pos x="f515" y="f516"/>
                  </a:cxn>
                  <a:cxn ang="f433">
                    <a:pos x="f517" y="f518"/>
                  </a:cxn>
                  <a:cxn ang="f433">
                    <a:pos x="f519" y="f491"/>
                  </a:cxn>
                  <a:cxn ang="f433">
                    <a:pos x="f520" y="f489"/>
                  </a:cxn>
                  <a:cxn ang="f433">
                    <a:pos x="f521" y="f522"/>
                  </a:cxn>
                  <a:cxn ang="f433">
                    <a:pos x="f521" y="f523"/>
                  </a:cxn>
                  <a:cxn ang="f433">
                    <a:pos x="f524" y="f525"/>
                  </a:cxn>
                  <a:cxn ang="f433">
                    <a:pos x="f526" y="f527"/>
                  </a:cxn>
                  <a:cxn ang="f433">
                    <a:pos x="f521" y="f528"/>
                  </a:cxn>
                  <a:cxn ang="f433">
                    <a:pos x="f504" y="f529"/>
                  </a:cxn>
                  <a:cxn ang="f433">
                    <a:pos x="f530" y="f531"/>
                  </a:cxn>
                  <a:cxn ang="f433">
                    <a:pos x="f532" y="f533"/>
                  </a:cxn>
                  <a:cxn ang="f433">
                    <a:pos x="f508" y="f534"/>
                  </a:cxn>
                  <a:cxn ang="f433">
                    <a:pos x="f535" y="f536"/>
                  </a:cxn>
                  <a:cxn ang="f433">
                    <a:pos x="f519" y="f537"/>
                  </a:cxn>
                  <a:cxn ang="f433">
                    <a:pos x="f538" y="f539"/>
                  </a:cxn>
                  <a:cxn ang="f433">
                    <a:pos x="f502" y="f540"/>
                  </a:cxn>
                  <a:cxn ang="f433">
                    <a:pos x="f541" y="f542"/>
                  </a:cxn>
                  <a:cxn ang="f433">
                    <a:pos x="f543" y="f437"/>
                  </a:cxn>
                </a:cxnLst>
                <a:rect l="f434" t="f437" r="f435" b="f436"/>
                <a:pathLst>
                  <a:path w="709" h="523">
                    <a:moveTo>
                      <a:pt x="f9" y="f6"/>
                    </a:moveTo>
                    <a:lnTo>
                      <a:pt x="f10" y="f6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6"/>
                    </a:lnTo>
                    <a:lnTo>
                      <a:pt x="f28" y="f29"/>
                    </a:lnTo>
                    <a:lnTo>
                      <a:pt x="f30" y="f22"/>
                    </a:lnTo>
                    <a:lnTo>
                      <a:pt x="f31" y="f32"/>
                    </a:lnTo>
                    <a:lnTo>
                      <a:pt x="f33" y="f16"/>
                    </a:lnTo>
                    <a:lnTo>
                      <a:pt x="f34" y="f16"/>
                    </a:lnTo>
                    <a:lnTo>
                      <a:pt x="f35" y="f32"/>
                    </a:lnTo>
                    <a:lnTo>
                      <a:pt x="f36" y="f32"/>
                    </a:lnTo>
                    <a:lnTo>
                      <a:pt x="f37" y="f16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6" y="f48"/>
                    </a:lnTo>
                    <a:lnTo>
                      <a:pt x="f44" y="f49"/>
                    </a:lnTo>
                    <a:lnTo>
                      <a:pt x="f42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4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69"/>
                    </a:lnTo>
                    <a:lnTo>
                      <a:pt x="f70" y="f61"/>
                    </a:lnTo>
                    <a:lnTo>
                      <a:pt x="f71" y="f59"/>
                    </a:lnTo>
                    <a:lnTo>
                      <a:pt x="f72" y="f59"/>
                    </a:lnTo>
                    <a:lnTo>
                      <a:pt x="f73" y="f74"/>
                    </a:lnTo>
                    <a:lnTo>
                      <a:pt x="f75" y="f74"/>
                    </a:lnTo>
                    <a:lnTo>
                      <a:pt x="f76" y="f67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99" y="f96"/>
                    </a:lnTo>
                    <a:lnTo>
                      <a:pt x="f100" y="f101"/>
                    </a:lnTo>
                    <a:lnTo>
                      <a:pt x="f102" y="f94"/>
                    </a:lnTo>
                    <a:lnTo>
                      <a:pt x="f103" y="f104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109" y="f110"/>
                    </a:lnTo>
                    <a:lnTo>
                      <a:pt x="f111" y="f112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119" y="f120"/>
                    </a:lnTo>
                    <a:lnTo>
                      <a:pt x="f121" y="f122"/>
                    </a:lnTo>
                    <a:lnTo>
                      <a:pt x="f123" y="f124"/>
                    </a:lnTo>
                    <a:lnTo>
                      <a:pt x="f7" y="f125"/>
                    </a:lnTo>
                    <a:lnTo>
                      <a:pt x="f123" y="f126"/>
                    </a:lnTo>
                    <a:lnTo>
                      <a:pt x="f127" y="f21"/>
                    </a:lnTo>
                    <a:lnTo>
                      <a:pt x="f119" y="f128"/>
                    </a:lnTo>
                    <a:lnTo>
                      <a:pt x="f117" y="f129"/>
                    </a:lnTo>
                    <a:lnTo>
                      <a:pt x="f130" y="f23"/>
                    </a:lnTo>
                    <a:lnTo>
                      <a:pt x="f131" y="f25"/>
                    </a:lnTo>
                    <a:lnTo>
                      <a:pt x="f132" y="f133"/>
                    </a:lnTo>
                    <a:lnTo>
                      <a:pt x="f134" y="f135"/>
                    </a:lnTo>
                    <a:lnTo>
                      <a:pt x="f136" y="f30"/>
                    </a:lnTo>
                    <a:lnTo>
                      <a:pt x="f137" y="f138"/>
                    </a:lnTo>
                    <a:lnTo>
                      <a:pt x="f139" y="f140"/>
                    </a:lnTo>
                    <a:lnTo>
                      <a:pt x="f141" y="f133"/>
                    </a:lnTo>
                    <a:lnTo>
                      <a:pt x="f142" y="f143"/>
                    </a:lnTo>
                    <a:lnTo>
                      <a:pt x="f97" y="f144"/>
                    </a:lnTo>
                    <a:lnTo>
                      <a:pt x="f145" y="f146"/>
                    </a:lnTo>
                    <a:lnTo>
                      <a:pt x="f147" y="f148"/>
                    </a:lnTo>
                    <a:lnTo>
                      <a:pt x="f149" y="f148"/>
                    </a:lnTo>
                    <a:lnTo>
                      <a:pt x="f150" y="f151"/>
                    </a:lnTo>
                    <a:lnTo>
                      <a:pt x="f81" y="f151"/>
                    </a:lnTo>
                    <a:lnTo>
                      <a:pt x="f81" y="f25"/>
                    </a:lnTo>
                    <a:lnTo>
                      <a:pt x="f152" y="f153"/>
                    </a:lnTo>
                    <a:lnTo>
                      <a:pt x="f152" y="f154"/>
                    </a:lnTo>
                    <a:lnTo>
                      <a:pt x="f155" y="f156"/>
                    </a:lnTo>
                    <a:lnTo>
                      <a:pt x="f157" y="f156"/>
                    </a:lnTo>
                    <a:lnTo>
                      <a:pt x="f79" y="f158"/>
                    </a:lnTo>
                    <a:lnTo>
                      <a:pt x="f159" y="f160"/>
                    </a:lnTo>
                    <a:lnTo>
                      <a:pt x="f161" y="f133"/>
                    </a:lnTo>
                    <a:lnTo>
                      <a:pt x="f162" y="f28"/>
                    </a:lnTo>
                    <a:lnTo>
                      <a:pt x="f163" y="f135"/>
                    </a:lnTo>
                    <a:lnTo>
                      <a:pt x="f164" y="f165"/>
                    </a:lnTo>
                    <a:lnTo>
                      <a:pt x="f166" y="f167"/>
                    </a:lnTo>
                    <a:lnTo>
                      <a:pt x="f168" y="f33"/>
                    </a:lnTo>
                    <a:lnTo>
                      <a:pt x="f169" y="f33"/>
                    </a:lnTo>
                    <a:lnTo>
                      <a:pt x="f170" y="f171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55" y="f176"/>
                    </a:lnTo>
                    <a:lnTo>
                      <a:pt x="f177" y="f178"/>
                    </a:lnTo>
                    <a:lnTo>
                      <a:pt x="f179" y="f180"/>
                    </a:lnTo>
                    <a:lnTo>
                      <a:pt x="f181" y="f30"/>
                    </a:lnTo>
                    <a:lnTo>
                      <a:pt x="f46" y="f178"/>
                    </a:lnTo>
                    <a:lnTo>
                      <a:pt x="f182" y="f165"/>
                    </a:lnTo>
                    <a:lnTo>
                      <a:pt x="f183" y="f184"/>
                    </a:lnTo>
                    <a:lnTo>
                      <a:pt x="f185" y="f186"/>
                    </a:lnTo>
                    <a:lnTo>
                      <a:pt x="f187" y="f188"/>
                    </a:lnTo>
                    <a:lnTo>
                      <a:pt x="f187" y="f38"/>
                    </a:lnTo>
                    <a:lnTo>
                      <a:pt x="f167" y="f189"/>
                    </a:lnTo>
                    <a:lnTo>
                      <a:pt x="f33" y="f190"/>
                    </a:lnTo>
                    <a:lnTo>
                      <a:pt x="f171" y="f191"/>
                    </a:lnTo>
                    <a:lnTo>
                      <a:pt x="f187" y="f192"/>
                    </a:lnTo>
                    <a:lnTo>
                      <a:pt x="f178" y="f193"/>
                    </a:lnTo>
                    <a:lnTo>
                      <a:pt x="f194" y="f195"/>
                    </a:lnTo>
                    <a:lnTo>
                      <a:pt x="f129" y="f196"/>
                    </a:lnTo>
                    <a:lnTo>
                      <a:pt x="f197" y="f196"/>
                    </a:lnTo>
                    <a:lnTo>
                      <a:pt x="f17" y="f198"/>
                    </a:lnTo>
                    <a:lnTo>
                      <a:pt x="f199" y="f200"/>
                    </a:lnTo>
                    <a:lnTo>
                      <a:pt x="f13" y="f198"/>
                    </a:lnTo>
                    <a:lnTo>
                      <a:pt x="f201" y="f202"/>
                    </a:lnTo>
                    <a:lnTo>
                      <a:pt x="f203" y="f62"/>
                    </a:lnTo>
                    <a:lnTo>
                      <a:pt x="f204" y="f205"/>
                    </a:lnTo>
                    <a:lnTo>
                      <a:pt x="f110" y="f206"/>
                    </a:lnTo>
                    <a:lnTo>
                      <a:pt x="f11" y="f207"/>
                    </a:lnTo>
                    <a:lnTo>
                      <a:pt x="f108" y="f208"/>
                    </a:lnTo>
                    <a:lnTo>
                      <a:pt x="f209" y="f210"/>
                    </a:lnTo>
                    <a:lnTo>
                      <a:pt x="f94" y="f208"/>
                    </a:lnTo>
                    <a:lnTo>
                      <a:pt x="f9" y="f208"/>
                    </a:lnTo>
                    <a:lnTo>
                      <a:pt x="f211" y="f212"/>
                    </a:lnTo>
                    <a:lnTo>
                      <a:pt x="f213" y="f214"/>
                    </a:lnTo>
                    <a:lnTo>
                      <a:pt x="f215" y="f216"/>
                    </a:lnTo>
                    <a:lnTo>
                      <a:pt x="f217" y="f218"/>
                    </a:lnTo>
                    <a:lnTo>
                      <a:pt x="f219" y="f220"/>
                    </a:lnTo>
                    <a:lnTo>
                      <a:pt x="f78" y="f221"/>
                    </a:lnTo>
                    <a:lnTo>
                      <a:pt x="f222" y="f223"/>
                    </a:lnTo>
                    <a:lnTo>
                      <a:pt x="f224" y="f225"/>
                    </a:lnTo>
                    <a:lnTo>
                      <a:pt x="f226" y="f223"/>
                    </a:lnTo>
                    <a:lnTo>
                      <a:pt x="f227" y="f164"/>
                    </a:lnTo>
                    <a:lnTo>
                      <a:pt x="f228" y="f229"/>
                    </a:lnTo>
                    <a:lnTo>
                      <a:pt x="f230" y="f231"/>
                    </a:lnTo>
                    <a:lnTo>
                      <a:pt x="f48" y="f161"/>
                    </a:lnTo>
                    <a:lnTo>
                      <a:pt x="f232" y="f233"/>
                    </a:lnTo>
                    <a:lnTo>
                      <a:pt x="f234" y="f79"/>
                    </a:lnTo>
                    <a:lnTo>
                      <a:pt x="f235" y="f8"/>
                    </a:lnTo>
                    <a:lnTo>
                      <a:pt x="f236" y="f237"/>
                    </a:lnTo>
                    <a:lnTo>
                      <a:pt x="f12" y="f238"/>
                    </a:lnTo>
                    <a:lnTo>
                      <a:pt x="f239" y="f229"/>
                    </a:lnTo>
                    <a:lnTo>
                      <a:pt x="f239" y="f240"/>
                    </a:lnTo>
                    <a:lnTo>
                      <a:pt x="f6" y="f241"/>
                    </a:lnTo>
                    <a:lnTo>
                      <a:pt x="f6" y="f164"/>
                    </a:lnTo>
                    <a:lnTo>
                      <a:pt x="f26" y="f218"/>
                    </a:lnTo>
                    <a:lnTo>
                      <a:pt x="f242" y="f223"/>
                    </a:lnTo>
                    <a:lnTo>
                      <a:pt x="f243" y="f166"/>
                    </a:lnTo>
                    <a:lnTo>
                      <a:pt x="f244" y="f245"/>
                    </a:lnTo>
                    <a:lnTo>
                      <a:pt x="f246" y="f169"/>
                    </a:lnTo>
                    <a:lnTo>
                      <a:pt x="f247" y="f248"/>
                    </a:lnTo>
                    <a:lnTo>
                      <a:pt x="f249" y="f250"/>
                    </a:lnTo>
                    <a:lnTo>
                      <a:pt x="f228" y="f251"/>
                    </a:lnTo>
                    <a:lnTo>
                      <a:pt x="f59" y="f252"/>
                    </a:lnTo>
                    <a:lnTo>
                      <a:pt x="f61" y="f253"/>
                    </a:lnTo>
                    <a:lnTo>
                      <a:pt x="f254" y="f255"/>
                    </a:lnTo>
                    <a:lnTo>
                      <a:pt x="f254" y="f2"/>
                    </a:lnTo>
                    <a:lnTo>
                      <a:pt x="f61" y="f256"/>
                    </a:lnTo>
                    <a:lnTo>
                      <a:pt x="f257" y="f258"/>
                    </a:lnTo>
                    <a:lnTo>
                      <a:pt x="f257" y="f184"/>
                    </a:lnTo>
                    <a:lnTo>
                      <a:pt x="f259" y="f187"/>
                    </a:lnTo>
                    <a:lnTo>
                      <a:pt x="f260" y="f175"/>
                    </a:lnTo>
                    <a:lnTo>
                      <a:pt x="f261" y="f31"/>
                    </a:lnTo>
                    <a:lnTo>
                      <a:pt x="f262" y="f180"/>
                    </a:lnTo>
                    <a:lnTo>
                      <a:pt x="f263" y="f138"/>
                    </a:lnTo>
                    <a:lnTo>
                      <a:pt x="f264" y="f28"/>
                    </a:lnTo>
                    <a:lnTo>
                      <a:pt x="f90" y="f28"/>
                    </a:lnTo>
                    <a:lnTo>
                      <a:pt x="f92" y="f265"/>
                    </a:lnTo>
                    <a:lnTo>
                      <a:pt x="f9" y="f143"/>
                    </a:lnTo>
                    <a:lnTo>
                      <a:pt x="f9" y="f148"/>
                    </a:lnTo>
                    <a:lnTo>
                      <a:pt x="f266" y="f153"/>
                    </a:lnTo>
                    <a:lnTo>
                      <a:pt x="f92" y="f158"/>
                    </a:lnTo>
                    <a:lnTo>
                      <a:pt x="f267" y="f156"/>
                    </a:lnTo>
                    <a:lnTo>
                      <a:pt x="f94" y="f268"/>
                    </a:lnTo>
                    <a:lnTo>
                      <a:pt x="f269" y="f128"/>
                    </a:lnTo>
                    <a:lnTo>
                      <a:pt x="f201" y="f126"/>
                    </a:lnTo>
                    <a:lnTo>
                      <a:pt x="f120" y="f19"/>
                    </a:lnTo>
                    <a:lnTo>
                      <a:pt x="f270" y="f271"/>
                    </a:lnTo>
                    <a:lnTo>
                      <a:pt x="f15" y="f272"/>
                    </a:lnTo>
                    <a:lnTo>
                      <a:pt x="f199" y="f273"/>
                    </a:lnTo>
                    <a:lnTo>
                      <a:pt x="f201" y="f274"/>
                    </a:lnTo>
                    <a:lnTo>
                      <a:pt x="f275" y="f276"/>
                    </a:lnTo>
                    <a:lnTo>
                      <a:pt x="f277" y="f278"/>
                    </a:lnTo>
                    <a:lnTo>
                      <a:pt x="f92" y="f11"/>
                    </a:lnTo>
                    <a:lnTo>
                      <a:pt x="f279" y="f204"/>
                    </a:lnTo>
                    <a:lnTo>
                      <a:pt x="f280" y="f114"/>
                    </a:lnTo>
                    <a:lnTo>
                      <a:pt x="f281" y="f282"/>
                    </a:lnTo>
                    <a:lnTo>
                      <a:pt x="f219" y="f283"/>
                    </a:lnTo>
                    <a:lnTo>
                      <a:pt x="f284" y="f283"/>
                    </a:lnTo>
                    <a:lnTo>
                      <a:pt x="f285" y="f13"/>
                    </a:lnTo>
                    <a:lnTo>
                      <a:pt x="f59" y="f118"/>
                    </a:lnTo>
                    <a:lnTo>
                      <a:pt x="f230" y="f286"/>
                    </a:lnTo>
                    <a:lnTo>
                      <a:pt x="f234" y="f286"/>
                    </a:lnTo>
                    <a:lnTo>
                      <a:pt x="f287" y="f118"/>
                    </a:lnTo>
                    <a:lnTo>
                      <a:pt x="f244" y="f283"/>
                    </a:lnTo>
                    <a:lnTo>
                      <a:pt x="f288" y="f204"/>
                    </a:lnTo>
                    <a:lnTo>
                      <a:pt x="f289" y="f290"/>
                    </a:lnTo>
                    <a:lnTo>
                      <a:pt x="f291" y="f292"/>
                    </a:lnTo>
                    <a:lnTo>
                      <a:pt x="f293" y="f104"/>
                    </a:lnTo>
                    <a:lnTo>
                      <a:pt x="f48" y="f294"/>
                    </a:lnTo>
                    <a:lnTo>
                      <a:pt x="f295" y="f296"/>
                    </a:lnTo>
                    <a:lnTo>
                      <a:pt x="f249" y="f280"/>
                    </a:lnTo>
                    <a:lnTo>
                      <a:pt x="f297" y="f281"/>
                    </a:lnTo>
                    <a:lnTo>
                      <a:pt x="f57" y="f298"/>
                    </a:lnTo>
                    <a:lnTo>
                      <a:pt x="f227" y="f299"/>
                    </a:lnTo>
                    <a:lnTo>
                      <a:pt x="f300" y="f67"/>
                    </a:lnTo>
                    <a:lnTo>
                      <a:pt x="f300" y="f259"/>
                    </a:lnTo>
                    <a:lnTo>
                      <a:pt x="f257" y="f301"/>
                    </a:lnTo>
                    <a:lnTo>
                      <a:pt x="f226" y="f302"/>
                    </a:lnTo>
                    <a:lnTo>
                      <a:pt x="f285" y="f57"/>
                    </a:lnTo>
                    <a:lnTo>
                      <a:pt x="f303" y="f54"/>
                    </a:lnTo>
                    <a:lnTo>
                      <a:pt x="f304" y="f50"/>
                    </a:lnTo>
                    <a:lnTo>
                      <a:pt x="f264" y="f297"/>
                    </a:lnTo>
                    <a:lnTo>
                      <a:pt x="f279" y="f305"/>
                    </a:lnTo>
                    <a:lnTo>
                      <a:pt x="f306" y="f249"/>
                    </a:lnTo>
                    <a:lnTo>
                      <a:pt x="f211" y="f307"/>
                    </a:lnTo>
                    <a:lnTo>
                      <a:pt x="f306" y="f308"/>
                    </a:lnTo>
                    <a:lnTo>
                      <a:pt x="f309" y="f289"/>
                    </a:lnTo>
                    <a:lnTo>
                      <a:pt x="f264" y="f310"/>
                    </a:lnTo>
                    <a:lnTo>
                      <a:pt x="f281" y="f311"/>
                    </a:lnTo>
                    <a:lnTo>
                      <a:pt x="f312" y="f16"/>
                    </a:lnTo>
                    <a:lnTo>
                      <a:pt x="f309" y="f14"/>
                    </a:lnTo>
                    <a:lnTo>
                      <a:pt x="f313" y="f26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70" name="Freeform 32">
                <a:extLst>
                  <a:ext uri="{FF2B5EF4-FFF2-40B4-BE49-F238E27FC236}">
                    <a16:creationId xmlns:a16="http://schemas.microsoft.com/office/drawing/2014/main" id="{31D00DE1-837C-4E00-8950-A10DF6CEBC01}"/>
                  </a:ext>
                </a:extLst>
              </p:cNvPr>
              <p:cNvSpPr/>
              <p:nvPr/>
            </p:nvSpPr>
            <p:spPr>
              <a:xfrm>
                <a:off x="4385197" y="2602007"/>
                <a:ext cx="114135" cy="9718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688"/>
                  <a:gd name="f7" fmla="val 597"/>
                  <a:gd name="f8" fmla="val 297"/>
                  <a:gd name="f9" fmla="val 309"/>
                  <a:gd name="f10" fmla="val 2"/>
                  <a:gd name="f11" fmla="val 322"/>
                  <a:gd name="f12" fmla="val 334"/>
                  <a:gd name="f13" fmla="val 3"/>
                  <a:gd name="f14" fmla="val 347"/>
                  <a:gd name="f15" fmla="val 6"/>
                  <a:gd name="f16" fmla="val 358"/>
                  <a:gd name="f17" fmla="val 10"/>
                  <a:gd name="f18" fmla="val 363"/>
                  <a:gd name="f19" fmla="val 15"/>
                  <a:gd name="f20" fmla="val 22"/>
                  <a:gd name="f21" fmla="val 356"/>
                  <a:gd name="f22" fmla="val 31"/>
                  <a:gd name="f23" fmla="val 340"/>
                  <a:gd name="f24" fmla="val 53"/>
                  <a:gd name="f25" fmla="val 63"/>
                  <a:gd name="f26" fmla="val 333"/>
                  <a:gd name="f27" fmla="val 71"/>
                  <a:gd name="f28" fmla="val 81"/>
                  <a:gd name="f29" fmla="val 330"/>
                  <a:gd name="f30" fmla="val 93"/>
                  <a:gd name="f31" fmla="val 326"/>
                  <a:gd name="f32" fmla="val 106"/>
                  <a:gd name="f33" fmla="val 319"/>
                  <a:gd name="f34" fmla="val 111"/>
                  <a:gd name="f35" fmla="val 312"/>
                  <a:gd name="f36" fmla="val 113"/>
                  <a:gd name="f37" fmla="val 305"/>
                  <a:gd name="f38" fmla="val 300"/>
                  <a:gd name="f39" fmla="val 296"/>
                  <a:gd name="f40" fmla="val 115"/>
                  <a:gd name="f41" fmla="val 294"/>
                  <a:gd name="f42" fmla="val 121"/>
                  <a:gd name="f43" fmla="val 140"/>
                  <a:gd name="f44" fmla="val 151"/>
                  <a:gd name="f45" fmla="val 298"/>
                  <a:gd name="f46" fmla="val 160"/>
                  <a:gd name="f47" fmla="val 303"/>
                  <a:gd name="f48" fmla="val 167"/>
                  <a:gd name="f49" fmla="val 169"/>
                  <a:gd name="f50" fmla="val 320"/>
                  <a:gd name="f51" fmla="val 168"/>
                  <a:gd name="f52" fmla="val 359"/>
                  <a:gd name="f53" fmla="val 370"/>
                  <a:gd name="f54" fmla="val 176"/>
                  <a:gd name="f55" fmla="val 380"/>
                  <a:gd name="f56" fmla="val 185"/>
                  <a:gd name="f57" fmla="val 391"/>
                  <a:gd name="f58" fmla="val 194"/>
                  <a:gd name="f59" fmla="val 402"/>
                  <a:gd name="f60" fmla="val 203"/>
                  <a:gd name="f61" fmla="val 414"/>
                  <a:gd name="f62" fmla="val 211"/>
                  <a:gd name="f63" fmla="val 425"/>
                  <a:gd name="f64" fmla="val 214"/>
                  <a:gd name="f65" fmla="val 434"/>
                  <a:gd name="f66" fmla="val 212"/>
                  <a:gd name="f67" fmla="val 441"/>
                  <a:gd name="f68" fmla="val 205"/>
                  <a:gd name="f69" fmla="val 445"/>
                  <a:gd name="f70" fmla="val 196"/>
                  <a:gd name="f71" fmla="val 449"/>
                  <a:gd name="f72" fmla="val 187"/>
                  <a:gd name="f73" fmla="val 453"/>
                  <a:gd name="f74" fmla="val 182"/>
                  <a:gd name="f75" fmla="val 463"/>
                  <a:gd name="f76" fmla="val 178"/>
                  <a:gd name="f77" fmla="val 474"/>
                  <a:gd name="f78" fmla="val 175"/>
                  <a:gd name="f79" fmla="val 488"/>
                  <a:gd name="f80" fmla="val 500"/>
                  <a:gd name="f81" fmla="val 164"/>
                  <a:gd name="f82" fmla="val 511"/>
                  <a:gd name="f83" fmla="val 157"/>
                  <a:gd name="f84" fmla="val 519"/>
                  <a:gd name="f85" fmla="val 522"/>
                  <a:gd name="f86" fmla="val 146"/>
                  <a:gd name="f87" fmla="val 521"/>
                  <a:gd name="f88" fmla="val 138"/>
                  <a:gd name="f89" fmla="val 131"/>
                  <a:gd name="f90" fmla="val 128"/>
                  <a:gd name="f91" fmla="val 524"/>
                  <a:gd name="f92" fmla="val 126"/>
                  <a:gd name="f93" fmla="val 526"/>
                  <a:gd name="f94" fmla="val 125"/>
                  <a:gd name="f95" fmla="val 532"/>
                  <a:gd name="f96" fmla="val 544"/>
                  <a:gd name="f97" fmla="val 554"/>
                  <a:gd name="f98" fmla="val 562"/>
                  <a:gd name="f99" fmla="val 572"/>
                  <a:gd name="f100" fmla="val 584"/>
                  <a:gd name="f101" fmla="val 594"/>
                  <a:gd name="f102" fmla="val 598"/>
                  <a:gd name="f103" fmla="val 96"/>
                  <a:gd name="f104" fmla="val 88"/>
                  <a:gd name="f105" fmla="val 78"/>
                  <a:gd name="f106" fmla="val 68"/>
                  <a:gd name="f107" fmla="val 60"/>
                  <a:gd name="f108" fmla="val 602"/>
                  <a:gd name="f109" fmla="val 56"/>
                  <a:gd name="f110" fmla="val 608"/>
                  <a:gd name="f111" fmla="val 612"/>
                  <a:gd name="f112" fmla="val 52"/>
                  <a:gd name="f113" fmla="val 616"/>
                  <a:gd name="f114" fmla="val 47"/>
                  <a:gd name="f115" fmla="val 620"/>
                  <a:gd name="f116" fmla="val 623"/>
                  <a:gd name="f117" fmla="val 49"/>
                  <a:gd name="f118" fmla="val 624"/>
                  <a:gd name="f119" fmla="val 627"/>
                  <a:gd name="f120" fmla="val 50"/>
                  <a:gd name="f121" fmla="val 631"/>
                  <a:gd name="f122" fmla="val 633"/>
                  <a:gd name="f123" fmla="val 67"/>
                  <a:gd name="f124" fmla="val 90"/>
                  <a:gd name="f125" fmla="val 634"/>
                  <a:gd name="f126" fmla="val 101"/>
                  <a:gd name="f127" fmla="val 637"/>
                  <a:gd name="f128" fmla="val 108"/>
                  <a:gd name="f129" fmla="val 642"/>
                  <a:gd name="f130" fmla="val 649"/>
                  <a:gd name="f131" fmla="val 119"/>
                  <a:gd name="f132" fmla="val 659"/>
                  <a:gd name="f133" fmla="val 673"/>
                  <a:gd name="f134" fmla="val 136"/>
                  <a:gd name="f135" fmla="val 684"/>
                  <a:gd name="f136" fmla="val 154"/>
                  <a:gd name="f137" fmla="val 161"/>
                  <a:gd name="f138" fmla="val 677"/>
                  <a:gd name="f139" fmla="val 669"/>
                  <a:gd name="f140" fmla="val 186"/>
                  <a:gd name="f141" fmla="val 660"/>
                  <a:gd name="f142" fmla="val 200"/>
                  <a:gd name="f143" fmla="val 651"/>
                  <a:gd name="f144" fmla="val 215"/>
                  <a:gd name="f145" fmla="val 641"/>
                  <a:gd name="f146" fmla="val 226"/>
                  <a:gd name="f147" fmla="val 630"/>
                  <a:gd name="f148" fmla="val 230"/>
                  <a:gd name="f149" fmla="val 605"/>
                  <a:gd name="f150" fmla="val 229"/>
                  <a:gd name="f151" fmla="val 590"/>
                  <a:gd name="f152" fmla="val 575"/>
                  <a:gd name="f153" fmla="val 225"/>
                  <a:gd name="f154" fmla="val 561"/>
                  <a:gd name="f155" fmla="val 551"/>
                  <a:gd name="f156" fmla="val 547"/>
                  <a:gd name="f157" fmla="val 543"/>
                  <a:gd name="f158" fmla="val 235"/>
                  <a:gd name="f159" fmla="val 535"/>
                  <a:gd name="f160" fmla="val 240"/>
                  <a:gd name="f161" fmla="val 244"/>
                  <a:gd name="f162" fmla="val 512"/>
                  <a:gd name="f163" fmla="val 247"/>
                  <a:gd name="f164" fmla="val 504"/>
                  <a:gd name="f165" fmla="val 248"/>
                  <a:gd name="f166" fmla="val 499"/>
                  <a:gd name="f167" fmla="val 254"/>
                  <a:gd name="f168" fmla="val 495"/>
                  <a:gd name="f169" fmla="val 265"/>
                  <a:gd name="f170" fmla="val 489"/>
                  <a:gd name="f171" fmla="val 280"/>
                  <a:gd name="f172" fmla="val 483"/>
                  <a:gd name="f173" fmla="val 477"/>
                  <a:gd name="f174" fmla="val 467"/>
                  <a:gd name="f175" fmla="val 314"/>
                  <a:gd name="f176" fmla="val 452"/>
                  <a:gd name="f177" fmla="val 321"/>
                  <a:gd name="f178" fmla="val 432"/>
                  <a:gd name="f179" fmla="val 328"/>
                  <a:gd name="f180" fmla="val 412"/>
                  <a:gd name="f181" fmla="val 332"/>
                  <a:gd name="f182" fmla="val 392"/>
                  <a:gd name="f183" fmla="val 381"/>
                  <a:gd name="f184" fmla="val 372"/>
                  <a:gd name="f185" fmla="val 323"/>
                  <a:gd name="f186" fmla="val 301"/>
                  <a:gd name="f187" fmla="val 349"/>
                  <a:gd name="f188" fmla="val 291"/>
                  <a:gd name="f189" fmla="val 344"/>
                  <a:gd name="f190" fmla="val 283"/>
                  <a:gd name="f191" fmla="val 338"/>
                  <a:gd name="f192" fmla="val 279"/>
                  <a:gd name="f193" fmla="val 329"/>
                  <a:gd name="f194" fmla="val 318"/>
                  <a:gd name="f195" fmla="val 289"/>
                  <a:gd name="f196" fmla="val 285"/>
                  <a:gd name="f197" fmla="val 271"/>
                  <a:gd name="f198" fmla="val 262"/>
                  <a:gd name="f199" fmla="val 243"/>
                  <a:gd name="f200" fmla="val 242"/>
                  <a:gd name="f201" fmla="val 246"/>
                  <a:gd name="f202" fmla="val 310"/>
                  <a:gd name="f203" fmla="val 253"/>
                  <a:gd name="f204" fmla="val 256"/>
                  <a:gd name="f205" fmla="val 341"/>
                  <a:gd name="f206" fmla="val 351"/>
                  <a:gd name="f207" fmla="val 261"/>
                  <a:gd name="f208" fmla="val 365"/>
                  <a:gd name="f209" fmla="val 268"/>
                  <a:gd name="f210" fmla="val 369"/>
                  <a:gd name="f211" fmla="val 276"/>
                  <a:gd name="f212" fmla="val 376"/>
                  <a:gd name="f213" fmla="val 293"/>
                  <a:gd name="f214" fmla="val 386"/>
                  <a:gd name="f215" fmla="val 397"/>
                  <a:gd name="f216" fmla="val 407"/>
                  <a:gd name="f217" fmla="val 308"/>
                  <a:gd name="f218" fmla="val 316"/>
                  <a:gd name="f219" fmla="val 422"/>
                  <a:gd name="f220" fmla="val 433"/>
                  <a:gd name="f221" fmla="val 450"/>
                  <a:gd name="f222" fmla="val 455"/>
                  <a:gd name="f223" fmla="val 458"/>
                  <a:gd name="f224" fmla="val 459"/>
                  <a:gd name="f225" fmla="val 462"/>
                  <a:gd name="f226" fmla="val 315"/>
                  <a:gd name="f227" fmla="val 311"/>
                  <a:gd name="f228" fmla="val 466"/>
                  <a:gd name="f229" fmla="val 469"/>
                  <a:gd name="f230" fmla="val 470"/>
                  <a:gd name="f231" fmla="val 473"/>
                  <a:gd name="f232" fmla="val 337"/>
                  <a:gd name="f233" fmla="val 482"/>
                  <a:gd name="f234" fmla="val 484"/>
                  <a:gd name="f235" fmla="val 487"/>
                  <a:gd name="f236" fmla="val 286"/>
                  <a:gd name="f237" fmla="val 486"/>
                  <a:gd name="f238" fmla="val 257"/>
                  <a:gd name="f239" fmla="val 233"/>
                  <a:gd name="f240" fmla="val 218"/>
                  <a:gd name="f241" fmla="val 213"/>
                  <a:gd name="f242" fmla="val 209"/>
                  <a:gd name="f243" fmla="val 202"/>
                  <a:gd name="f244" fmla="val 192"/>
                  <a:gd name="f245" fmla="val 480"/>
                  <a:gd name="f246" fmla="val 490"/>
                  <a:gd name="f247" fmla="val 174"/>
                  <a:gd name="f248" fmla="val 502"/>
                  <a:gd name="f249" fmla="val 171"/>
                  <a:gd name="f250" fmla="val 515"/>
                  <a:gd name="f251" fmla="val 525"/>
                  <a:gd name="f252" fmla="val 159"/>
                  <a:gd name="f253" fmla="val 533"/>
                  <a:gd name="f254" fmla="val 148"/>
                  <a:gd name="f255" fmla="val 540"/>
                  <a:gd name="f256" fmla="val 134"/>
                  <a:gd name="f257" fmla="val 545"/>
                  <a:gd name="f258" fmla="val 123"/>
                  <a:gd name="f259" fmla="val 549"/>
                  <a:gd name="f260" fmla="val 116"/>
                  <a:gd name="f261" fmla="val 558"/>
                  <a:gd name="f262" fmla="val 563"/>
                  <a:gd name="f263" fmla="val 569"/>
                  <a:gd name="f264" fmla="val 576"/>
                  <a:gd name="f265" fmla="val 124"/>
                  <a:gd name="f266" fmla="val 591"/>
                  <a:gd name="f267" fmla="val 120"/>
                  <a:gd name="f268" fmla="val 104"/>
                  <a:gd name="f269" fmla="val 95"/>
                  <a:gd name="f270" fmla="val 595"/>
                  <a:gd name="f271" fmla="val 592"/>
                  <a:gd name="f272" fmla="val 83"/>
                  <a:gd name="f273" fmla="val 587"/>
                  <a:gd name="f274" fmla="val 580"/>
                  <a:gd name="f275" fmla="val 84"/>
                  <a:gd name="f276" fmla="val 556"/>
                  <a:gd name="f277" fmla="val 77"/>
                  <a:gd name="f278" fmla="val 70"/>
                  <a:gd name="f279" fmla="val 54"/>
                  <a:gd name="f280" fmla="val 44"/>
                  <a:gd name="f281" fmla="val 37"/>
                  <a:gd name="f282" fmla="val 33"/>
                  <a:gd name="f283" fmla="val 30"/>
                  <a:gd name="f284" fmla="val 29"/>
                  <a:gd name="f285" fmla="val 555"/>
                  <a:gd name="f286" fmla="val 536"/>
                  <a:gd name="f287" fmla="val 36"/>
                  <a:gd name="f288" fmla="val 537"/>
                  <a:gd name="f289" fmla="val 55"/>
                  <a:gd name="f290" fmla="val 541"/>
                  <a:gd name="f291" fmla="val 65"/>
                  <a:gd name="f292" fmla="val 72"/>
                  <a:gd name="f293" fmla="val 531"/>
                  <a:gd name="f294" fmla="val 527"/>
                  <a:gd name="f295" fmla="val 87"/>
                  <a:gd name="f296" fmla="val 523"/>
                  <a:gd name="f297" fmla="val 518"/>
                  <a:gd name="f298" fmla="val 79"/>
                  <a:gd name="f299" fmla="val 516"/>
                  <a:gd name="f300" fmla="val 91"/>
                  <a:gd name="f301" fmla="val 494"/>
                  <a:gd name="f302" fmla="val 97"/>
                  <a:gd name="f303" fmla="val 105"/>
                  <a:gd name="f304" fmla="val 127"/>
                  <a:gd name="f305" fmla="val 137"/>
                  <a:gd name="f306" fmla="val 144"/>
                  <a:gd name="f307" fmla="val 479"/>
                  <a:gd name="f308" fmla="val 145"/>
                  <a:gd name="f309" fmla="val 475"/>
                  <a:gd name="f310" fmla="val 472"/>
                  <a:gd name="f311" fmla="val 461"/>
                  <a:gd name="f312" fmla="val 454"/>
                  <a:gd name="f313" fmla="val 448"/>
                  <a:gd name="f314" fmla="val 436"/>
                  <a:gd name="f315" fmla="val 98"/>
                  <a:gd name="f316" fmla="val 437"/>
                  <a:gd name="f317" fmla="val 457"/>
                  <a:gd name="f318" fmla="val 465"/>
                  <a:gd name="f319" fmla="val 58"/>
                  <a:gd name="f320" fmla="val 48"/>
                  <a:gd name="f321" fmla="val 43"/>
                  <a:gd name="f322" fmla="val 41"/>
                  <a:gd name="f323" fmla="val 444"/>
                  <a:gd name="f324" fmla="val 40"/>
                  <a:gd name="f325" fmla="val 8"/>
                  <a:gd name="f326" fmla="val 429"/>
                  <a:gd name="f327" fmla="val 4"/>
                  <a:gd name="f328" fmla="val 420"/>
                  <a:gd name="f329" fmla="val 411"/>
                  <a:gd name="f330" fmla="val 396"/>
                  <a:gd name="f331" fmla="val 12"/>
                  <a:gd name="f332" fmla="val 387"/>
                  <a:gd name="f333" fmla="val 23"/>
                  <a:gd name="f334" fmla="val 34"/>
                  <a:gd name="f335" fmla="val 375"/>
                  <a:gd name="f336" fmla="val 371"/>
                  <a:gd name="f337" fmla="val 368"/>
                  <a:gd name="f338" fmla="val 57"/>
                  <a:gd name="f339" fmla="val 350"/>
                  <a:gd name="f340" fmla="val 86"/>
                  <a:gd name="f341" fmla="val 336"/>
                  <a:gd name="f342" fmla="val 94"/>
                  <a:gd name="f343" fmla="val 156"/>
                  <a:gd name="f344" fmla="val 189"/>
                  <a:gd name="f345" fmla="val 278"/>
                  <a:gd name="f346" fmla="val 195"/>
                  <a:gd name="f347" fmla="val 260"/>
                  <a:gd name="f348" fmla="val 250"/>
                  <a:gd name="f349" fmla="val 199"/>
                  <a:gd name="f350" fmla="val 237"/>
                  <a:gd name="f351" fmla="val 193"/>
                  <a:gd name="f352" fmla="val 191"/>
                  <a:gd name="f353" fmla="val 224"/>
                  <a:gd name="f354" fmla="val 207"/>
                  <a:gd name="f355" fmla="val 219"/>
                  <a:gd name="f356" fmla="val 210"/>
                  <a:gd name="f357" fmla="val 197"/>
                  <a:gd name="f358" fmla="val 198"/>
                  <a:gd name="f359" fmla="val 163"/>
                  <a:gd name="f360" fmla="val 172"/>
                  <a:gd name="f361" fmla="val 135"/>
                  <a:gd name="f362" fmla="val 102"/>
                  <a:gd name="f363" fmla="val 129"/>
                  <a:gd name="f364" fmla="val 110"/>
                  <a:gd name="f365" fmla="val 122"/>
                  <a:gd name="f366" fmla="val 141"/>
                  <a:gd name="f367" fmla="val 143"/>
                  <a:gd name="f368" fmla="val 149"/>
                  <a:gd name="f369" fmla="val 147"/>
                  <a:gd name="f370" fmla="val 142"/>
                  <a:gd name="f371" fmla="val 132"/>
                  <a:gd name="f372" fmla="val 217"/>
                  <a:gd name="f373" fmla="val 222"/>
                  <a:gd name="f374" fmla="val 103"/>
                  <a:gd name="f375" fmla="val 228"/>
                  <a:gd name="f376" fmla="val 92"/>
                  <a:gd name="f377" fmla="val 89"/>
                  <a:gd name="f378" fmla="val 249"/>
                  <a:gd name="f379" fmla="val 85"/>
                  <a:gd name="f380" fmla="val 82"/>
                  <a:gd name="f381" fmla="val 267"/>
                  <a:gd name="f382" fmla="val 273"/>
                  <a:gd name="f383" fmla="val 61"/>
                  <a:gd name="f384" fmla="val 272"/>
                  <a:gd name="f385" fmla="val 24"/>
                  <a:gd name="f386" fmla="val 20"/>
                  <a:gd name="f387" fmla="val 14"/>
                  <a:gd name="f388" fmla="+- 0 0 -90"/>
                  <a:gd name="f389" fmla="*/ f3 1 688"/>
                  <a:gd name="f390" fmla="*/ f4 1 597"/>
                  <a:gd name="f391" fmla="+- f7 0 f5"/>
                  <a:gd name="f392" fmla="+- f6 0 f5"/>
                  <a:gd name="f393" fmla="*/ f388 f0 1"/>
                  <a:gd name="f394" fmla="*/ f392 1 688"/>
                  <a:gd name="f395" fmla="*/ f391 1 597"/>
                  <a:gd name="f396" fmla="*/ f393 1 f2"/>
                  <a:gd name="f397" fmla="*/ 358 1 f394"/>
                  <a:gd name="f398" fmla="*/ 10 1 f395"/>
                  <a:gd name="f399" fmla="*/ 333 1 f394"/>
                  <a:gd name="f400" fmla="*/ 71 1 f395"/>
                  <a:gd name="f401" fmla="*/ 305 1 f394"/>
                  <a:gd name="f402" fmla="*/ 111 1 f395"/>
                  <a:gd name="f403" fmla="*/ 298 1 f394"/>
                  <a:gd name="f404" fmla="*/ 160 1 f395"/>
                  <a:gd name="f405" fmla="*/ 359 1 f394"/>
                  <a:gd name="f406" fmla="*/ 169 1 f395"/>
                  <a:gd name="f407" fmla="*/ 425 1 f394"/>
                  <a:gd name="f408" fmla="*/ 214 1 f395"/>
                  <a:gd name="f409" fmla="*/ 463 1 f394"/>
                  <a:gd name="f410" fmla="*/ 178 1 f395"/>
                  <a:gd name="f411" fmla="*/ 522 1 f394"/>
                  <a:gd name="f412" fmla="*/ 146 1 f395"/>
                  <a:gd name="f413" fmla="*/ 526 1 f394"/>
                  <a:gd name="f414" fmla="*/ 125 1 f395"/>
                  <a:gd name="f415" fmla="*/ 584 1 f394"/>
                  <a:gd name="f416" fmla="*/ 115 1 f395"/>
                  <a:gd name="f417" fmla="*/ 598 1 f394"/>
                  <a:gd name="f418" fmla="*/ 60 1 f395"/>
                  <a:gd name="f419" fmla="*/ 623 1 f394"/>
                  <a:gd name="f420" fmla="*/ 49 1 f395"/>
                  <a:gd name="f421" fmla="*/ 634 1 f394"/>
                  <a:gd name="f422" fmla="*/ 101 1 f395"/>
                  <a:gd name="f423" fmla="*/ 684 1 f394"/>
                  <a:gd name="f424" fmla="*/ 660 1 f394"/>
                  <a:gd name="f425" fmla="*/ 200 1 f395"/>
                  <a:gd name="f426" fmla="*/ 590 1 f394"/>
                  <a:gd name="f427" fmla="*/ 226 1 f395"/>
                  <a:gd name="f428" fmla="*/ 535 1 f394"/>
                  <a:gd name="f429" fmla="*/ 240 1 f395"/>
                  <a:gd name="f430" fmla="*/ 489 1 f394"/>
                  <a:gd name="f431" fmla="*/ 280 1 f395"/>
                  <a:gd name="f432" fmla="*/ 412 1 f394"/>
                  <a:gd name="f433" fmla="*/ 332 1 f395"/>
                  <a:gd name="f434" fmla="*/ 349 1 f394"/>
                  <a:gd name="f435" fmla="*/ 291 1 f395"/>
                  <a:gd name="f436" fmla="*/ 294 1 f394"/>
                  <a:gd name="f437" fmla="*/ 294 1 f395"/>
                  <a:gd name="f438" fmla="*/ 243 1 f394"/>
                  <a:gd name="f439" fmla="*/ 298 1 f395"/>
                  <a:gd name="f440" fmla="*/ 254 1 f394"/>
                  <a:gd name="f441" fmla="*/ 341 1 f395"/>
                  <a:gd name="f442" fmla="*/ 285 1 f394"/>
                  <a:gd name="f443" fmla="*/ 376 1 f395"/>
                  <a:gd name="f444" fmla="*/ 322 1 f394"/>
                  <a:gd name="f445" fmla="*/ 433 1 f395"/>
                  <a:gd name="f446" fmla="*/ 323 1 f394"/>
                  <a:gd name="f447" fmla="*/ 459 1 f395"/>
                  <a:gd name="f448" fmla="*/ 330 1 f394"/>
                  <a:gd name="f449" fmla="*/ 473 1 f395"/>
                  <a:gd name="f450" fmla="*/ 286 1 f394"/>
                  <a:gd name="f451" fmla="*/ 486 1 f395"/>
                  <a:gd name="f452" fmla="*/ 218 1 f394"/>
                  <a:gd name="f453" fmla="*/ 174 1 f394"/>
                  <a:gd name="f454" fmla="*/ 502 1 f395"/>
                  <a:gd name="f455" fmla="*/ 123 1 f394"/>
                  <a:gd name="f456" fmla="*/ 549 1 f395"/>
                  <a:gd name="f457" fmla="*/ 126 1 f394"/>
                  <a:gd name="f458" fmla="*/ 584 1 f395"/>
                  <a:gd name="f459" fmla="*/ 88 1 f394"/>
                  <a:gd name="f460" fmla="*/ 592 1 f395"/>
                  <a:gd name="f461" fmla="*/ 77 1 f394"/>
                  <a:gd name="f462" fmla="*/ 556 1 f395"/>
                  <a:gd name="f463" fmla="*/ 30 1 f394"/>
                  <a:gd name="f464" fmla="*/ 563 1 f395"/>
                  <a:gd name="f465" fmla="*/ 55 1 f394"/>
                  <a:gd name="f466" fmla="*/ 541 1 f395"/>
                  <a:gd name="f467" fmla="*/ 87 1 f394"/>
                  <a:gd name="f468" fmla="*/ 526 1 f395"/>
                  <a:gd name="f469" fmla="*/ 91 1 f394"/>
                  <a:gd name="f470" fmla="*/ 494 1 f395"/>
                  <a:gd name="f471" fmla="*/ 144 1 f394"/>
                  <a:gd name="f472" fmla="*/ 479 1 f395"/>
                  <a:gd name="f473" fmla="*/ 131 1 f394"/>
                  <a:gd name="f474" fmla="*/ 461 1 f395"/>
                  <a:gd name="f475" fmla="*/ 127 1 f394"/>
                  <a:gd name="f476" fmla="*/ 436 1 f395"/>
                  <a:gd name="f477" fmla="*/ 93 1 f394"/>
                  <a:gd name="f478" fmla="*/ 441 1 f395"/>
                  <a:gd name="f479" fmla="*/ 43 1 f394"/>
                  <a:gd name="f480" fmla="*/ 36 1 f394"/>
                  <a:gd name="f481" fmla="*/ 12 1 f394"/>
                  <a:gd name="f482" fmla="*/ 387 1 f395"/>
                  <a:gd name="f483" fmla="*/ 72 1 f394"/>
                  <a:gd name="f484" fmla="*/ 350 1 f395"/>
                  <a:gd name="f485" fmla="*/ 120 1 f394"/>
                  <a:gd name="f486" fmla="*/ 322 1 f395"/>
                  <a:gd name="f487" fmla="*/ 180 1 f394"/>
                  <a:gd name="f488" fmla="*/ 283 1 f395"/>
                  <a:gd name="f489" fmla="*/ 199 1 f394"/>
                  <a:gd name="f490" fmla="*/ 207 1 f394"/>
                  <a:gd name="f491" fmla="*/ 219 1 f395"/>
                  <a:gd name="f492" fmla="*/ 185 1 f394"/>
                  <a:gd name="f493" fmla="*/ 176 1 f395"/>
                  <a:gd name="f494" fmla="*/ 149 1 f394"/>
                  <a:gd name="f495" fmla="*/ 147 1 f395"/>
                  <a:gd name="f496" fmla="*/ 198 1 f394"/>
                  <a:gd name="f497" fmla="*/ 108 1 f395"/>
                  <a:gd name="f498" fmla="*/ 240 1 f394"/>
                  <a:gd name="f499" fmla="*/ 86 1 f395"/>
                  <a:gd name="f500" fmla="*/ 280 1 f394"/>
                  <a:gd name="f501" fmla="*/ 52 1 f395"/>
                  <a:gd name="f502" fmla="*/ 253 1 f394"/>
                  <a:gd name="f503" fmla="*/ 20 1 f395"/>
                  <a:gd name="f504" fmla="*/ 0 1 f394"/>
                  <a:gd name="f505" fmla="*/ f6 1 f394"/>
                  <a:gd name="f506" fmla="*/ 0 1 f395"/>
                  <a:gd name="f507" fmla="*/ f7 1 f395"/>
                  <a:gd name="f508" fmla="+- f396 0 f1"/>
                  <a:gd name="f509" fmla="*/ f504 f389 1"/>
                  <a:gd name="f510" fmla="*/ f505 f389 1"/>
                  <a:gd name="f511" fmla="*/ f507 f390 1"/>
                  <a:gd name="f512" fmla="*/ f506 f390 1"/>
                  <a:gd name="f513" fmla="*/ f397 f389 1"/>
                  <a:gd name="f514" fmla="*/ f398 f390 1"/>
                  <a:gd name="f515" fmla="*/ f399 f389 1"/>
                  <a:gd name="f516" fmla="*/ f400 f390 1"/>
                  <a:gd name="f517" fmla="*/ f401 f389 1"/>
                  <a:gd name="f518" fmla="*/ f402 f390 1"/>
                  <a:gd name="f519" fmla="*/ f403 f389 1"/>
                  <a:gd name="f520" fmla="*/ f404 f390 1"/>
                  <a:gd name="f521" fmla="*/ f405 f389 1"/>
                  <a:gd name="f522" fmla="*/ f406 f390 1"/>
                  <a:gd name="f523" fmla="*/ f407 f389 1"/>
                  <a:gd name="f524" fmla="*/ f408 f390 1"/>
                  <a:gd name="f525" fmla="*/ f409 f389 1"/>
                  <a:gd name="f526" fmla="*/ f410 f390 1"/>
                  <a:gd name="f527" fmla="*/ f411 f389 1"/>
                  <a:gd name="f528" fmla="*/ f412 f390 1"/>
                  <a:gd name="f529" fmla="*/ f413 f389 1"/>
                  <a:gd name="f530" fmla="*/ f414 f390 1"/>
                  <a:gd name="f531" fmla="*/ f415 f389 1"/>
                  <a:gd name="f532" fmla="*/ f416 f390 1"/>
                  <a:gd name="f533" fmla="*/ f417 f389 1"/>
                  <a:gd name="f534" fmla="*/ f418 f390 1"/>
                  <a:gd name="f535" fmla="*/ f419 f389 1"/>
                  <a:gd name="f536" fmla="*/ f420 f390 1"/>
                  <a:gd name="f537" fmla="*/ f421 f389 1"/>
                  <a:gd name="f538" fmla="*/ f422 f390 1"/>
                  <a:gd name="f539" fmla="*/ f423 f389 1"/>
                  <a:gd name="f540" fmla="*/ f424 f389 1"/>
                  <a:gd name="f541" fmla="*/ f425 f390 1"/>
                  <a:gd name="f542" fmla="*/ f426 f389 1"/>
                  <a:gd name="f543" fmla="*/ f427 f390 1"/>
                  <a:gd name="f544" fmla="*/ f428 f389 1"/>
                  <a:gd name="f545" fmla="*/ f429 f390 1"/>
                  <a:gd name="f546" fmla="*/ f430 f389 1"/>
                  <a:gd name="f547" fmla="*/ f431 f390 1"/>
                  <a:gd name="f548" fmla="*/ f432 f389 1"/>
                  <a:gd name="f549" fmla="*/ f433 f390 1"/>
                  <a:gd name="f550" fmla="*/ f434 f389 1"/>
                  <a:gd name="f551" fmla="*/ f435 f390 1"/>
                  <a:gd name="f552" fmla="*/ f436 f389 1"/>
                  <a:gd name="f553" fmla="*/ f437 f390 1"/>
                  <a:gd name="f554" fmla="*/ f438 f389 1"/>
                  <a:gd name="f555" fmla="*/ f439 f390 1"/>
                  <a:gd name="f556" fmla="*/ f440 f389 1"/>
                  <a:gd name="f557" fmla="*/ f441 f390 1"/>
                  <a:gd name="f558" fmla="*/ f442 f389 1"/>
                  <a:gd name="f559" fmla="*/ f443 f390 1"/>
                  <a:gd name="f560" fmla="*/ f444 f389 1"/>
                  <a:gd name="f561" fmla="*/ f445 f390 1"/>
                  <a:gd name="f562" fmla="*/ f446 f389 1"/>
                  <a:gd name="f563" fmla="*/ f447 f390 1"/>
                  <a:gd name="f564" fmla="*/ f448 f389 1"/>
                  <a:gd name="f565" fmla="*/ f449 f390 1"/>
                  <a:gd name="f566" fmla="*/ f450 f389 1"/>
                  <a:gd name="f567" fmla="*/ f451 f390 1"/>
                  <a:gd name="f568" fmla="*/ f452 f389 1"/>
                  <a:gd name="f569" fmla="*/ f453 f389 1"/>
                  <a:gd name="f570" fmla="*/ f454 f390 1"/>
                  <a:gd name="f571" fmla="*/ f455 f389 1"/>
                  <a:gd name="f572" fmla="*/ f456 f390 1"/>
                  <a:gd name="f573" fmla="*/ f457 f389 1"/>
                  <a:gd name="f574" fmla="*/ f458 f390 1"/>
                  <a:gd name="f575" fmla="*/ f459 f389 1"/>
                  <a:gd name="f576" fmla="*/ f460 f390 1"/>
                  <a:gd name="f577" fmla="*/ f461 f389 1"/>
                  <a:gd name="f578" fmla="*/ f462 f390 1"/>
                  <a:gd name="f579" fmla="*/ f463 f389 1"/>
                  <a:gd name="f580" fmla="*/ f464 f390 1"/>
                  <a:gd name="f581" fmla="*/ f465 f389 1"/>
                  <a:gd name="f582" fmla="*/ f466 f390 1"/>
                  <a:gd name="f583" fmla="*/ f467 f389 1"/>
                  <a:gd name="f584" fmla="*/ f468 f390 1"/>
                  <a:gd name="f585" fmla="*/ f469 f389 1"/>
                  <a:gd name="f586" fmla="*/ f470 f390 1"/>
                  <a:gd name="f587" fmla="*/ f471 f389 1"/>
                  <a:gd name="f588" fmla="*/ f472 f390 1"/>
                  <a:gd name="f589" fmla="*/ f473 f389 1"/>
                  <a:gd name="f590" fmla="*/ f474 f390 1"/>
                  <a:gd name="f591" fmla="*/ f475 f389 1"/>
                  <a:gd name="f592" fmla="*/ f476 f390 1"/>
                  <a:gd name="f593" fmla="*/ f477 f389 1"/>
                  <a:gd name="f594" fmla="*/ f478 f390 1"/>
                  <a:gd name="f595" fmla="*/ f479 f389 1"/>
                  <a:gd name="f596" fmla="*/ f480 f389 1"/>
                  <a:gd name="f597" fmla="*/ f481 f389 1"/>
                  <a:gd name="f598" fmla="*/ f482 f390 1"/>
                  <a:gd name="f599" fmla="*/ f483 f389 1"/>
                  <a:gd name="f600" fmla="*/ f484 f390 1"/>
                  <a:gd name="f601" fmla="*/ f485 f389 1"/>
                  <a:gd name="f602" fmla="*/ f486 f390 1"/>
                  <a:gd name="f603" fmla="*/ f487 f389 1"/>
                  <a:gd name="f604" fmla="*/ f488 f390 1"/>
                  <a:gd name="f605" fmla="*/ f489 f389 1"/>
                  <a:gd name="f606" fmla="*/ f490 f389 1"/>
                  <a:gd name="f607" fmla="*/ f491 f390 1"/>
                  <a:gd name="f608" fmla="*/ f492 f389 1"/>
                  <a:gd name="f609" fmla="*/ f493 f390 1"/>
                  <a:gd name="f610" fmla="*/ f494 f389 1"/>
                  <a:gd name="f611" fmla="*/ f495 f390 1"/>
                  <a:gd name="f612" fmla="*/ f496 f389 1"/>
                  <a:gd name="f613" fmla="*/ f497 f390 1"/>
                  <a:gd name="f614" fmla="*/ f498 f389 1"/>
                  <a:gd name="f615" fmla="*/ f499 f390 1"/>
                  <a:gd name="f616" fmla="*/ f500 f389 1"/>
                  <a:gd name="f617" fmla="*/ f501 f390 1"/>
                  <a:gd name="f618" fmla="*/ f502 f389 1"/>
                  <a:gd name="f619" fmla="*/ f503 f39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08">
                    <a:pos x="f513" y="f514"/>
                  </a:cxn>
                  <a:cxn ang="f508">
                    <a:pos x="f515" y="f516"/>
                  </a:cxn>
                  <a:cxn ang="f508">
                    <a:pos x="f517" y="f518"/>
                  </a:cxn>
                  <a:cxn ang="f508">
                    <a:pos x="f519" y="f520"/>
                  </a:cxn>
                  <a:cxn ang="f508">
                    <a:pos x="f521" y="f522"/>
                  </a:cxn>
                  <a:cxn ang="f508">
                    <a:pos x="f523" y="f524"/>
                  </a:cxn>
                  <a:cxn ang="f508">
                    <a:pos x="f525" y="f526"/>
                  </a:cxn>
                  <a:cxn ang="f508">
                    <a:pos x="f527" y="f528"/>
                  </a:cxn>
                  <a:cxn ang="f508">
                    <a:pos x="f529" y="f530"/>
                  </a:cxn>
                  <a:cxn ang="f508">
                    <a:pos x="f531" y="f532"/>
                  </a:cxn>
                  <a:cxn ang="f508">
                    <a:pos x="f533" y="f534"/>
                  </a:cxn>
                  <a:cxn ang="f508">
                    <a:pos x="f535" y="f536"/>
                  </a:cxn>
                  <a:cxn ang="f508">
                    <a:pos x="f537" y="f538"/>
                  </a:cxn>
                  <a:cxn ang="f508">
                    <a:pos x="f539" y="f528"/>
                  </a:cxn>
                  <a:cxn ang="f508">
                    <a:pos x="f540" y="f541"/>
                  </a:cxn>
                  <a:cxn ang="f508">
                    <a:pos x="f542" y="f543"/>
                  </a:cxn>
                  <a:cxn ang="f508">
                    <a:pos x="f544" y="f545"/>
                  </a:cxn>
                  <a:cxn ang="f508">
                    <a:pos x="f546" y="f547"/>
                  </a:cxn>
                  <a:cxn ang="f508">
                    <a:pos x="f548" y="f549"/>
                  </a:cxn>
                  <a:cxn ang="f508">
                    <a:pos x="f550" y="f551"/>
                  </a:cxn>
                  <a:cxn ang="f508">
                    <a:pos x="f552" y="f553"/>
                  </a:cxn>
                  <a:cxn ang="f508">
                    <a:pos x="f554" y="f555"/>
                  </a:cxn>
                  <a:cxn ang="f508">
                    <a:pos x="f556" y="f557"/>
                  </a:cxn>
                  <a:cxn ang="f508">
                    <a:pos x="f558" y="f559"/>
                  </a:cxn>
                  <a:cxn ang="f508">
                    <a:pos x="f560" y="f561"/>
                  </a:cxn>
                  <a:cxn ang="f508">
                    <a:pos x="f562" y="f563"/>
                  </a:cxn>
                  <a:cxn ang="f508">
                    <a:pos x="f564" y="f565"/>
                  </a:cxn>
                  <a:cxn ang="f508">
                    <a:pos x="f566" y="f567"/>
                  </a:cxn>
                  <a:cxn ang="f508">
                    <a:pos x="f568" y="f565"/>
                  </a:cxn>
                  <a:cxn ang="f508">
                    <a:pos x="f569" y="f570"/>
                  </a:cxn>
                  <a:cxn ang="f508">
                    <a:pos x="f571" y="f572"/>
                  </a:cxn>
                  <a:cxn ang="f508">
                    <a:pos x="f573" y="f574"/>
                  </a:cxn>
                  <a:cxn ang="f508">
                    <a:pos x="f575" y="f576"/>
                  </a:cxn>
                  <a:cxn ang="f508">
                    <a:pos x="f577" y="f578"/>
                  </a:cxn>
                  <a:cxn ang="f508">
                    <a:pos x="f579" y="f580"/>
                  </a:cxn>
                  <a:cxn ang="f508">
                    <a:pos x="f581" y="f582"/>
                  </a:cxn>
                  <a:cxn ang="f508">
                    <a:pos x="f583" y="f584"/>
                  </a:cxn>
                  <a:cxn ang="f508">
                    <a:pos x="f585" y="f586"/>
                  </a:cxn>
                  <a:cxn ang="f508">
                    <a:pos x="f587" y="f588"/>
                  </a:cxn>
                  <a:cxn ang="f508">
                    <a:pos x="f589" y="f590"/>
                  </a:cxn>
                  <a:cxn ang="f508">
                    <a:pos x="f591" y="f592"/>
                  </a:cxn>
                  <a:cxn ang="f508">
                    <a:pos x="f593" y="f594"/>
                  </a:cxn>
                  <a:cxn ang="f508">
                    <a:pos x="f595" y="f565"/>
                  </a:cxn>
                  <a:cxn ang="f508">
                    <a:pos x="f596" y="f561"/>
                  </a:cxn>
                  <a:cxn ang="f508">
                    <a:pos x="f597" y="f598"/>
                  </a:cxn>
                  <a:cxn ang="f508">
                    <a:pos x="f599" y="f600"/>
                  </a:cxn>
                  <a:cxn ang="f508">
                    <a:pos x="f601" y="f602"/>
                  </a:cxn>
                  <a:cxn ang="f508">
                    <a:pos x="f603" y="f604"/>
                  </a:cxn>
                  <a:cxn ang="f508">
                    <a:pos x="f605" y="f545"/>
                  </a:cxn>
                  <a:cxn ang="f508">
                    <a:pos x="f606" y="f607"/>
                  </a:cxn>
                  <a:cxn ang="f508">
                    <a:pos x="f608" y="f609"/>
                  </a:cxn>
                  <a:cxn ang="f508">
                    <a:pos x="f575" y="f528"/>
                  </a:cxn>
                  <a:cxn ang="f508">
                    <a:pos x="f610" y="f611"/>
                  </a:cxn>
                  <a:cxn ang="f508">
                    <a:pos x="f612" y="f613"/>
                  </a:cxn>
                  <a:cxn ang="f508">
                    <a:pos x="f614" y="f615"/>
                  </a:cxn>
                  <a:cxn ang="f508">
                    <a:pos x="f616" y="f617"/>
                  </a:cxn>
                  <a:cxn ang="f508">
                    <a:pos x="f618" y="f619"/>
                  </a:cxn>
                </a:cxnLst>
                <a:rect l="f509" t="f512" r="f510" b="f511"/>
                <a:pathLst>
                  <a:path w="688" h="597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0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18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12" y="f25"/>
                    </a:lnTo>
                    <a:lnTo>
                      <a:pt x="f26" y="f27"/>
                    </a:lnTo>
                    <a:lnTo>
                      <a:pt x="f26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4"/>
                    </a:lnTo>
                    <a:lnTo>
                      <a:pt x="f38" y="f36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1" y="f43"/>
                    </a:lnTo>
                    <a:lnTo>
                      <a:pt x="f39" y="f44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9" y="f49"/>
                    </a:lnTo>
                    <a:lnTo>
                      <a:pt x="f50" y="f51"/>
                    </a:lnTo>
                    <a:lnTo>
                      <a:pt x="f12" y="f51"/>
                    </a:lnTo>
                    <a:lnTo>
                      <a:pt x="f14" y="f48"/>
                    </a:lnTo>
                    <a:lnTo>
                      <a:pt x="f52" y="f49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4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44"/>
                    </a:lnTo>
                    <a:lnTo>
                      <a:pt x="f85" y="f86"/>
                    </a:lnTo>
                    <a:lnTo>
                      <a:pt x="f85" y="f43"/>
                    </a:lnTo>
                    <a:lnTo>
                      <a:pt x="f87" y="f88"/>
                    </a:lnTo>
                    <a:lnTo>
                      <a:pt x="f87" y="f89"/>
                    </a:lnTo>
                    <a:lnTo>
                      <a:pt x="f85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4"/>
                    </a:lnTo>
                    <a:lnTo>
                      <a:pt x="f96" y="f92"/>
                    </a:lnTo>
                    <a:lnTo>
                      <a:pt x="f97" y="f90"/>
                    </a:lnTo>
                    <a:lnTo>
                      <a:pt x="f98" y="f90"/>
                    </a:lnTo>
                    <a:lnTo>
                      <a:pt x="f99" y="f94"/>
                    </a:lnTo>
                    <a:lnTo>
                      <a:pt x="f100" y="f40"/>
                    </a:lnTo>
                    <a:lnTo>
                      <a:pt x="f101" y="f32"/>
                    </a:lnTo>
                    <a:lnTo>
                      <a:pt x="f102" y="f103"/>
                    </a:lnTo>
                    <a:lnTo>
                      <a:pt x="f7" y="f104"/>
                    </a:lnTo>
                    <a:lnTo>
                      <a:pt x="f101" y="f105"/>
                    </a:lnTo>
                    <a:lnTo>
                      <a:pt x="f101" y="f106"/>
                    </a:lnTo>
                    <a:lnTo>
                      <a:pt x="f102" y="f107"/>
                    </a:lnTo>
                    <a:lnTo>
                      <a:pt x="f108" y="f109"/>
                    </a:lnTo>
                    <a:lnTo>
                      <a:pt x="f110" y="f24"/>
                    </a:lnTo>
                    <a:lnTo>
                      <a:pt x="f111" y="f112"/>
                    </a:lnTo>
                    <a:lnTo>
                      <a:pt x="f113" y="f114"/>
                    </a:lnTo>
                    <a:lnTo>
                      <a:pt x="f115" y="f114"/>
                    </a:lnTo>
                    <a:lnTo>
                      <a:pt x="f116" y="f117"/>
                    </a:lnTo>
                    <a:lnTo>
                      <a:pt x="f118" y="f117"/>
                    </a:lnTo>
                    <a:lnTo>
                      <a:pt x="f119" y="f120"/>
                    </a:lnTo>
                    <a:lnTo>
                      <a:pt x="f121" y="f109"/>
                    </a:lnTo>
                    <a:lnTo>
                      <a:pt x="f122" y="f123"/>
                    </a:lnTo>
                    <a:lnTo>
                      <a:pt x="f122" y="f124"/>
                    </a:lnTo>
                    <a:lnTo>
                      <a:pt x="f125" y="f126"/>
                    </a:lnTo>
                    <a:lnTo>
                      <a:pt x="f127" y="f128"/>
                    </a:lnTo>
                    <a:lnTo>
                      <a:pt x="f129" y="f40"/>
                    </a:lnTo>
                    <a:lnTo>
                      <a:pt x="f130" y="f131"/>
                    </a:lnTo>
                    <a:lnTo>
                      <a:pt x="f132" y="f92"/>
                    </a:lnTo>
                    <a:lnTo>
                      <a:pt x="f133" y="f134"/>
                    </a:lnTo>
                    <a:lnTo>
                      <a:pt x="f135" y="f86"/>
                    </a:lnTo>
                    <a:lnTo>
                      <a:pt x="f6" y="f136"/>
                    </a:lnTo>
                    <a:lnTo>
                      <a:pt x="f6" y="f137"/>
                    </a:lnTo>
                    <a:lnTo>
                      <a:pt x="f135" y="f48"/>
                    </a:lnTo>
                    <a:lnTo>
                      <a:pt x="f138" y="f78"/>
                    </a:ln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148"/>
                    </a:lnTo>
                    <a:lnTo>
                      <a:pt x="f115" y="f148"/>
                    </a:lnTo>
                    <a:lnTo>
                      <a:pt x="f149" y="f150"/>
                    </a:lnTo>
                    <a:lnTo>
                      <a:pt x="f151" y="f146"/>
                    </a:lnTo>
                    <a:lnTo>
                      <a:pt x="f152" y="f153"/>
                    </a:lnTo>
                    <a:lnTo>
                      <a:pt x="f154" y="f153"/>
                    </a:lnTo>
                    <a:lnTo>
                      <a:pt x="f155" y="f146"/>
                    </a:lnTo>
                    <a:lnTo>
                      <a:pt x="f156" y="f150"/>
                    </a:lnTo>
                    <a:lnTo>
                      <a:pt x="f157" y="f158"/>
                    </a:lnTo>
                    <a:lnTo>
                      <a:pt x="f159" y="f160"/>
                    </a:lnTo>
                    <a:lnTo>
                      <a:pt x="f91" y="f161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6" y="f167"/>
                    </a:lnTo>
                    <a:lnTo>
                      <a:pt x="f168" y="f169"/>
                    </a:lnTo>
                    <a:lnTo>
                      <a:pt x="f170" y="f171"/>
                    </a:lnTo>
                    <a:lnTo>
                      <a:pt x="f172" y="f41"/>
                    </a:lnTo>
                    <a:lnTo>
                      <a:pt x="f173" y="f37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lnTo>
                      <a:pt x="f180" y="f181"/>
                    </a:lnTo>
                    <a:lnTo>
                      <a:pt x="f182" y="f26"/>
                    </a:lnTo>
                    <a:lnTo>
                      <a:pt x="f183" y="f29"/>
                    </a:lnTo>
                    <a:lnTo>
                      <a:pt x="f184" y="f185"/>
                    </a:lnTo>
                    <a:lnTo>
                      <a:pt x="f18" y="f35"/>
                    </a:lnTo>
                    <a:lnTo>
                      <a:pt x="f21" y="f186"/>
                    </a:lnTo>
                    <a:lnTo>
                      <a:pt x="f187" y="f188"/>
                    </a:lnTo>
                    <a:lnTo>
                      <a:pt x="f189" y="f190"/>
                    </a:lnTo>
                    <a:lnTo>
                      <a:pt x="f191" y="f192"/>
                    </a:lnTo>
                    <a:lnTo>
                      <a:pt x="f193" y="f192"/>
                    </a:lnTo>
                    <a:lnTo>
                      <a:pt x="f194" y="f190"/>
                    </a:lnTo>
                    <a:lnTo>
                      <a:pt x="f37" y="f195"/>
                    </a:lnTo>
                    <a:lnTo>
                      <a:pt x="f41" y="f41"/>
                    </a:lnTo>
                    <a:lnTo>
                      <a:pt x="f196" y="f8"/>
                    </a:lnTo>
                    <a:lnTo>
                      <a:pt x="f197" y="f8"/>
                    </a:lnTo>
                    <a:lnTo>
                      <a:pt x="f198" y="f39"/>
                    </a:lnTo>
                    <a:lnTo>
                      <a:pt x="f167" y="f39"/>
                    </a:lnTo>
                    <a:lnTo>
                      <a:pt x="f163" y="f8"/>
                    </a:lnTo>
                    <a:lnTo>
                      <a:pt x="f199" y="f45"/>
                    </a:lnTo>
                    <a:lnTo>
                      <a:pt x="f200" y="f47"/>
                    </a:lnTo>
                    <a:lnTo>
                      <a:pt x="f201" y="f202"/>
                    </a:lnTo>
                    <a:lnTo>
                      <a:pt x="f203" y="f33"/>
                    </a:lnTo>
                    <a:lnTo>
                      <a:pt x="f204" y="f179"/>
                    </a:lnTo>
                    <a:lnTo>
                      <a:pt x="f204" y="f12"/>
                    </a:lnTo>
                    <a:lnTo>
                      <a:pt x="f167" y="f205"/>
                    </a:lnTo>
                    <a:lnTo>
                      <a:pt x="f203" y="f206"/>
                    </a:lnTo>
                    <a:lnTo>
                      <a:pt x="f204" y="f52"/>
                    </a:lnTo>
                    <a:lnTo>
                      <a:pt x="f207" y="f208"/>
                    </a:lnTo>
                    <a:lnTo>
                      <a:pt x="f209" y="f210"/>
                    </a:lnTo>
                    <a:lnTo>
                      <a:pt x="f211" y="f184"/>
                    </a:lnTo>
                    <a:lnTo>
                      <a:pt x="f196" y="f212"/>
                    </a:lnTo>
                    <a:lnTo>
                      <a:pt x="f213" y="f214"/>
                    </a:lnTo>
                    <a:lnTo>
                      <a:pt x="f45" y="f215"/>
                    </a:lnTo>
                    <a:lnTo>
                      <a:pt x="f47" y="f216"/>
                    </a:lnTo>
                    <a:lnTo>
                      <a:pt x="f217" y="f61"/>
                    </a:lnTo>
                    <a:lnTo>
                      <a:pt x="f218" y="f219"/>
                    </a:lnTo>
                    <a:lnTo>
                      <a:pt x="f11" y="f220"/>
                    </a:lnTo>
                    <a:lnTo>
                      <a:pt x="f193" y="f69"/>
                    </a:lnTo>
                    <a:lnTo>
                      <a:pt x="f29" y="f221"/>
                    </a:lnTo>
                    <a:lnTo>
                      <a:pt x="f29" y="f176"/>
                    </a:lnTo>
                    <a:lnTo>
                      <a:pt x="f193" y="f222"/>
                    </a:lnTo>
                    <a:lnTo>
                      <a:pt x="f31" y="f223"/>
                    </a:lnTo>
                    <a:lnTo>
                      <a:pt x="f185" y="f224"/>
                    </a:lnTo>
                    <a:lnTo>
                      <a:pt x="f33" y="f225"/>
                    </a:lnTo>
                    <a:lnTo>
                      <a:pt x="f226" y="f75"/>
                    </a:lnTo>
                    <a:lnTo>
                      <a:pt x="f227" y="f228"/>
                    </a:lnTo>
                    <a:lnTo>
                      <a:pt x="f9" y="f229"/>
                    </a:lnTo>
                    <a:lnTo>
                      <a:pt x="f175" y="f230"/>
                    </a:lnTo>
                    <a:lnTo>
                      <a:pt x="f29" y="f231"/>
                    </a:lnTo>
                    <a:lnTo>
                      <a:pt x="f232" y="f173"/>
                    </a:lnTo>
                    <a:lnTo>
                      <a:pt x="f205" y="f233"/>
                    </a:lnTo>
                    <a:lnTo>
                      <a:pt x="f191" y="f234"/>
                    </a:lnTo>
                    <a:lnTo>
                      <a:pt x="f29" y="f235"/>
                    </a:lnTo>
                    <a:lnTo>
                      <a:pt x="f47" y="f235"/>
                    </a:lnTo>
                    <a:lnTo>
                      <a:pt x="f236" y="f237"/>
                    </a:lnTo>
                    <a:lnTo>
                      <a:pt x="f197" y="f237"/>
                    </a:lnTo>
                    <a:lnTo>
                      <a:pt x="f238" y="f234"/>
                    </a:lnTo>
                    <a:lnTo>
                      <a:pt x="f201" y="f234"/>
                    </a:lnTo>
                    <a:lnTo>
                      <a:pt x="f239" y="f172"/>
                    </a:lnTo>
                    <a:lnTo>
                      <a:pt x="f153" y="f173"/>
                    </a:lnTo>
                    <a:lnTo>
                      <a:pt x="f240" y="f231"/>
                    </a:lnTo>
                    <a:lnTo>
                      <a:pt x="f241" y="f229"/>
                    </a:lnTo>
                    <a:lnTo>
                      <a:pt x="f242" y="f229"/>
                    </a:lnTo>
                    <a:lnTo>
                      <a:pt x="f243" y="f231"/>
                    </a:lnTo>
                    <a:lnTo>
                      <a:pt x="f244" y="f245"/>
                    </a:lnTo>
                    <a:lnTo>
                      <a:pt x="f74" y="f246"/>
                    </a:lnTo>
                    <a:lnTo>
                      <a:pt x="f247" y="f248"/>
                    </a:lnTo>
                    <a:lnTo>
                      <a:pt x="f249" y="f250"/>
                    </a:lnTo>
                    <a:lnTo>
                      <a:pt x="f51" y="f251"/>
                    </a:lnTo>
                    <a:lnTo>
                      <a:pt x="f252" y="f253"/>
                    </a:lnTo>
                    <a:lnTo>
                      <a:pt x="f254" y="f255"/>
                    </a:lnTo>
                    <a:lnTo>
                      <a:pt x="f256" y="f257"/>
                    </a:lnTo>
                    <a:lnTo>
                      <a:pt x="f258" y="f259"/>
                    </a:lnTo>
                    <a:lnTo>
                      <a:pt x="f260" y="f97"/>
                    </a:lnTo>
                    <a:lnTo>
                      <a:pt x="f36" y="f261"/>
                    </a:lnTo>
                    <a:lnTo>
                      <a:pt x="f40" y="f262"/>
                    </a:lnTo>
                    <a:lnTo>
                      <a:pt x="f131" y="f263"/>
                    </a:lnTo>
                    <a:lnTo>
                      <a:pt x="f258" y="f264"/>
                    </a:lnTo>
                    <a:lnTo>
                      <a:pt x="f92" y="f100"/>
                    </a:lnTo>
                    <a:lnTo>
                      <a:pt x="f265" y="f266"/>
                    </a:lnTo>
                    <a:lnTo>
                      <a:pt x="f267" y="f101"/>
                    </a:lnTo>
                    <a:lnTo>
                      <a:pt x="f36" y="f7"/>
                    </a:lnTo>
                    <a:lnTo>
                      <a:pt x="f268" y="f7"/>
                    </a:lnTo>
                    <a:lnTo>
                      <a:pt x="f269" y="f270"/>
                    </a:lnTo>
                    <a:lnTo>
                      <a:pt x="f104" y="f271"/>
                    </a:lnTo>
                    <a:lnTo>
                      <a:pt x="f272" y="f273"/>
                    </a:lnTo>
                    <a:lnTo>
                      <a:pt x="f28" y="f274"/>
                    </a:lnTo>
                    <a:lnTo>
                      <a:pt x="f272" y="f99"/>
                    </a:lnTo>
                    <a:lnTo>
                      <a:pt x="f275" y="f98"/>
                    </a:lnTo>
                    <a:lnTo>
                      <a:pt x="f272" y="f276"/>
                    </a:lnTo>
                    <a:lnTo>
                      <a:pt x="f277" y="f276"/>
                    </a:lnTo>
                    <a:lnTo>
                      <a:pt x="f278" y="f154"/>
                    </a:lnTo>
                    <a:lnTo>
                      <a:pt x="f279" y="f99"/>
                    </a:lnTo>
                    <a:lnTo>
                      <a:pt x="f280" y="f264"/>
                    </a:lnTo>
                    <a:lnTo>
                      <a:pt x="f281" y="f264"/>
                    </a:lnTo>
                    <a:lnTo>
                      <a:pt x="f282" y="f99"/>
                    </a:lnTo>
                    <a:lnTo>
                      <a:pt x="f283" y="f262"/>
                    </a:lnTo>
                    <a:lnTo>
                      <a:pt x="f284" y="f285"/>
                    </a:lnTo>
                    <a:lnTo>
                      <a:pt x="f284" y="f255"/>
                    </a:lnTo>
                    <a:lnTo>
                      <a:pt x="f283" y="f286"/>
                    </a:lnTo>
                    <a:lnTo>
                      <a:pt x="f287" y="f286"/>
                    </a:lnTo>
                    <a:lnTo>
                      <a:pt x="f280" y="f288"/>
                    </a:lnTo>
                    <a:lnTo>
                      <a:pt x="f289" y="f290"/>
                    </a:lnTo>
                    <a:lnTo>
                      <a:pt x="f291" y="f157"/>
                    </a:lnTo>
                    <a:lnTo>
                      <a:pt x="f292" y="f290"/>
                    </a:lnTo>
                    <a:lnTo>
                      <a:pt x="f277" y="f288"/>
                    </a:lnTo>
                    <a:lnTo>
                      <a:pt x="f104" y="f293"/>
                    </a:lnTo>
                    <a:lnTo>
                      <a:pt x="f104" y="f294"/>
                    </a:lnTo>
                    <a:lnTo>
                      <a:pt x="f295" y="f93"/>
                    </a:lnTo>
                    <a:lnTo>
                      <a:pt x="f28" y="f296"/>
                    </a:lnTo>
                    <a:lnTo>
                      <a:pt x="f277" y="f84"/>
                    </a:lnTo>
                    <a:lnTo>
                      <a:pt x="f277" y="f297"/>
                    </a:lnTo>
                    <a:lnTo>
                      <a:pt x="f298" y="f299"/>
                    </a:lnTo>
                    <a:lnTo>
                      <a:pt x="f272" y="f82"/>
                    </a:lnTo>
                    <a:lnTo>
                      <a:pt x="f300" y="f301"/>
                    </a:lnTo>
                    <a:lnTo>
                      <a:pt x="f302" y="f79"/>
                    </a:lnTo>
                    <a:lnTo>
                      <a:pt x="f303" y="f235"/>
                    </a:lnTo>
                    <a:lnTo>
                      <a:pt x="f260" y="f79"/>
                    </a:lnTo>
                    <a:lnTo>
                      <a:pt x="f304" y="f79"/>
                    </a:lnTo>
                    <a:lnTo>
                      <a:pt x="f305" y="f237"/>
                    </a:lnTo>
                    <a:lnTo>
                      <a:pt x="f306" y="f307"/>
                    </a:lnTo>
                    <a:lnTo>
                      <a:pt x="f308" y="f309"/>
                    </a:lnTo>
                    <a:lnTo>
                      <a:pt x="f86" y="f310"/>
                    </a:lnTo>
                    <a:lnTo>
                      <a:pt x="f306" y="f228"/>
                    </a:lnTo>
                    <a:lnTo>
                      <a:pt x="f88" y="f75"/>
                    </a:lnTo>
                    <a:lnTo>
                      <a:pt x="f256" y="f225"/>
                    </a:lnTo>
                    <a:lnTo>
                      <a:pt x="f89" y="f311"/>
                    </a:lnTo>
                    <a:lnTo>
                      <a:pt x="f304" y="f311"/>
                    </a:lnTo>
                    <a:lnTo>
                      <a:pt x="f265" y="f223"/>
                    </a:lnTo>
                    <a:lnTo>
                      <a:pt x="f258" y="f312"/>
                    </a:lnTo>
                    <a:lnTo>
                      <a:pt x="f265" y="f313"/>
                    </a:lnTo>
                    <a:lnTo>
                      <a:pt x="f92" y="f67"/>
                    </a:lnTo>
                    <a:lnTo>
                      <a:pt x="f304" y="f314"/>
                    </a:lnTo>
                    <a:lnTo>
                      <a:pt x="f304" y="f220"/>
                    </a:lnTo>
                    <a:lnTo>
                      <a:pt x="f258" y="f220"/>
                    </a:lnTo>
                    <a:lnTo>
                      <a:pt x="f36" y="f65"/>
                    </a:lnTo>
                    <a:lnTo>
                      <a:pt x="f303" y="f65"/>
                    </a:lnTo>
                    <a:lnTo>
                      <a:pt x="f315" y="f316"/>
                    </a:lnTo>
                    <a:lnTo>
                      <a:pt x="f30" y="f67"/>
                    </a:lnTo>
                    <a:lnTo>
                      <a:pt x="f295" y="f313"/>
                    </a:lnTo>
                    <a:lnTo>
                      <a:pt x="f298" y="f317"/>
                    </a:lnTo>
                    <a:lnTo>
                      <a:pt x="f106" y="f318"/>
                    </a:lnTo>
                    <a:lnTo>
                      <a:pt x="f319" y="f310"/>
                    </a:lnTo>
                    <a:lnTo>
                      <a:pt x="f320" y="f309"/>
                    </a:lnTo>
                    <a:lnTo>
                      <a:pt x="f321" y="f231"/>
                    </a:lnTo>
                    <a:lnTo>
                      <a:pt x="f322" y="f229"/>
                    </a:lnTo>
                    <a:lnTo>
                      <a:pt x="f322" y="f225"/>
                    </a:lnTo>
                    <a:lnTo>
                      <a:pt x="f321" y="f312"/>
                    </a:lnTo>
                    <a:lnTo>
                      <a:pt x="f321" y="f323"/>
                    </a:lnTo>
                    <a:lnTo>
                      <a:pt x="f324" y="f316"/>
                    </a:lnTo>
                    <a:lnTo>
                      <a:pt x="f287" y="f220"/>
                    </a:lnTo>
                    <a:lnTo>
                      <a:pt x="f19" y="f220"/>
                    </a:lnTo>
                    <a:lnTo>
                      <a:pt x="f325" y="f326"/>
                    </a:lnTo>
                    <a:lnTo>
                      <a:pt x="f327" y="f328"/>
                    </a:lnTo>
                    <a:lnTo>
                      <a:pt x="f5" y="f329"/>
                    </a:lnTo>
                    <a:lnTo>
                      <a:pt x="f5" y="f330"/>
                    </a:lnTo>
                    <a:lnTo>
                      <a:pt x="f331" y="f332"/>
                    </a:lnTo>
                    <a:lnTo>
                      <a:pt x="f333" y="f55"/>
                    </a:lnTo>
                    <a:lnTo>
                      <a:pt x="f334" y="f335"/>
                    </a:lnTo>
                    <a:lnTo>
                      <a:pt x="f280" y="f336"/>
                    </a:lnTo>
                    <a:lnTo>
                      <a:pt x="f120" y="f337"/>
                    </a:lnTo>
                    <a:lnTo>
                      <a:pt x="f338" y="f208"/>
                    </a:lnTo>
                    <a:lnTo>
                      <a:pt x="f292" y="f339"/>
                    </a:lnTo>
                    <a:lnTo>
                      <a:pt x="f298" y="f205"/>
                    </a:lnTo>
                    <a:lnTo>
                      <a:pt x="f340" y="f341"/>
                    </a:lnTo>
                    <a:lnTo>
                      <a:pt x="f342" y="f26"/>
                    </a:lnTo>
                    <a:lnTo>
                      <a:pt x="f303" y="f29"/>
                    </a:lnTo>
                    <a:lnTo>
                      <a:pt x="f36" y="f31"/>
                    </a:lnTo>
                    <a:lnTo>
                      <a:pt x="f267" y="f11"/>
                    </a:lnTo>
                    <a:lnTo>
                      <a:pt x="f92" y="f226"/>
                    </a:lnTo>
                    <a:lnTo>
                      <a:pt x="f256" y="f37"/>
                    </a:lnTo>
                    <a:lnTo>
                      <a:pt x="f308" y="f39"/>
                    </a:lnTo>
                    <a:lnTo>
                      <a:pt x="f343" y="f195"/>
                    </a:lnTo>
                    <a:lnTo>
                      <a:pt x="f51" y="f236"/>
                    </a:lnTo>
                    <a:lnTo>
                      <a:pt x="f2" y="f190"/>
                    </a:lnTo>
                    <a:lnTo>
                      <a:pt x="f344" y="f345"/>
                    </a:lnTo>
                    <a:lnTo>
                      <a:pt x="f346" y="f209"/>
                    </a:lnTo>
                    <a:lnTo>
                      <a:pt x="f142" y="f347"/>
                    </a:lnTo>
                    <a:lnTo>
                      <a:pt x="f243" y="f348"/>
                    </a:lnTo>
                    <a:lnTo>
                      <a:pt x="f243" y="f201"/>
                    </a:lnTo>
                    <a:lnTo>
                      <a:pt x="f349" y="f160"/>
                    </a:lnTo>
                    <a:lnTo>
                      <a:pt x="f70" y="f350"/>
                    </a:lnTo>
                    <a:lnTo>
                      <a:pt x="f351" y="f239"/>
                    </a:lnTo>
                    <a:lnTo>
                      <a:pt x="f352" y="f148"/>
                    </a:lnTo>
                    <a:lnTo>
                      <a:pt x="f70" y="f146"/>
                    </a:lnTo>
                    <a:lnTo>
                      <a:pt x="f243" y="f353"/>
                    </a:lnTo>
                    <a:lnTo>
                      <a:pt x="f354" y="f355"/>
                    </a:lnTo>
                    <a:lnTo>
                      <a:pt x="f356" y="f64"/>
                    </a:lnTo>
                    <a:lnTo>
                      <a:pt x="f354" y="f354"/>
                    </a:lnTo>
                    <a:lnTo>
                      <a:pt x="f243" y="f357"/>
                    </a:lnTo>
                    <a:lnTo>
                      <a:pt x="f358" y="f344"/>
                    </a:lnTo>
                    <a:lnTo>
                      <a:pt x="f244" y="f74"/>
                    </a:lnTo>
                    <a:lnTo>
                      <a:pt x="f56" y="f54"/>
                    </a:lnTo>
                    <a:lnTo>
                      <a:pt x="f78" y="f247"/>
                    </a:lnTo>
                    <a:lnTo>
                      <a:pt x="f359" y="f360"/>
                    </a:lnTo>
                    <a:lnTo>
                      <a:pt x="f86" y="f49"/>
                    </a:lnTo>
                    <a:lnTo>
                      <a:pt x="f92" y="f81"/>
                    </a:lnTo>
                    <a:lnTo>
                      <a:pt x="f32" y="f83"/>
                    </a:lnTo>
                    <a:lnTo>
                      <a:pt x="f104" y="f86"/>
                    </a:lnTo>
                    <a:lnTo>
                      <a:pt x="f302" y="f361"/>
                    </a:lnTo>
                    <a:lnTo>
                      <a:pt x="f362" y="f363"/>
                    </a:lnTo>
                    <a:lnTo>
                      <a:pt x="f364" y="f90"/>
                    </a:lnTo>
                    <a:lnTo>
                      <a:pt x="f365" y="f363"/>
                    </a:lnTo>
                    <a:lnTo>
                      <a:pt x="f366" y="f367"/>
                    </a:lnTo>
                    <a:lnTo>
                      <a:pt x="f368" y="f369"/>
                    </a:lnTo>
                    <a:lnTo>
                      <a:pt x="f252" y="f369"/>
                    </a:lnTo>
                    <a:lnTo>
                      <a:pt x="f48" y="f370"/>
                    </a:lnTo>
                    <a:lnTo>
                      <a:pt x="f247" y="f371"/>
                    </a:lnTo>
                    <a:lnTo>
                      <a:pt x="f74" y="f42"/>
                    </a:lnTo>
                    <a:lnTo>
                      <a:pt x="f344" y="f36"/>
                    </a:lnTo>
                    <a:lnTo>
                      <a:pt x="f358" y="f128"/>
                    </a:lnTo>
                    <a:lnTo>
                      <a:pt x="f372" y="f32"/>
                    </a:lnTo>
                    <a:lnTo>
                      <a:pt x="f373" y="f374"/>
                    </a:lnTo>
                    <a:lnTo>
                      <a:pt x="f153" y="f103"/>
                    </a:lnTo>
                    <a:lnTo>
                      <a:pt x="f375" y="f376"/>
                    </a:lnTo>
                    <a:lnTo>
                      <a:pt x="f239" y="f377"/>
                    </a:lnTo>
                    <a:lnTo>
                      <a:pt x="f160" y="f340"/>
                    </a:lnTo>
                    <a:lnTo>
                      <a:pt x="f378" y="f379"/>
                    </a:lnTo>
                    <a:lnTo>
                      <a:pt x="f204" y="f380"/>
                    </a:lnTo>
                    <a:lnTo>
                      <a:pt x="f207" y="f105"/>
                    </a:lnTo>
                    <a:lnTo>
                      <a:pt x="f381" y="f278"/>
                    </a:lnTo>
                    <a:lnTo>
                      <a:pt x="f382" y="f383"/>
                    </a:lnTo>
                    <a:lnTo>
                      <a:pt x="f171" y="f112"/>
                    </a:lnTo>
                    <a:lnTo>
                      <a:pt x="f190" y="f321"/>
                    </a:lnTo>
                    <a:lnTo>
                      <a:pt x="f190" y="f287"/>
                    </a:lnTo>
                    <a:lnTo>
                      <a:pt x="f192" y="f334"/>
                    </a:lnTo>
                    <a:lnTo>
                      <a:pt x="f384" y="f284"/>
                    </a:lnTo>
                    <a:lnTo>
                      <a:pt x="f198" y="f385"/>
                    </a:lnTo>
                    <a:lnTo>
                      <a:pt x="f203" y="f386"/>
                    </a:lnTo>
                    <a:lnTo>
                      <a:pt x="f238" y="f387"/>
                    </a:lnTo>
                    <a:lnTo>
                      <a:pt x="f169" y="f15"/>
                    </a:lnTo>
                    <a:lnTo>
                      <a:pt x="f209" y="f327"/>
                    </a:lnTo>
                    <a:lnTo>
                      <a:pt x="f196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71" name="Freeform 33">
                <a:extLst>
                  <a:ext uri="{FF2B5EF4-FFF2-40B4-BE49-F238E27FC236}">
                    <a16:creationId xmlns:a16="http://schemas.microsoft.com/office/drawing/2014/main" id="{0AD85D55-EE57-4329-8BA8-580DCF198D63}"/>
                  </a:ext>
                </a:extLst>
              </p:cNvPr>
              <p:cNvSpPr/>
              <p:nvPr/>
            </p:nvSpPr>
            <p:spPr>
              <a:xfrm>
                <a:off x="4551416" y="2748183"/>
                <a:ext cx="5641" cy="6025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4"/>
                  <a:gd name="f7" fmla="val 37"/>
                  <a:gd name="f8" fmla="val 12"/>
                  <a:gd name="f9" fmla="val 15"/>
                  <a:gd name="f10" fmla="val 1"/>
                  <a:gd name="f11" fmla="val 18"/>
                  <a:gd name="f12" fmla="val 4"/>
                  <a:gd name="f13" fmla="val 22"/>
                  <a:gd name="f14" fmla="val 7"/>
                  <a:gd name="f15" fmla="val 24"/>
                  <a:gd name="f16" fmla="val 11"/>
                  <a:gd name="f17" fmla="val 27"/>
                  <a:gd name="f18" fmla="val 13"/>
                  <a:gd name="f19" fmla="val 30"/>
                  <a:gd name="f20" fmla="val 16"/>
                  <a:gd name="f21" fmla="val 31"/>
                  <a:gd name="f22" fmla="val 25"/>
                  <a:gd name="f23" fmla="val 26"/>
                  <a:gd name="f24" fmla="val 32"/>
                  <a:gd name="f25" fmla="val 8"/>
                  <a:gd name="f26" fmla="val 2"/>
                  <a:gd name="f27" fmla="val 29"/>
                  <a:gd name="f28" fmla="+- 0 0 -90"/>
                  <a:gd name="f29" fmla="*/ f3 1 34"/>
                  <a:gd name="f30" fmla="*/ f4 1 37"/>
                  <a:gd name="f31" fmla="+- f7 0 f5"/>
                  <a:gd name="f32" fmla="+- f6 0 f5"/>
                  <a:gd name="f33" fmla="*/ f28 f0 1"/>
                  <a:gd name="f34" fmla="*/ f32 1 34"/>
                  <a:gd name="f35" fmla="*/ f31 1 37"/>
                  <a:gd name="f36" fmla="*/ f33 1 f2"/>
                  <a:gd name="f37" fmla="*/ 12 1 f34"/>
                  <a:gd name="f38" fmla="*/ 0 1 f35"/>
                  <a:gd name="f39" fmla="*/ 15 1 f34"/>
                  <a:gd name="f40" fmla="*/ 1 1 f35"/>
                  <a:gd name="f41" fmla="*/ 18 1 f34"/>
                  <a:gd name="f42" fmla="*/ 4 1 f35"/>
                  <a:gd name="f43" fmla="*/ 22 1 f34"/>
                  <a:gd name="f44" fmla="*/ 7 1 f35"/>
                  <a:gd name="f45" fmla="*/ 24 1 f34"/>
                  <a:gd name="f46" fmla="*/ 11 1 f35"/>
                  <a:gd name="f47" fmla="*/ 27 1 f34"/>
                  <a:gd name="f48" fmla="*/ 13 1 f35"/>
                  <a:gd name="f49" fmla="*/ 30 1 f34"/>
                  <a:gd name="f50" fmla="*/ 15 1 f35"/>
                  <a:gd name="f51" fmla="*/ 34 1 f34"/>
                  <a:gd name="f52" fmla="*/ 16 1 f35"/>
                  <a:gd name="f53" fmla="*/ 31 1 f34"/>
                  <a:gd name="f54" fmla="*/ 25 1 f35"/>
                  <a:gd name="f55" fmla="*/ 26 1 f35"/>
                  <a:gd name="f56" fmla="*/ 32 1 f35"/>
                  <a:gd name="f57" fmla="*/ 8 1 f34"/>
                  <a:gd name="f58" fmla="*/ 37 1 f35"/>
                  <a:gd name="f59" fmla="*/ 2 1 f34"/>
                  <a:gd name="f60" fmla="*/ 29 1 f35"/>
                  <a:gd name="f61" fmla="*/ 0 1 f34"/>
                  <a:gd name="f62" fmla="*/ 22 1 f35"/>
                  <a:gd name="f63" fmla="*/ 1 1 f34"/>
                  <a:gd name="f64" fmla="*/ 4 1 f34"/>
                  <a:gd name="f65" fmla="*/ 2 1 f35"/>
                  <a:gd name="f66" fmla="*/ 11 1 f34"/>
                  <a:gd name="f67" fmla="*/ f6 1 f34"/>
                  <a:gd name="f68" fmla="*/ f7 1 f35"/>
                  <a:gd name="f69" fmla="+- f36 0 f1"/>
                  <a:gd name="f70" fmla="*/ f61 f29 1"/>
                  <a:gd name="f71" fmla="*/ f67 f29 1"/>
                  <a:gd name="f72" fmla="*/ f68 f30 1"/>
                  <a:gd name="f73" fmla="*/ f38 f30 1"/>
                  <a:gd name="f74" fmla="*/ f37 f29 1"/>
                  <a:gd name="f75" fmla="*/ f39 f29 1"/>
                  <a:gd name="f76" fmla="*/ f40 f30 1"/>
                  <a:gd name="f77" fmla="*/ f41 f29 1"/>
                  <a:gd name="f78" fmla="*/ f42 f30 1"/>
                  <a:gd name="f79" fmla="*/ f43 f29 1"/>
                  <a:gd name="f80" fmla="*/ f44 f30 1"/>
                  <a:gd name="f81" fmla="*/ f45 f29 1"/>
                  <a:gd name="f82" fmla="*/ f46 f30 1"/>
                  <a:gd name="f83" fmla="*/ f47 f29 1"/>
                  <a:gd name="f84" fmla="*/ f48 f30 1"/>
                  <a:gd name="f85" fmla="*/ f49 f29 1"/>
                  <a:gd name="f86" fmla="*/ f50 f30 1"/>
                  <a:gd name="f87" fmla="*/ f51 f29 1"/>
                  <a:gd name="f88" fmla="*/ f52 f30 1"/>
                  <a:gd name="f89" fmla="*/ f53 f29 1"/>
                  <a:gd name="f90" fmla="*/ f54 f30 1"/>
                  <a:gd name="f91" fmla="*/ f55 f30 1"/>
                  <a:gd name="f92" fmla="*/ f56 f30 1"/>
                  <a:gd name="f93" fmla="*/ f57 f29 1"/>
                  <a:gd name="f94" fmla="*/ f58 f30 1"/>
                  <a:gd name="f95" fmla="*/ f59 f29 1"/>
                  <a:gd name="f96" fmla="*/ f60 f30 1"/>
                  <a:gd name="f97" fmla="*/ f62 f30 1"/>
                  <a:gd name="f98" fmla="*/ f63 f29 1"/>
                  <a:gd name="f99" fmla="*/ f64 f29 1"/>
                  <a:gd name="f100" fmla="*/ f65 f30 1"/>
                  <a:gd name="f101" fmla="*/ f66 f2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9">
                    <a:pos x="f74" y="f73"/>
                  </a:cxn>
                  <a:cxn ang="f69">
                    <a:pos x="f75" y="f76"/>
                  </a:cxn>
                  <a:cxn ang="f69">
                    <a:pos x="f77" y="f78"/>
                  </a:cxn>
                  <a:cxn ang="f69">
                    <a:pos x="f79" y="f80"/>
                  </a:cxn>
                  <a:cxn ang="f69">
                    <a:pos x="f81" y="f82"/>
                  </a:cxn>
                  <a:cxn ang="f69">
                    <a:pos x="f83" y="f84"/>
                  </a:cxn>
                  <a:cxn ang="f69">
                    <a:pos x="f85" y="f86"/>
                  </a:cxn>
                  <a:cxn ang="f69">
                    <a:pos x="f87" y="f88"/>
                  </a:cxn>
                  <a:cxn ang="f69">
                    <a:pos x="f89" y="f90"/>
                  </a:cxn>
                  <a:cxn ang="f69">
                    <a:pos x="f85" y="f91"/>
                  </a:cxn>
                  <a:cxn ang="f69">
                    <a:pos x="f79" y="f92"/>
                  </a:cxn>
                  <a:cxn ang="f69">
                    <a:pos x="f93" y="f94"/>
                  </a:cxn>
                  <a:cxn ang="f69">
                    <a:pos x="f95" y="f96"/>
                  </a:cxn>
                  <a:cxn ang="f69">
                    <a:pos x="f70" y="f97"/>
                  </a:cxn>
                  <a:cxn ang="f69">
                    <a:pos x="f98" y="f86"/>
                  </a:cxn>
                  <a:cxn ang="f69">
                    <a:pos x="f99" y="f82"/>
                  </a:cxn>
                  <a:cxn ang="f69">
                    <a:pos x="f93" y="f100"/>
                  </a:cxn>
                  <a:cxn ang="f69">
                    <a:pos x="f101" y="f76"/>
                  </a:cxn>
                  <a:cxn ang="f69">
                    <a:pos x="f74" y="f73"/>
                  </a:cxn>
                </a:cxnLst>
                <a:rect l="f70" t="f73" r="f71" b="f72"/>
                <a:pathLst>
                  <a:path w="34" h="37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9"/>
                    </a:lnTo>
                    <a:lnTo>
                      <a:pt x="f6" y="f20"/>
                    </a:lnTo>
                    <a:lnTo>
                      <a:pt x="f21" y="f22"/>
                    </a:lnTo>
                    <a:lnTo>
                      <a:pt x="f19" y="f23"/>
                    </a:lnTo>
                    <a:lnTo>
                      <a:pt x="f13" y="f24"/>
                    </a:lnTo>
                    <a:lnTo>
                      <a:pt x="f25" y="f7"/>
                    </a:lnTo>
                    <a:lnTo>
                      <a:pt x="f26" y="f27"/>
                    </a:lnTo>
                    <a:lnTo>
                      <a:pt x="f5" y="f13"/>
                    </a:lnTo>
                    <a:lnTo>
                      <a:pt x="f10" y="f9"/>
                    </a:lnTo>
                    <a:lnTo>
                      <a:pt x="f12" y="f16"/>
                    </a:lnTo>
                    <a:lnTo>
                      <a:pt x="f25" y="f26"/>
                    </a:lnTo>
                    <a:lnTo>
                      <a:pt x="f16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72" name="Freeform 34">
                <a:extLst>
                  <a:ext uri="{FF2B5EF4-FFF2-40B4-BE49-F238E27FC236}">
                    <a16:creationId xmlns:a16="http://schemas.microsoft.com/office/drawing/2014/main" id="{E3438C74-9042-4BAC-94F9-46178C8AAAB4}"/>
                  </a:ext>
                </a:extLst>
              </p:cNvPr>
              <p:cNvSpPr/>
              <p:nvPr/>
            </p:nvSpPr>
            <p:spPr>
              <a:xfrm>
                <a:off x="4552742" y="2749481"/>
                <a:ext cx="21899" cy="24414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32"/>
                  <a:gd name="f7" fmla="val 150"/>
                  <a:gd name="f8" fmla="val 41"/>
                  <a:gd name="f9" fmla="val 45"/>
                  <a:gd name="f10" fmla="val 50"/>
                  <a:gd name="f11" fmla="val 4"/>
                  <a:gd name="f12" fmla="val 52"/>
                  <a:gd name="f13" fmla="val 12"/>
                  <a:gd name="f14" fmla="val 15"/>
                  <a:gd name="f15" fmla="val 54"/>
                  <a:gd name="f16" fmla="val 18"/>
                  <a:gd name="f17" fmla="val 22"/>
                  <a:gd name="f18" fmla="val 55"/>
                  <a:gd name="f19" fmla="val 24"/>
                  <a:gd name="f20" fmla="val 58"/>
                  <a:gd name="f21" fmla="val 25"/>
                  <a:gd name="f22" fmla="val 62"/>
                  <a:gd name="f23" fmla="val 69"/>
                  <a:gd name="f24" fmla="val 91"/>
                  <a:gd name="f25" fmla="val 21"/>
                  <a:gd name="f26" fmla="val 103"/>
                  <a:gd name="f27" fmla="val 115"/>
                  <a:gd name="f28" fmla="val 17"/>
                  <a:gd name="f29" fmla="val 124"/>
                  <a:gd name="f30" fmla="val 130"/>
                  <a:gd name="f31" fmla="val 19"/>
                  <a:gd name="f32" fmla="val 33"/>
                  <a:gd name="f33" fmla="val 119"/>
                  <a:gd name="f34" fmla="val 47"/>
                  <a:gd name="f35" fmla="val 113"/>
                  <a:gd name="f36" fmla="val 79"/>
                  <a:gd name="f37" fmla="val 109"/>
                  <a:gd name="f38" fmla="val 101"/>
                  <a:gd name="f39" fmla="val 97"/>
                  <a:gd name="f40" fmla="val 98"/>
                  <a:gd name="f41" fmla="val 105"/>
                  <a:gd name="f42" fmla="val 112"/>
                  <a:gd name="f43" fmla="val 120"/>
                  <a:gd name="f44" fmla="val 111"/>
                  <a:gd name="f45" fmla="val 127"/>
                  <a:gd name="f46" fmla="val 118"/>
                  <a:gd name="f47" fmla="val 131"/>
                  <a:gd name="f48" fmla="val 125"/>
                  <a:gd name="f49" fmla="val 134"/>
                  <a:gd name="f50" fmla="val 126"/>
                  <a:gd name="f51" fmla="val 144"/>
                  <a:gd name="f52" fmla="val 148"/>
                  <a:gd name="f53" fmla="val 106"/>
                  <a:gd name="f54" fmla="val 94"/>
                  <a:gd name="f55" fmla="val 147"/>
                  <a:gd name="f56" fmla="val 81"/>
                  <a:gd name="f57" fmla="val 140"/>
                  <a:gd name="f58" fmla="val 70"/>
                  <a:gd name="f59" fmla="val 129"/>
                  <a:gd name="f60" fmla="val 59"/>
                  <a:gd name="f61" fmla="val 48"/>
                  <a:gd name="f62" fmla="val 107"/>
                  <a:gd name="f63" fmla="val 39"/>
                  <a:gd name="f64" fmla="val 27"/>
                  <a:gd name="f65" fmla="val 86"/>
                  <a:gd name="f66" fmla="val 14"/>
                  <a:gd name="f67" fmla="val 67"/>
                  <a:gd name="f68" fmla="val 7"/>
                  <a:gd name="f69" fmla="val 3"/>
                  <a:gd name="f70" fmla="val 36"/>
                  <a:gd name="f71" fmla="val 1"/>
                  <a:gd name="f72" fmla="val 32"/>
                  <a:gd name="f73" fmla="val 29"/>
                  <a:gd name="f74" fmla="val 23"/>
                  <a:gd name="f75" fmla="val 26"/>
                  <a:gd name="f76" fmla="val 8"/>
                  <a:gd name="f77" fmla="val 37"/>
                  <a:gd name="f78" fmla="+- 0 0 -90"/>
                  <a:gd name="f79" fmla="*/ f3 1 132"/>
                  <a:gd name="f80" fmla="*/ f4 1 150"/>
                  <a:gd name="f81" fmla="+- f7 0 f5"/>
                  <a:gd name="f82" fmla="+- f6 0 f5"/>
                  <a:gd name="f83" fmla="*/ f78 f0 1"/>
                  <a:gd name="f84" fmla="*/ f82 1 132"/>
                  <a:gd name="f85" fmla="*/ f81 1 150"/>
                  <a:gd name="f86" fmla="*/ f83 1 f2"/>
                  <a:gd name="f87" fmla="*/ 41 1 f84"/>
                  <a:gd name="f88" fmla="*/ 0 1 f85"/>
                  <a:gd name="f89" fmla="*/ 45 1 f84"/>
                  <a:gd name="f90" fmla="*/ 50 1 f84"/>
                  <a:gd name="f91" fmla="*/ 4 1 f85"/>
                  <a:gd name="f92" fmla="*/ 52 1 f84"/>
                  <a:gd name="f93" fmla="*/ 12 1 f85"/>
                  <a:gd name="f94" fmla="*/ 15 1 f85"/>
                  <a:gd name="f95" fmla="*/ 54 1 f84"/>
                  <a:gd name="f96" fmla="*/ 18 1 f85"/>
                  <a:gd name="f97" fmla="*/ 22 1 f85"/>
                  <a:gd name="f98" fmla="*/ 55 1 f84"/>
                  <a:gd name="f99" fmla="*/ 24 1 f85"/>
                  <a:gd name="f100" fmla="*/ 58 1 f84"/>
                  <a:gd name="f101" fmla="*/ 25 1 f85"/>
                  <a:gd name="f102" fmla="*/ 62 1 f84"/>
                  <a:gd name="f103" fmla="*/ 69 1 f84"/>
                  <a:gd name="f104" fmla="*/ 91 1 f84"/>
                  <a:gd name="f105" fmla="*/ 21 1 f85"/>
                  <a:gd name="f106" fmla="*/ 103 1 f84"/>
                  <a:gd name="f107" fmla="*/ 115 1 f84"/>
                  <a:gd name="f108" fmla="*/ 17 1 f85"/>
                  <a:gd name="f109" fmla="*/ 124 1 f84"/>
                  <a:gd name="f110" fmla="*/ 130 1 f84"/>
                  <a:gd name="f111" fmla="*/ 19 1 f85"/>
                  <a:gd name="f112" fmla="*/ 132 1 f84"/>
                  <a:gd name="f113" fmla="*/ 33 1 f85"/>
                  <a:gd name="f114" fmla="*/ 119 1 f84"/>
                  <a:gd name="f115" fmla="*/ 47 1 f85"/>
                  <a:gd name="f116" fmla="*/ 54 1 f85"/>
                  <a:gd name="f117" fmla="*/ 113 1 f84"/>
                  <a:gd name="f118" fmla="*/ 62 1 f85"/>
                  <a:gd name="f119" fmla="*/ 79 1 f85"/>
                  <a:gd name="f120" fmla="*/ 109 1 f84"/>
                  <a:gd name="f121" fmla="*/ 91 1 f85"/>
                  <a:gd name="f122" fmla="*/ 101 1 f84"/>
                  <a:gd name="f123" fmla="*/ 97 1 f85"/>
                  <a:gd name="f124" fmla="*/ 98 1 f85"/>
                  <a:gd name="f125" fmla="*/ 105 1 f84"/>
                  <a:gd name="f126" fmla="*/ 101 1 f85"/>
                  <a:gd name="f127" fmla="*/ 112 1 f84"/>
                  <a:gd name="f128" fmla="*/ 105 1 f85"/>
                  <a:gd name="f129" fmla="*/ 120 1 f84"/>
                  <a:gd name="f130" fmla="*/ 111 1 f85"/>
                  <a:gd name="f131" fmla="*/ 127 1 f84"/>
                  <a:gd name="f132" fmla="*/ 118 1 f85"/>
                  <a:gd name="f133" fmla="*/ 131 1 f84"/>
                  <a:gd name="f134" fmla="*/ 125 1 f85"/>
                  <a:gd name="f135" fmla="*/ 134 1 f85"/>
                  <a:gd name="f136" fmla="*/ 126 1 f84"/>
                  <a:gd name="f137" fmla="*/ 144 1 f85"/>
                  <a:gd name="f138" fmla="*/ 148 1 f85"/>
                  <a:gd name="f139" fmla="*/ 106 1 f84"/>
                  <a:gd name="f140" fmla="*/ 150 1 f85"/>
                  <a:gd name="f141" fmla="*/ 94 1 f84"/>
                  <a:gd name="f142" fmla="*/ 147 1 f85"/>
                  <a:gd name="f143" fmla="*/ 81 1 f84"/>
                  <a:gd name="f144" fmla="*/ 140 1 f85"/>
                  <a:gd name="f145" fmla="*/ 70 1 f84"/>
                  <a:gd name="f146" fmla="*/ 129 1 f85"/>
                  <a:gd name="f147" fmla="*/ 59 1 f84"/>
                  <a:gd name="f148" fmla="*/ 115 1 f85"/>
                  <a:gd name="f149" fmla="*/ 48 1 f84"/>
                  <a:gd name="f150" fmla="*/ 107 1 f85"/>
                  <a:gd name="f151" fmla="*/ 39 1 f84"/>
                  <a:gd name="f152" fmla="*/ 27 1 f84"/>
                  <a:gd name="f153" fmla="*/ 86 1 f85"/>
                  <a:gd name="f154" fmla="*/ 14 1 f84"/>
                  <a:gd name="f155" fmla="*/ 67 1 f85"/>
                  <a:gd name="f156" fmla="*/ 7 1 f84"/>
                  <a:gd name="f157" fmla="*/ 50 1 f85"/>
                  <a:gd name="f158" fmla="*/ 3 1 f84"/>
                  <a:gd name="f159" fmla="*/ 36 1 f85"/>
                  <a:gd name="f160" fmla="*/ 1 1 f84"/>
                  <a:gd name="f161" fmla="*/ 32 1 f85"/>
                  <a:gd name="f162" fmla="*/ 0 1 f84"/>
                  <a:gd name="f163" fmla="*/ 29 1 f85"/>
                  <a:gd name="f164" fmla="*/ 22 1 f84"/>
                  <a:gd name="f165" fmla="*/ 23 1 f84"/>
                  <a:gd name="f166" fmla="*/ 26 1 f84"/>
                  <a:gd name="f167" fmla="*/ 8 1 f85"/>
                  <a:gd name="f168" fmla="*/ 29 1 f84"/>
                  <a:gd name="f169" fmla="*/ 37 1 f84"/>
                  <a:gd name="f170" fmla="*/ 1 1 f85"/>
                  <a:gd name="f171" fmla="*/ f6 1 f84"/>
                  <a:gd name="f172" fmla="*/ f7 1 f85"/>
                  <a:gd name="f173" fmla="+- f86 0 f1"/>
                  <a:gd name="f174" fmla="*/ f162 f79 1"/>
                  <a:gd name="f175" fmla="*/ f171 f79 1"/>
                  <a:gd name="f176" fmla="*/ f172 f80 1"/>
                  <a:gd name="f177" fmla="*/ f88 f80 1"/>
                  <a:gd name="f178" fmla="*/ f87 f79 1"/>
                  <a:gd name="f179" fmla="*/ f89 f79 1"/>
                  <a:gd name="f180" fmla="*/ f90 f79 1"/>
                  <a:gd name="f181" fmla="*/ f91 f80 1"/>
                  <a:gd name="f182" fmla="*/ f92 f79 1"/>
                  <a:gd name="f183" fmla="*/ f93 f80 1"/>
                  <a:gd name="f184" fmla="*/ f94 f80 1"/>
                  <a:gd name="f185" fmla="*/ f95 f79 1"/>
                  <a:gd name="f186" fmla="*/ f96 f80 1"/>
                  <a:gd name="f187" fmla="*/ f97 f80 1"/>
                  <a:gd name="f188" fmla="*/ f98 f79 1"/>
                  <a:gd name="f189" fmla="*/ f99 f80 1"/>
                  <a:gd name="f190" fmla="*/ f100 f79 1"/>
                  <a:gd name="f191" fmla="*/ f101 f80 1"/>
                  <a:gd name="f192" fmla="*/ f102 f79 1"/>
                  <a:gd name="f193" fmla="*/ f103 f79 1"/>
                  <a:gd name="f194" fmla="*/ f104 f79 1"/>
                  <a:gd name="f195" fmla="*/ f105 f80 1"/>
                  <a:gd name="f196" fmla="*/ f106 f79 1"/>
                  <a:gd name="f197" fmla="*/ f107 f79 1"/>
                  <a:gd name="f198" fmla="*/ f108 f80 1"/>
                  <a:gd name="f199" fmla="*/ f109 f79 1"/>
                  <a:gd name="f200" fmla="*/ f110 f79 1"/>
                  <a:gd name="f201" fmla="*/ f111 f80 1"/>
                  <a:gd name="f202" fmla="*/ f112 f79 1"/>
                  <a:gd name="f203" fmla="*/ f113 f80 1"/>
                  <a:gd name="f204" fmla="*/ f114 f79 1"/>
                  <a:gd name="f205" fmla="*/ f115 f80 1"/>
                  <a:gd name="f206" fmla="*/ f116 f80 1"/>
                  <a:gd name="f207" fmla="*/ f117 f79 1"/>
                  <a:gd name="f208" fmla="*/ f118 f80 1"/>
                  <a:gd name="f209" fmla="*/ f119 f80 1"/>
                  <a:gd name="f210" fmla="*/ f120 f79 1"/>
                  <a:gd name="f211" fmla="*/ f121 f80 1"/>
                  <a:gd name="f212" fmla="*/ f122 f79 1"/>
                  <a:gd name="f213" fmla="*/ f123 f80 1"/>
                  <a:gd name="f214" fmla="*/ f124 f80 1"/>
                  <a:gd name="f215" fmla="*/ f125 f79 1"/>
                  <a:gd name="f216" fmla="*/ f126 f80 1"/>
                  <a:gd name="f217" fmla="*/ f127 f79 1"/>
                  <a:gd name="f218" fmla="*/ f128 f80 1"/>
                  <a:gd name="f219" fmla="*/ f129 f79 1"/>
                  <a:gd name="f220" fmla="*/ f130 f80 1"/>
                  <a:gd name="f221" fmla="*/ f131 f79 1"/>
                  <a:gd name="f222" fmla="*/ f132 f80 1"/>
                  <a:gd name="f223" fmla="*/ f133 f79 1"/>
                  <a:gd name="f224" fmla="*/ f134 f80 1"/>
                  <a:gd name="f225" fmla="*/ f135 f80 1"/>
                  <a:gd name="f226" fmla="*/ f136 f79 1"/>
                  <a:gd name="f227" fmla="*/ f137 f80 1"/>
                  <a:gd name="f228" fmla="*/ f138 f80 1"/>
                  <a:gd name="f229" fmla="*/ f139 f79 1"/>
                  <a:gd name="f230" fmla="*/ f140 f80 1"/>
                  <a:gd name="f231" fmla="*/ f141 f79 1"/>
                  <a:gd name="f232" fmla="*/ f142 f80 1"/>
                  <a:gd name="f233" fmla="*/ f143 f79 1"/>
                  <a:gd name="f234" fmla="*/ f144 f80 1"/>
                  <a:gd name="f235" fmla="*/ f145 f79 1"/>
                  <a:gd name="f236" fmla="*/ f146 f80 1"/>
                  <a:gd name="f237" fmla="*/ f147 f79 1"/>
                  <a:gd name="f238" fmla="*/ f148 f80 1"/>
                  <a:gd name="f239" fmla="*/ f149 f79 1"/>
                  <a:gd name="f240" fmla="*/ f150 f80 1"/>
                  <a:gd name="f241" fmla="*/ f151 f79 1"/>
                  <a:gd name="f242" fmla="*/ f152 f79 1"/>
                  <a:gd name="f243" fmla="*/ f153 f80 1"/>
                  <a:gd name="f244" fmla="*/ f154 f79 1"/>
                  <a:gd name="f245" fmla="*/ f155 f80 1"/>
                  <a:gd name="f246" fmla="*/ f156 f79 1"/>
                  <a:gd name="f247" fmla="*/ f157 f80 1"/>
                  <a:gd name="f248" fmla="*/ f158 f79 1"/>
                  <a:gd name="f249" fmla="*/ f159 f80 1"/>
                  <a:gd name="f250" fmla="*/ f160 f79 1"/>
                  <a:gd name="f251" fmla="*/ f161 f80 1"/>
                  <a:gd name="f252" fmla="*/ f163 f80 1"/>
                  <a:gd name="f253" fmla="*/ f164 f79 1"/>
                  <a:gd name="f254" fmla="*/ f165 f79 1"/>
                  <a:gd name="f255" fmla="*/ f166 f79 1"/>
                  <a:gd name="f256" fmla="*/ f167 f80 1"/>
                  <a:gd name="f257" fmla="*/ f168 f79 1"/>
                  <a:gd name="f258" fmla="*/ f169 f79 1"/>
                  <a:gd name="f259" fmla="*/ f170 f8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73">
                    <a:pos x="f178" y="f177"/>
                  </a:cxn>
                  <a:cxn ang="f173">
                    <a:pos x="f179" y="f177"/>
                  </a:cxn>
                  <a:cxn ang="f173">
                    <a:pos x="f180" y="f181"/>
                  </a:cxn>
                  <a:cxn ang="f173">
                    <a:pos x="f182" y="f183"/>
                  </a:cxn>
                  <a:cxn ang="f173">
                    <a:pos x="f182" y="f184"/>
                  </a:cxn>
                  <a:cxn ang="f173">
                    <a:pos x="f185" y="f186"/>
                  </a:cxn>
                  <a:cxn ang="f173">
                    <a:pos x="f185" y="f187"/>
                  </a:cxn>
                  <a:cxn ang="f173">
                    <a:pos x="f188" y="f189"/>
                  </a:cxn>
                  <a:cxn ang="f173">
                    <a:pos x="f190" y="f191"/>
                  </a:cxn>
                  <a:cxn ang="f173">
                    <a:pos x="f192" y="f191"/>
                  </a:cxn>
                  <a:cxn ang="f173">
                    <a:pos x="f193" y="f189"/>
                  </a:cxn>
                  <a:cxn ang="f173">
                    <a:pos x="f194" y="f195"/>
                  </a:cxn>
                  <a:cxn ang="f173">
                    <a:pos x="f196" y="f186"/>
                  </a:cxn>
                  <a:cxn ang="f173">
                    <a:pos x="f197" y="f198"/>
                  </a:cxn>
                  <a:cxn ang="f173">
                    <a:pos x="f199" y="f186"/>
                  </a:cxn>
                  <a:cxn ang="f173">
                    <a:pos x="f200" y="f201"/>
                  </a:cxn>
                  <a:cxn ang="f173">
                    <a:pos x="f202" y="f191"/>
                  </a:cxn>
                  <a:cxn ang="f173">
                    <a:pos x="f200" y="f203"/>
                  </a:cxn>
                  <a:cxn ang="f173">
                    <a:pos x="f204" y="f205"/>
                  </a:cxn>
                  <a:cxn ang="f173">
                    <a:pos x="f197" y="f206"/>
                  </a:cxn>
                  <a:cxn ang="f173">
                    <a:pos x="f207" y="f208"/>
                  </a:cxn>
                  <a:cxn ang="f173">
                    <a:pos x="f207" y="f209"/>
                  </a:cxn>
                  <a:cxn ang="f173">
                    <a:pos x="f210" y="f211"/>
                  </a:cxn>
                  <a:cxn ang="f173">
                    <a:pos x="f212" y="f213"/>
                  </a:cxn>
                  <a:cxn ang="f173">
                    <a:pos x="f212" y="f214"/>
                  </a:cxn>
                  <a:cxn ang="f173">
                    <a:pos x="f215" y="f216"/>
                  </a:cxn>
                  <a:cxn ang="f173">
                    <a:pos x="f217" y="f218"/>
                  </a:cxn>
                  <a:cxn ang="f173">
                    <a:pos x="f219" y="f220"/>
                  </a:cxn>
                  <a:cxn ang="f173">
                    <a:pos x="f221" y="f222"/>
                  </a:cxn>
                  <a:cxn ang="f173">
                    <a:pos x="f223" y="f224"/>
                  </a:cxn>
                  <a:cxn ang="f173">
                    <a:pos x="f223" y="f225"/>
                  </a:cxn>
                  <a:cxn ang="f173">
                    <a:pos x="f226" y="f227"/>
                  </a:cxn>
                  <a:cxn ang="f173">
                    <a:pos x="f204" y="f228"/>
                  </a:cxn>
                  <a:cxn ang="f173">
                    <a:pos x="f229" y="f230"/>
                  </a:cxn>
                  <a:cxn ang="f173">
                    <a:pos x="f231" y="f232"/>
                  </a:cxn>
                  <a:cxn ang="f173">
                    <a:pos x="f233" y="f234"/>
                  </a:cxn>
                  <a:cxn ang="f173">
                    <a:pos x="f235" y="f236"/>
                  </a:cxn>
                  <a:cxn ang="f173">
                    <a:pos x="f237" y="f238"/>
                  </a:cxn>
                  <a:cxn ang="f173">
                    <a:pos x="f239" y="f240"/>
                  </a:cxn>
                  <a:cxn ang="f173">
                    <a:pos x="f241" y="f214"/>
                  </a:cxn>
                  <a:cxn ang="f173">
                    <a:pos x="f242" y="f243"/>
                  </a:cxn>
                  <a:cxn ang="f173">
                    <a:pos x="f244" y="f245"/>
                  </a:cxn>
                  <a:cxn ang="f173">
                    <a:pos x="f246" y="f247"/>
                  </a:cxn>
                  <a:cxn ang="f173">
                    <a:pos x="f248" y="f249"/>
                  </a:cxn>
                  <a:cxn ang="f173">
                    <a:pos x="f248" y="f203"/>
                  </a:cxn>
                  <a:cxn ang="f173">
                    <a:pos x="f250" y="f251"/>
                  </a:cxn>
                  <a:cxn ang="f173">
                    <a:pos x="f174" y="f252"/>
                  </a:cxn>
                  <a:cxn ang="f173">
                    <a:pos x="f244" y="f189"/>
                  </a:cxn>
                  <a:cxn ang="f173">
                    <a:pos x="f253" y="f186"/>
                  </a:cxn>
                  <a:cxn ang="f173">
                    <a:pos x="f254" y="f198"/>
                  </a:cxn>
                  <a:cxn ang="f173">
                    <a:pos x="f255" y="f256"/>
                  </a:cxn>
                  <a:cxn ang="f173">
                    <a:pos x="f257" y="f256"/>
                  </a:cxn>
                  <a:cxn ang="f173">
                    <a:pos x="f258" y="f181"/>
                  </a:cxn>
                  <a:cxn ang="f173">
                    <a:pos x="f241" y="f259"/>
                  </a:cxn>
                  <a:cxn ang="f173">
                    <a:pos x="f178" y="f177"/>
                  </a:cxn>
                </a:cxnLst>
                <a:rect l="f174" t="f177" r="f175" b="f176"/>
                <a:pathLst>
                  <a:path w="132" h="150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2" y="f14"/>
                    </a:lnTo>
                    <a:lnTo>
                      <a:pt x="f15" y="f16"/>
                    </a:lnTo>
                    <a:lnTo>
                      <a:pt x="f15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1"/>
                    </a:lnTo>
                    <a:lnTo>
                      <a:pt x="f23" y="f19"/>
                    </a:lnTo>
                    <a:lnTo>
                      <a:pt x="f24" y="f25"/>
                    </a:lnTo>
                    <a:lnTo>
                      <a:pt x="f26" y="f16"/>
                    </a:lnTo>
                    <a:lnTo>
                      <a:pt x="f27" y="f28"/>
                    </a:lnTo>
                    <a:lnTo>
                      <a:pt x="f29" y="f16"/>
                    </a:lnTo>
                    <a:lnTo>
                      <a:pt x="f30" y="f31"/>
                    </a:lnTo>
                    <a:lnTo>
                      <a:pt x="f6" y="f21"/>
                    </a:lnTo>
                    <a:lnTo>
                      <a:pt x="f30" y="f32"/>
                    </a:lnTo>
                    <a:lnTo>
                      <a:pt x="f33" y="f34"/>
                    </a:lnTo>
                    <a:lnTo>
                      <a:pt x="f27" y="f15"/>
                    </a:lnTo>
                    <a:lnTo>
                      <a:pt x="f35" y="f22"/>
                    </a:lnTo>
                    <a:lnTo>
                      <a:pt x="f35" y="f36"/>
                    </a:lnTo>
                    <a:lnTo>
                      <a:pt x="f37" y="f24"/>
                    </a:lnTo>
                    <a:lnTo>
                      <a:pt x="f38" y="f39"/>
                    </a:lnTo>
                    <a:lnTo>
                      <a:pt x="f38" y="f40"/>
                    </a:lnTo>
                    <a:lnTo>
                      <a:pt x="f41" y="f38"/>
                    </a:lnTo>
                    <a:lnTo>
                      <a:pt x="f42" y="f41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47" y="f49"/>
                    </a:lnTo>
                    <a:lnTo>
                      <a:pt x="f50" y="f51"/>
                    </a:lnTo>
                    <a:lnTo>
                      <a:pt x="f33" y="f52"/>
                    </a:lnTo>
                    <a:lnTo>
                      <a:pt x="f53" y="f7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27"/>
                    </a:lnTo>
                    <a:lnTo>
                      <a:pt x="f61" y="f62"/>
                    </a:lnTo>
                    <a:lnTo>
                      <a:pt x="f63" y="f40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10"/>
                    </a:lnTo>
                    <a:lnTo>
                      <a:pt x="f69" y="f70"/>
                    </a:lnTo>
                    <a:lnTo>
                      <a:pt x="f69" y="f32"/>
                    </a:lnTo>
                    <a:lnTo>
                      <a:pt x="f71" y="f72"/>
                    </a:lnTo>
                    <a:lnTo>
                      <a:pt x="f5" y="f73"/>
                    </a:lnTo>
                    <a:lnTo>
                      <a:pt x="f66" y="f19"/>
                    </a:lnTo>
                    <a:lnTo>
                      <a:pt x="f17" y="f16"/>
                    </a:lnTo>
                    <a:lnTo>
                      <a:pt x="f74" y="f28"/>
                    </a:lnTo>
                    <a:lnTo>
                      <a:pt x="f75" y="f76"/>
                    </a:lnTo>
                    <a:lnTo>
                      <a:pt x="f73" y="f76"/>
                    </a:lnTo>
                    <a:lnTo>
                      <a:pt x="f77" y="f11"/>
                    </a:lnTo>
                    <a:lnTo>
                      <a:pt x="f63" y="f71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73" name="Freeform 35">
                <a:extLst>
                  <a:ext uri="{FF2B5EF4-FFF2-40B4-BE49-F238E27FC236}">
                    <a16:creationId xmlns:a16="http://schemas.microsoft.com/office/drawing/2014/main" id="{B14505F4-AC94-4CE7-8183-CBE544DE849B}"/>
                  </a:ext>
                </a:extLst>
              </p:cNvPr>
              <p:cNvSpPr/>
              <p:nvPr/>
            </p:nvSpPr>
            <p:spPr>
              <a:xfrm>
                <a:off x="4556894" y="2664835"/>
                <a:ext cx="99203" cy="78300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598"/>
                  <a:gd name="f8" fmla="val 481"/>
                  <a:gd name="f9" fmla="val 533"/>
                  <a:gd name="f10" fmla="val 543"/>
                  <a:gd name="f11" fmla="val 1"/>
                  <a:gd name="f12" fmla="val 550"/>
                  <a:gd name="f13" fmla="val 4"/>
                  <a:gd name="f14" fmla="val 554"/>
                  <a:gd name="f15" fmla="val 12"/>
                  <a:gd name="f16" fmla="val 555"/>
                  <a:gd name="f17" fmla="val 25"/>
                  <a:gd name="f18" fmla="val 557"/>
                  <a:gd name="f19" fmla="val 36"/>
                  <a:gd name="f20" fmla="val 559"/>
                  <a:gd name="f21" fmla="val 48"/>
                  <a:gd name="f22" fmla="val 565"/>
                  <a:gd name="f23" fmla="val 57"/>
                  <a:gd name="f24" fmla="val 580"/>
                  <a:gd name="f25" fmla="val 68"/>
                  <a:gd name="f26" fmla="val 82"/>
                  <a:gd name="f27" fmla="val 588"/>
                  <a:gd name="f28" fmla="val 91"/>
                  <a:gd name="f29" fmla="val 104"/>
                  <a:gd name="f30" fmla="val 573"/>
                  <a:gd name="f31" fmla="val 115"/>
                  <a:gd name="f32" fmla="val 568"/>
                  <a:gd name="f33" fmla="val 126"/>
                  <a:gd name="f34" fmla="val 566"/>
                  <a:gd name="f35" fmla="val 134"/>
                  <a:gd name="f36" fmla="val 144"/>
                  <a:gd name="f37" fmla="val 572"/>
                  <a:gd name="f38" fmla="val 154"/>
                  <a:gd name="f39" fmla="val 161"/>
                  <a:gd name="f40" fmla="val 175"/>
                  <a:gd name="f41" fmla="val 182"/>
                  <a:gd name="f42" fmla="val 569"/>
                  <a:gd name="f43" fmla="val 188"/>
                  <a:gd name="f44" fmla="val 197"/>
                  <a:gd name="f45" fmla="val 574"/>
                  <a:gd name="f46" fmla="val 204"/>
                  <a:gd name="f47" fmla="val 209"/>
                  <a:gd name="f48" fmla="val 218"/>
                  <a:gd name="f49" fmla="val 551"/>
                  <a:gd name="f50" fmla="val 245"/>
                  <a:gd name="f51" fmla="val 544"/>
                  <a:gd name="f52" fmla="val 256"/>
                  <a:gd name="f53" fmla="val 537"/>
                  <a:gd name="f54" fmla="val 261"/>
                  <a:gd name="f55" fmla="val 532"/>
                  <a:gd name="f56" fmla="val 526"/>
                  <a:gd name="f57" fmla="val 259"/>
                  <a:gd name="f58" fmla="val 521"/>
                  <a:gd name="f59" fmla="val 515"/>
                  <a:gd name="f60" fmla="val 265"/>
                  <a:gd name="f61" fmla="val 507"/>
                  <a:gd name="f62" fmla="val 274"/>
                  <a:gd name="f63" fmla="val 503"/>
                  <a:gd name="f64" fmla="val 284"/>
                  <a:gd name="f65" fmla="val 505"/>
                  <a:gd name="f66" fmla="val 297"/>
                  <a:gd name="f67" fmla="val 510"/>
                  <a:gd name="f68" fmla="val 302"/>
                  <a:gd name="f69" fmla="val 516"/>
                  <a:gd name="f70" fmla="val 309"/>
                  <a:gd name="f71" fmla="val 525"/>
                  <a:gd name="f72" fmla="val 315"/>
                  <a:gd name="f73" fmla="val 530"/>
                  <a:gd name="f74" fmla="val 323"/>
                  <a:gd name="f75" fmla="val 333"/>
                  <a:gd name="f76" fmla="val 536"/>
                  <a:gd name="f77" fmla="val 345"/>
                  <a:gd name="f78" fmla="val 356"/>
                  <a:gd name="f79" fmla="val 552"/>
                  <a:gd name="f80" fmla="val 363"/>
                  <a:gd name="f81" fmla="val 562"/>
                  <a:gd name="f82" fmla="val 369"/>
                  <a:gd name="f83" fmla="val 374"/>
                  <a:gd name="f84" fmla="val 381"/>
                  <a:gd name="f85" fmla="val 570"/>
                  <a:gd name="f86" fmla="val 388"/>
                  <a:gd name="f87" fmla="val 395"/>
                  <a:gd name="f88" fmla="val 563"/>
                  <a:gd name="f89" fmla="val 401"/>
                  <a:gd name="f90" fmla="val 423"/>
                  <a:gd name="f91" fmla="val 428"/>
                  <a:gd name="f92" fmla="val 431"/>
                  <a:gd name="f93" fmla="val 548"/>
                  <a:gd name="f94" fmla="val 434"/>
                  <a:gd name="f95" fmla="val 440"/>
                  <a:gd name="f96" fmla="val 446"/>
                  <a:gd name="f97" fmla="val 487"/>
                  <a:gd name="f98" fmla="val 466"/>
                  <a:gd name="f99" fmla="val 457"/>
                  <a:gd name="f100" fmla="val 453"/>
                  <a:gd name="f101" fmla="val 478"/>
                  <a:gd name="f102" fmla="val 447"/>
                  <a:gd name="f103" fmla="val 470"/>
                  <a:gd name="f104" fmla="val 443"/>
                  <a:gd name="f105" fmla="val 459"/>
                  <a:gd name="f106" fmla="val 449"/>
                  <a:gd name="f107" fmla="val 438"/>
                  <a:gd name="f108" fmla="val 435"/>
                  <a:gd name="f109" fmla="val 427"/>
                  <a:gd name="f110" fmla="val 419"/>
                  <a:gd name="f111" fmla="val 425"/>
                  <a:gd name="f112" fmla="val 413"/>
                  <a:gd name="f113" fmla="val 417"/>
                  <a:gd name="f114" fmla="val 410"/>
                  <a:gd name="f115" fmla="val 405"/>
                  <a:gd name="f116" fmla="val 424"/>
                  <a:gd name="f117" fmla="val 389"/>
                  <a:gd name="f118" fmla="val 433"/>
                  <a:gd name="f119" fmla="val 378"/>
                  <a:gd name="f120" fmla="val 421"/>
                  <a:gd name="f121" fmla="val 371"/>
                  <a:gd name="f122" fmla="val 416"/>
                  <a:gd name="f123" fmla="val 415"/>
                  <a:gd name="f124" fmla="val 353"/>
                  <a:gd name="f125" fmla="val 342"/>
                  <a:gd name="f126" fmla="val 324"/>
                  <a:gd name="f127" fmla="val 317"/>
                  <a:gd name="f128" fmla="val 442"/>
                  <a:gd name="f129" fmla="val 311"/>
                  <a:gd name="f130" fmla="val 441"/>
                  <a:gd name="f131" fmla="val 308"/>
                  <a:gd name="f132" fmla="val 412"/>
                  <a:gd name="f133" fmla="val 304"/>
                  <a:gd name="f134" fmla="val 406"/>
                  <a:gd name="f135" fmla="val 403"/>
                  <a:gd name="f136" fmla="val 288"/>
                  <a:gd name="f137" fmla="val 282"/>
                  <a:gd name="f138" fmla="val 277"/>
                  <a:gd name="f139" fmla="val 273"/>
                  <a:gd name="f140" fmla="val 266"/>
                  <a:gd name="f141" fmla="val 257"/>
                  <a:gd name="f142" fmla="val 402"/>
                  <a:gd name="f143" fmla="val 244"/>
                  <a:gd name="f144" fmla="val 398"/>
                  <a:gd name="f145" fmla="val 235"/>
                  <a:gd name="f146" fmla="val 397"/>
                  <a:gd name="f147" fmla="val 229"/>
                  <a:gd name="f148" fmla="val 225"/>
                  <a:gd name="f149" fmla="val 392"/>
                  <a:gd name="f150" fmla="val 221"/>
                  <a:gd name="f151" fmla="val 387"/>
                  <a:gd name="f152" fmla="val 355"/>
                  <a:gd name="f153" fmla="val 215"/>
                  <a:gd name="f154" fmla="val 347"/>
                  <a:gd name="f155" fmla="val 210"/>
                  <a:gd name="f156" fmla="val 341"/>
                  <a:gd name="f157" fmla="val 200"/>
                  <a:gd name="f158" fmla="val 337"/>
                  <a:gd name="f159" fmla="val 172"/>
                  <a:gd name="f160" fmla="val 127"/>
                  <a:gd name="f161" fmla="val 358"/>
                  <a:gd name="f162" fmla="val 114"/>
                  <a:gd name="f163" fmla="val 103"/>
                  <a:gd name="f164" fmla="val 359"/>
                  <a:gd name="f165" fmla="val 96"/>
                  <a:gd name="f166" fmla="val 351"/>
                  <a:gd name="f167" fmla="val 85"/>
                  <a:gd name="f168" fmla="val 99"/>
                  <a:gd name="f169" fmla="val 334"/>
                  <a:gd name="f170" fmla="val 110"/>
                  <a:gd name="f171" fmla="val 116"/>
                  <a:gd name="f172" fmla="val 313"/>
                  <a:gd name="f173" fmla="val 117"/>
                  <a:gd name="f174" fmla="val 305"/>
                  <a:gd name="f175" fmla="val 113"/>
                  <a:gd name="f176" fmla="val 295"/>
                  <a:gd name="f177" fmla="val 283"/>
                  <a:gd name="f178" fmla="val 92"/>
                  <a:gd name="f179" fmla="val 270"/>
                  <a:gd name="f180" fmla="val 78"/>
                  <a:gd name="f181" fmla="val 258"/>
                  <a:gd name="f182" fmla="val 65"/>
                  <a:gd name="f183" fmla="val 247"/>
                  <a:gd name="f184" fmla="val 54"/>
                  <a:gd name="f185" fmla="val 240"/>
                  <a:gd name="f186" fmla="val 44"/>
                  <a:gd name="f187" fmla="val 237"/>
                  <a:gd name="f188" fmla="val 34"/>
                  <a:gd name="f189" fmla="val 23"/>
                  <a:gd name="f190" fmla="val 254"/>
                  <a:gd name="f191" fmla="val 19"/>
                  <a:gd name="f192" fmla="val 14"/>
                  <a:gd name="f193" fmla="val 5"/>
                  <a:gd name="f194" fmla="val 230"/>
                  <a:gd name="f195" fmla="val 2"/>
                  <a:gd name="f196" fmla="val 7"/>
                  <a:gd name="f197" fmla="val 198"/>
                  <a:gd name="f198" fmla="val 18"/>
                  <a:gd name="f199" fmla="val 191"/>
                  <a:gd name="f200" fmla="val 27"/>
                  <a:gd name="f201" fmla="val 40"/>
                  <a:gd name="f202" fmla="val 169"/>
                  <a:gd name="f203" fmla="val 55"/>
                  <a:gd name="f204" fmla="val 155"/>
                  <a:gd name="f205" fmla="val 67"/>
                  <a:gd name="f206" fmla="val 152"/>
                  <a:gd name="f207" fmla="val 80"/>
                  <a:gd name="f208" fmla="val 145"/>
                  <a:gd name="f209" fmla="val 94"/>
                  <a:gd name="f210" fmla="val 140"/>
                  <a:gd name="f211" fmla="val 141"/>
                  <a:gd name="f212" fmla="val 148"/>
                  <a:gd name="f213" fmla="val 106"/>
                  <a:gd name="f214" fmla="val 158"/>
                  <a:gd name="f215" fmla="val 109"/>
                  <a:gd name="f216" fmla="val 130"/>
                  <a:gd name="f217" fmla="val 190"/>
                  <a:gd name="f218" fmla="val 187"/>
                  <a:gd name="f219" fmla="val 157"/>
                  <a:gd name="f220" fmla="val 186"/>
                  <a:gd name="f221" fmla="val 164"/>
                  <a:gd name="f222" fmla="val 174"/>
                  <a:gd name="f223" fmla="val 179"/>
                  <a:gd name="f224" fmla="val 207"/>
                  <a:gd name="f225" fmla="val 183"/>
                  <a:gd name="f226" fmla="val 214"/>
                  <a:gd name="f227" fmla="val 232"/>
                  <a:gd name="f228" fmla="val 243"/>
                  <a:gd name="f229" fmla="val 177"/>
                  <a:gd name="f230" fmla="val 170"/>
                  <a:gd name="f231" fmla="val 159"/>
                  <a:gd name="f232" fmla="val 151"/>
                  <a:gd name="f233" fmla="val 269"/>
                  <a:gd name="f234" fmla="val 147"/>
                  <a:gd name="f235" fmla="val 276"/>
                  <a:gd name="f236" fmla="val 293"/>
                  <a:gd name="f237" fmla="val 125"/>
                  <a:gd name="f238" fmla="val 300"/>
                  <a:gd name="f239" fmla="val 108"/>
                  <a:gd name="f240" fmla="val 102"/>
                  <a:gd name="f241" fmla="val 312"/>
                  <a:gd name="f242" fmla="val 93"/>
                  <a:gd name="f243" fmla="val 87"/>
                  <a:gd name="f244" fmla="val 294"/>
                  <a:gd name="f245" fmla="val 76"/>
                  <a:gd name="f246" fmla="val 64"/>
                  <a:gd name="f247" fmla="val 58"/>
                  <a:gd name="f248" fmla="val 43"/>
                  <a:gd name="f249" fmla="val 306"/>
                  <a:gd name="f250" fmla="val 331"/>
                  <a:gd name="f251" fmla="val 366"/>
                  <a:gd name="f252" fmla="val 380"/>
                  <a:gd name="f253" fmla="val 393"/>
                  <a:gd name="f254" fmla="val 8"/>
                  <a:gd name="f255" fmla="val 16"/>
                  <a:gd name="f256" fmla="val 450"/>
                  <a:gd name="f257" fmla="val 460"/>
                  <a:gd name="f258" fmla="val 472"/>
                  <a:gd name="f259" fmla="val 11"/>
                  <a:gd name="f260" fmla="val 504"/>
                  <a:gd name="f261" fmla="val 519"/>
                  <a:gd name="f262" fmla="+- 0 0 -90"/>
                  <a:gd name="f263" fmla="*/ f4 1 598"/>
                  <a:gd name="f264" fmla="*/ f5 1 481"/>
                  <a:gd name="f265" fmla="+- f8 0 f6"/>
                  <a:gd name="f266" fmla="+- f7 0 f6"/>
                  <a:gd name="f267" fmla="*/ f262 f0 1"/>
                  <a:gd name="f268" fmla="*/ f266 1 598"/>
                  <a:gd name="f269" fmla="*/ f265 1 481"/>
                  <a:gd name="f270" fmla="*/ f267 1 f3"/>
                  <a:gd name="f271" fmla="*/ 554 1 f268"/>
                  <a:gd name="f272" fmla="*/ 12 1 f269"/>
                  <a:gd name="f273" fmla="*/ 565 1 f268"/>
                  <a:gd name="f274" fmla="*/ 57 1 f269"/>
                  <a:gd name="f275" fmla="*/ 580 1 f268"/>
                  <a:gd name="f276" fmla="*/ 104 1 f269"/>
                  <a:gd name="f277" fmla="*/ 568 1 f268"/>
                  <a:gd name="f278" fmla="*/ 144 1 f269"/>
                  <a:gd name="f279" fmla="*/ 566 1 f268"/>
                  <a:gd name="f280" fmla="*/ 182 1 f269"/>
                  <a:gd name="f281" fmla="*/ 572 1 f268"/>
                  <a:gd name="f282" fmla="*/ 209 1 f269"/>
                  <a:gd name="f283" fmla="*/ 537 1 f268"/>
                  <a:gd name="f284" fmla="*/ 261 1 f269"/>
                  <a:gd name="f285" fmla="*/ 515 1 f268"/>
                  <a:gd name="f286" fmla="*/ 265 1 f269"/>
                  <a:gd name="f287" fmla="*/ 510 1 f268"/>
                  <a:gd name="f288" fmla="*/ 302 1 f269"/>
                  <a:gd name="f289" fmla="*/ 533 1 f268"/>
                  <a:gd name="f290" fmla="*/ 333 1 f269"/>
                  <a:gd name="f291" fmla="*/ 562 1 f268"/>
                  <a:gd name="f292" fmla="*/ 369 1 f269"/>
                  <a:gd name="f293" fmla="*/ 395 1 f269"/>
                  <a:gd name="f294" fmla="*/ 557 1 f268"/>
                  <a:gd name="f295" fmla="*/ 431 1 f269"/>
                  <a:gd name="f296" fmla="*/ 487 1 f268"/>
                  <a:gd name="f297" fmla="*/ 466 1 f269"/>
                  <a:gd name="f298" fmla="*/ 443 1 f268"/>
                  <a:gd name="f299" fmla="*/ 459 1 f269"/>
                  <a:gd name="f300" fmla="*/ 431 1 f268"/>
                  <a:gd name="f301" fmla="*/ 419 1 f269"/>
                  <a:gd name="f302" fmla="*/ 405 1 f268"/>
                  <a:gd name="f303" fmla="*/ 424 1 f269"/>
                  <a:gd name="f304" fmla="*/ 371 1 f268"/>
                  <a:gd name="f305" fmla="*/ 416 1 f269"/>
                  <a:gd name="f306" fmla="*/ 333 1 f268"/>
                  <a:gd name="f307" fmla="*/ 308 1 f268"/>
                  <a:gd name="f308" fmla="*/ 435 1 f269"/>
                  <a:gd name="f309" fmla="*/ 288 1 f268"/>
                  <a:gd name="f310" fmla="*/ 403 1 f269"/>
                  <a:gd name="f311" fmla="*/ 266 1 f268"/>
                  <a:gd name="f312" fmla="*/ 405 1 f269"/>
                  <a:gd name="f313" fmla="*/ 229 1 f268"/>
                  <a:gd name="f314" fmla="*/ 218 1 f268"/>
                  <a:gd name="f315" fmla="*/ 355 1 f269"/>
                  <a:gd name="f316" fmla="*/ 188 1 f268"/>
                  <a:gd name="f317" fmla="*/ 337 1 f269"/>
                  <a:gd name="f318" fmla="*/ 103 1 f268"/>
                  <a:gd name="f319" fmla="*/ 359 1 f269"/>
                  <a:gd name="f320" fmla="*/ 99 1 f268"/>
                  <a:gd name="f321" fmla="*/ 334 1 f269"/>
                  <a:gd name="f322" fmla="*/ 113 1 f268"/>
                  <a:gd name="f323" fmla="*/ 295 1 f269"/>
                  <a:gd name="f324" fmla="*/ 65 1 f268"/>
                  <a:gd name="f325" fmla="*/ 247 1 f269"/>
                  <a:gd name="f326" fmla="*/ 23 1 f268"/>
                  <a:gd name="f327" fmla="*/ 254 1 f269"/>
                  <a:gd name="f328" fmla="*/ 1 1 f268"/>
                  <a:gd name="f329" fmla="*/ 237 1 f269"/>
                  <a:gd name="f330" fmla="*/ 12 1 f268"/>
                  <a:gd name="f331" fmla="*/ 40 1 f268"/>
                  <a:gd name="f332" fmla="*/ 169 1 f269"/>
                  <a:gd name="f333" fmla="*/ 94 1 f268"/>
                  <a:gd name="f334" fmla="*/ 140 1 f269"/>
                  <a:gd name="f335" fmla="*/ 109 1 f268"/>
                  <a:gd name="f336" fmla="*/ 130 1 f268"/>
                  <a:gd name="f337" fmla="*/ 190 1 f269"/>
                  <a:gd name="f338" fmla="*/ 174 1 f268"/>
                  <a:gd name="f339" fmla="*/ 197 1 f269"/>
                  <a:gd name="f340" fmla="*/ 214 1 f268"/>
                  <a:gd name="f341" fmla="*/ 180 1 f269"/>
                  <a:gd name="f342" fmla="*/ 254 1 f268"/>
                  <a:gd name="f343" fmla="*/ 177 1 f269"/>
                  <a:gd name="f344" fmla="*/ 269 1 f268"/>
                  <a:gd name="f345" fmla="*/ 147 1 f269"/>
                  <a:gd name="f346" fmla="*/ 300 1 f268"/>
                  <a:gd name="f347" fmla="*/ 108 1 f269"/>
                  <a:gd name="f348" fmla="*/ 93 1 f269"/>
                  <a:gd name="f349" fmla="*/ 294 1 f268"/>
                  <a:gd name="f350" fmla="*/ 76 1 f269"/>
                  <a:gd name="f351" fmla="*/ 48 1 f269"/>
                  <a:gd name="f352" fmla="*/ 341 1 f268"/>
                  <a:gd name="f353" fmla="*/ 380 1 f268"/>
                  <a:gd name="f354" fmla="*/ 7 1 f269"/>
                  <a:gd name="f355" fmla="*/ 450 1 f268"/>
                  <a:gd name="f356" fmla="*/ 16 1 f269"/>
                  <a:gd name="f357" fmla="*/ 504 1 f268"/>
                  <a:gd name="f358" fmla="*/ 4 1 f269"/>
                  <a:gd name="f359" fmla="*/ 0 1 f268"/>
                  <a:gd name="f360" fmla="*/ f7 1 f268"/>
                  <a:gd name="f361" fmla="*/ 0 1 f269"/>
                  <a:gd name="f362" fmla="*/ f8 1 f269"/>
                  <a:gd name="f363" fmla="+- f270 0 f1"/>
                  <a:gd name="f364" fmla="*/ f359 f263 1"/>
                  <a:gd name="f365" fmla="*/ f360 f263 1"/>
                  <a:gd name="f366" fmla="*/ f362 f264 1"/>
                  <a:gd name="f367" fmla="*/ f361 f264 1"/>
                  <a:gd name="f368" fmla="*/ f271 f263 1"/>
                  <a:gd name="f369" fmla="*/ f272 f264 1"/>
                  <a:gd name="f370" fmla="*/ f273 f263 1"/>
                  <a:gd name="f371" fmla="*/ f274 f264 1"/>
                  <a:gd name="f372" fmla="*/ f275 f263 1"/>
                  <a:gd name="f373" fmla="*/ f276 f264 1"/>
                  <a:gd name="f374" fmla="*/ f277 f263 1"/>
                  <a:gd name="f375" fmla="*/ f278 f264 1"/>
                  <a:gd name="f376" fmla="*/ f279 f263 1"/>
                  <a:gd name="f377" fmla="*/ f280 f264 1"/>
                  <a:gd name="f378" fmla="*/ f281 f263 1"/>
                  <a:gd name="f379" fmla="*/ f282 f264 1"/>
                  <a:gd name="f380" fmla="*/ f283 f263 1"/>
                  <a:gd name="f381" fmla="*/ f284 f264 1"/>
                  <a:gd name="f382" fmla="*/ f285 f263 1"/>
                  <a:gd name="f383" fmla="*/ f286 f264 1"/>
                  <a:gd name="f384" fmla="*/ f287 f263 1"/>
                  <a:gd name="f385" fmla="*/ f288 f264 1"/>
                  <a:gd name="f386" fmla="*/ f289 f263 1"/>
                  <a:gd name="f387" fmla="*/ f290 f264 1"/>
                  <a:gd name="f388" fmla="*/ f291 f263 1"/>
                  <a:gd name="f389" fmla="*/ f292 f264 1"/>
                  <a:gd name="f390" fmla="*/ f293 f264 1"/>
                  <a:gd name="f391" fmla="*/ f294 f263 1"/>
                  <a:gd name="f392" fmla="*/ f295 f264 1"/>
                  <a:gd name="f393" fmla="*/ f296 f263 1"/>
                  <a:gd name="f394" fmla="*/ f297 f264 1"/>
                  <a:gd name="f395" fmla="*/ f298 f263 1"/>
                  <a:gd name="f396" fmla="*/ f299 f264 1"/>
                  <a:gd name="f397" fmla="*/ f300 f263 1"/>
                  <a:gd name="f398" fmla="*/ f301 f264 1"/>
                  <a:gd name="f399" fmla="*/ f302 f263 1"/>
                  <a:gd name="f400" fmla="*/ f303 f264 1"/>
                  <a:gd name="f401" fmla="*/ f304 f263 1"/>
                  <a:gd name="f402" fmla="*/ f305 f264 1"/>
                  <a:gd name="f403" fmla="*/ f306 f263 1"/>
                  <a:gd name="f404" fmla="*/ f307 f263 1"/>
                  <a:gd name="f405" fmla="*/ f308 f264 1"/>
                  <a:gd name="f406" fmla="*/ f309 f263 1"/>
                  <a:gd name="f407" fmla="*/ f310 f264 1"/>
                  <a:gd name="f408" fmla="*/ f311 f263 1"/>
                  <a:gd name="f409" fmla="*/ f312 f264 1"/>
                  <a:gd name="f410" fmla="*/ f313 f263 1"/>
                  <a:gd name="f411" fmla="*/ f314 f263 1"/>
                  <a:gd name="f412" fmla="*/ f315 f264 1"/>
                  <a:gd name="f413" fmla="*/ f316 f263 1"/>
                  <a:gd name="f414" fmla="*/ f317 f264 1"/>
                  <a:gd name="f415" fmla="*/ f318 f263 1"/>
                  <a:gd name="f416" fmla="*/ f319 f264 1"/>
                  <a:gd name="f417" fmla="*/ f320 f263 1"/>
                  <a:gd name="f418" fmla="*/ f321 f264 1"/>
                  <a:gd name="f419" fmla="*/ f322 f263 1"/>
                  <a:gd name="f420" fmla="*/ f323 f264 1"/>
                  <a:gd name="f421" fmla="*/ f324 f263 1"/>
                  <a:gd name="f422" fmla="*/ f325 f264 1"/>
                  <a:gd name="f423" fmla="*/ f326 f263 1"/>
                  <a:gd name="f424" fmla="*/ f327 f264 1"/>
                  <a:gd name="f425" fmla="*/ f328 f263 1"/>
                  <a:gd name="f426" fmla="*/ f329 f264 1"/>
                  <a:gd name="f427" fmla="*/ f330 f263 1"/>
                  <a:gd name="f428" fmla="*/ f331 f263 1"/>
                  <a:gd name="f429" fmla="*/ f332 f264 1"/>
                  <a:gd name="f430" fmla="*/ f333 f263 1"/>
                  <a:gd name="f431" fmla="*/ f334 f264 1"/>
                  <a:gd name="f432" fmla="*/ f335 f263 1"/>
                  <a:gd name="f433" fmla="*/ f336 f263 1"/>
                  <a:gd name="f434" fmla="*/ f337 f264 1"/>
                  <a:gd name="f435" fmla="*/ f338 f263 1"/>
                  <a:gd name="f436" fmla="*/ f339 f264 1"/>
                  <a:gd name="f437" fmla="*/ f340 f263 1"/>
                  <a:gd name="f438" fmla="*/ f341 f264 1"/>
                  <a:gd name="f439" fmla="*/ f342 f263 1"/>
                  <a:gd name="f440" fmla="*/ f343 f264 1"/>
                  <a:gd name="f441" fmla="*/ f344 f263 1"/>
                  <a:gd name="f442" fmla="*/ f345 f264 1"/>
                  <a:gd name="f443" fmla="*/ f346 f263 1"/>
                  <a:gd name="f444" fmla="*/ f347 f264 1"/>
                  <a:gd name="f445" fmla="*/ f348 f264 1"/>
                  <a:gd name="f446" fmla="*/ f349 f263 1"/>
                  <a:gd name="f447" fmla="*/ f350 f264 1"/>
                  <a:gd name="f448" fmla="*/ f351 f264 1"/>
                  <a:gd name="f449" fmla="*/ f352 f263 1"/>
                  <a:gd name="f450" fmla="*/ f353 f263 1"/>
                  <a:gd name="f451" fmla="*/ f354 f264 1"/>
                  <a:gd name="f452" fmla="*/ f355 f263 1"/>
                  <a:gd name="f453" fmla="*/ f356 f264 1"/>
                  <a:gd name="f454" fmla="*/ f357 f263 1"/>
                  <a:gd name="f455" fmla="*/ f358 f26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63">
                    <a:pos x="f368" y="f369"/>
                  </a:cxn>
                  <a:cxn ang="f363">
                    <a:pos x="f370" y="f371"/>
                  </a:cxn>
                  <a:cxn ang="f363">
                    <a:pos x="f372" y="f373"/>
                  </a:cxn>
                  <a:cxn ang="f363">
                    <a:pos x="f374" y="f375"/>
                  </a:cxn>
                  <a:cxn ang="f363">
                    <a:pos x="f376" y="f377"/>
                  </a:cxn>
                  <a:cxn ang="f363">
                    <a:pos x="f378" y="f379"/>
                  </a:cxn>
                  <a:cxn ang="f363">
                    <a:pos x="f380" y="f381"/>
                  </a:cxn>
                  <a:cxn ang="f363">
                    <a:pos x="f382" y="f383"/>
                  </a:cxn>
                  <a:cxn ang="f363">
                    <a:pos x="f384" y="f385"/>
                  </a:cxn>
                  <a:cxn ang="f363">
                    <a:pos x="f386" y="f387"/>
                  </a:cxn>
                  <a:cxn ang="f363">
                    <a:pos x="f388" y="f389"/>
                  </a:cxn>
                  <a:cxn ang="f363">
                    <a:pos x="f376" y="f390"/>
                  </a:cxn>
                  <a:cxn ang="f363">
                    <a:pos x="f391" y="f392"/>
                  </a:cxn>
                  <a:cxn ang="f363">
                    <a:pos x="f393" y="f394"/>
                  </a:cxn>
                  <a:cxn ang="f363">
                    <a:pos x="f395" y="f396"/>
                  </a:cxn>
                  <a:cxn ang="f363">
                    <a:pos x="f397" y="f398"/>
                  </a:cxn>
                  <a:cxn ang="f363">
                    <a:pos x="f399" y="f400"/>
                  </a:cxn>
                  <a:cxn ang="f363">
                    <a:pos x="f401" y="f402"/>
                  </a:cxn>
                  <a:cxn ang="f363">
                    <a:pos x="f403" y="f392"/>
                  </a:cxn>
                  <a:cxn ang="f363">
                    <a:pos x="f404" y="f405"/>
                  </a:cxn>
                  <a:cxn ang="f363">
                    <a:pos x="f406" y="f407"/>
                  </a:cxn>
                  <a:cxn ang="f363">
                    <a:pos x="f408" y="f409"/>
                  </a:cxn>
                  <a:cxn ang="f363">
                    <a:pos x="f410" y="f390"/>
                  </a:cxn>
                  <a:cxn ang="f363">
                    <a:pos x="f411" y="f412"/>
                  </a:cxn>
                  <a:cxn ang="f363">
                    <a:pos x="f413" y="f414"/>
                  </a:cxn>
                  <a:cxn ang="f363">
                    <a:pos x="f415" y="f416"/>
                  </a:cxn>
                  <a:cxn ang="f363">
                    <a:pos x="f417" y="f418"/>
                  </a:cxn>
                  <a:cxn ang="f363">
                    <a:pos x="f419" y="f420"/>
                  </a:cxn>
                  <a:cxn ang="f363">
                    <a:pos x="f421" y="f422"/>
                  </a:cxn>
                  <a:cxn ang="f363">
                    <a:pos x="f423" y="f424"/>
                  </a:cxn>
                  <a:cxn ang="f363">
                    <a:pos x="f425" y="f426"/>
                  </a:cxn>
                  <a:cxn ang="f363">
                    <a:pos x="f427" y="f379"/>
                  </a:cxn>
                  <a:cxn ang="f363">
                    <a:pos x="f428" y="f429"/>
                  </a:cxn>
                  <a:cxn ang="f363">
                    <a:pos x="f430" y="f431"/>
                  </a:cxn>
                  <a:cxn ang="f363">
                    <a:pos x="f432" y="f429"/>
                  </a:cxn>
                  <a:cxn ang="f363">
                    <a:pos x="f433" y="f434"/>
                  </a:cxn>
                  <a:cxn ang="f363">
                    <a:pos x="f435" y="f436"/>
                  </a:cxn>
                  <a:cxn ang="f363">
                    <a:pos x="f437" y="f438"/>
                  </a:cxn>
                  <a:cxn ang="f363">
                    <a:pos x="f439" y="f440"/>
                  </a:cxn>
                  <a:cxn ang="f363">
                    <a:pos x="f441" y="f442"/>
                  </a:cxn>
                  <a:cxn ang="f363">
                    <a:pos x="f443" y="f444"/>
                  </a:cxn>
                  <a:cxn ang="f363">
                    <a:pos x="f404" y="f445"/>
                  </a:cxn>
                  <a:cxn ang="f363">
                    <a:pos x="f446" y="f447"/>
                  </a:cxn>
                  <a:cxn ang="f363">
                    <a:pos x="f406" y="f448"/>
                  </a:cxn>
                  <a:cxn ang="f363">
                    <a:pos x="f449" y="f369"/>
                  </a:cxn>
                  <a:cxn ang="f363">
                    <a:pos x="f450" y="f451"/>
                  </a:cxn>
                  <a:cxn ang="f363">
                    <a:pos x="f452" y="f453"/>
                  </a:cxn>
                  <a:cxn ang="f363">
                    <a:pos x="f454" y="f455"/>
                  </a:cxn>
                </a:cxnLst>
                <a:rect l="f364" t="f367" r="f365" b="f366"/>
                <a:pathLst>
                  <a:path w="598" h="481">
                    <a:moveTo>
                      <a:pt x="f9" y="f6"/>
                    </a:move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7" y="f26"/>
                    </a:lnTo>
                    <a:lnTo>
                      <a:pt x="f27" y="f28"/>
                    </a:lnTo>
                    <a:lnTo>
                      <a:pt x="f24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2" y="f36"/>
                    </a:lnTo>
                    <a:lnTo>
                      <a:pt x="f37" y="f38"/>
                    </a:lnTo>
                    <a:lnTo>
                      <a:pt x="f37" y="f39"/>
                    </a:lnTo>
                    <a:lnTo>
                      <a:pt x="f22" y="f40"/>
                    </a:lnTo>
                    <a:lnTo>
                      <a:pt x="f34" y="f41"/>
                    </a:lnTo>
                    <a:lnTo>
                      <a:pt x="f42" y="f43"/>
                    </a:lnTo>
                    <a:lnTo>
                      <a:pt x="f30" y="f44"/>
                    </a:lnTo>
                    <a:lnTo>
                      <a:pt x="f45" y="f46"/>
                    </a:lnTo>
                    <a:lnTo>
                      <a:pt x="f37" y="f47"/>
                    </a:lnTo>
                    <a:lnTo>
                      <a:pt x="f22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4"/>
                    </a:lnTo>
                    <a:lnTo>
                      <a:pt x="f56" y="f57"/>
                    </a:lnTo>
                    <a:lnTo>
                      <a:pt x="f58" y="f54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9" y="f75"/>
                    </a:lnTo>
                    <a:lnTo>
                      <a:pt x="f76" y="f77"/>
                    </a:lnTo>
                    <a:lnTo>
                      <a:pt x="f51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42" y="f83"/>
                    </a:lnTo>
                    <a:lnTo>
                      <a:pt x="f37" y="f84"/>
                    </a:lnTo>
                    <a:lnTo>
                      <a:pt x="f85" y="f86"/>
                    </a:lnTo>
                    <a:lnTo>
                      <a:pt x="f34" y="f87"/>
                    </a:lnTo>
                    <a:lnTo>
                      <a:pt x="f88" y="f89"/>
                    </a:lnTo>
                    <a:lnTo>
                      <a:pt x="f88" y="f90"/>
                    </a:lnTo>
                    <a:lnTo>
                      <a:pt x="f81" y="f91"/>
                    </a:lnTo>
                    <a:lnTo>
                      <a:pt x="f18" y="f92"/>
                    </a:lnTo>
                    <a:lnTo>
                      <a:pt x="f93" y="f94"/>
                    </a:lnTo>
                    <a:lnTo>
                      <a:pt x="f76" y="f95"/>
                    </a:lnTo>
                    <a:lnTo>
                      <a:pt x="f58" y="f96"/>
                    </a:lnTo>
                    <a:lnTo>
                      <a:pt x="f97" y="f98"/>
                    </a:lnTo>
                    <a:lnTo>
                      <a:pt x="f99" y="f8"/>
                    </a:lnTo>
                    <a:lnTo>
                      <a:pt x="f100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95" y="f106"/>
                    </a:lnTo>
                    <a:lnTo>
                      <a:pt x="f107" y="f108"/>
                    </a:lnTo>
                    <a:lnTo>
                      <a:pt x="f108" y="f109"/>
                    </a:lnTo>
                    <a:lnTo>
                      <a:pt x="f92" y="f110"/>
                    </a:lnTo>
                    <a:lnTo>
                      <a:pt x="f111" y="f112"/>
                    </a:lnTo>
                    <a:lnTo>
                      <a:pt x="f113" y="f112"/>
                    </a:lnTo>
                    <a:lnTo>
                      <a:pt x="f114" y="f113"/>
                    </a:lnTo>
                    <a:lnTo>
                      <a:pt x="f115" y="f116"/>
                    </a:lnTo>
                    <a:lnTo>
                      <a:pt x="f87" y="f94"/>
                    </a:lnTo>
                    <a:lnTo>
                      <a:pt x="f117" y="f118"/>
                    </a:lnTo>
                    <a:lnTo>
                      <a:pt x="f119" y="f120"/>
                    </a:lnTo>
                    <a:lnTo>
                      <a:pt x="f121" y="f122"/>
                    </a:lnTo>
                    <a:lnTo>
                      <a:pt x="f80" y="f123"/>
                    </a:lnTo>
                    <a:lnTo>
                      <a:pt x="f124" y="f113"/>
                    </a:lnTo>
                    <a:lnTo>
                      <a:pt x="f125" y="f116"/>
                    </a:lnTo>
                    <a:lnTo>
                      <a:pt x="f75" y="f92"/>
                    </a:lnTo>
                    <a:lnTo>
                      <a:pt x="f126" y="f107"/>
                    </a:ln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08"/>
                    </a:lnTo>
                    <a:lnTo>
                      <a:pt x="f131" y="f132"/>
                    </a:lnTo>
                    <a:lnTo>
                      <a:pt x="f133" y="f134"/>
                    </a:lnTo>
                    <a:lnTo>
                      <a:pt x="f66" y="f135"/>
                    </a:lnTo>
                    <a:lnTo>
                      <a:pt x="f136" y="f135"/>
                    </a:lnTo>
                    <a:lnTo>
                      <a:pt x="f137" y="f115"/>
                    </a:lnTo>
                    <a:lnTo>
                      <a:pt x="f138" y="f115"/>
                    </a:lnTo>
                    <a:lnTo>
                      <a:pt x="f139" y="f134"/>
                    </a:lnTo>
                    <a:lnTo>
                      <a:pt x="f140" y="f115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8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48" y="f84"/>
                    </a:lnTo>
                    <a:lnTo>
                      <a:pt x="f48" y="f152"/>
                    </a:lnTo>
                    <a:lnTo>
                      <a:pt x="f153" y="f154"/>
                    </a:lnTo>
                    <a:lnTo>
                      <a:pt x="f155" y="f156"/>
                    </a:lnTo>
                    <a:lnTo>
                      <a:pt x="f157" y="f158"/>
                    </a:lnTo>
                    <a:lnTo>
                      <a:pt x="f43" y="f158"/>
                    </a:lnTo>
                    <a:lnTo>
                      <a:pt x="f159" y="f156"/>
                    </a:lnTo>
                    <a:lnTo>
                      <a:pt x="f160" y="f161"/>
                    </a:lnTo>
                    <a:lnTo>
                      <a:pt x="f162" y="f2"/>
                    </a:lnTo>
                    <a:lnTo>
                      <a:pt x="f163" y="f164"/>
                    </a:lnTo>
                    <a:lnTo>
                      <a:pt x="f165" y="f152"/>
                    </a:lnTo>
                    <a:lnTo>
                      <a:pt x="f28" y="f166"/>
                    </a:lnTo>
                    <a:lnTo>
                      <a:pt x="f167" y="f77"/>
                    </a:lnTo>
                    <a:lnTo>
                      <a:pt x="f168" y="f169"/>
                    </a:lnTo>
                    <a:lnTo>
                      <a:pt x="f170" y="f126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lnTo>
                      <a:pt x="f163" y="f177"/>
                    </a:lnTo>
                    <a:lnTo>
                      <a:pt x="f178" y="f179"/>
                    </a:lnTo>
                    <a:lnTo>
                      <a:pt x="f180" y="f181"/>
                    </a:lnTo>
                    <a:lnTo>
                      <a:pt x="f182" y="f183"/>
                    </a:lnTo>
                    <a:lnTo>
                      <a:pt x="f184" y="f185"/>
                    </a:lnTo>
                    <a:lnTo>
                      <a:pt x="f186" y="f187"/>
                    </a:lnTo>
                    <a:lnTo>
                      <a:pt x="f188" y="f185"/>
                    </a:lnTo>
                    <a:lnTo>
                      <a:pt x="f189" y="f190"/>
                    </a:lnTo>
                    <a:lnTo>
                      <a:pt x="f191" y="f181"/>
                    </a:lnTo>
                    <a:lnTo>
                      <a:pt x="f192" y="f52"/>
                    </a:lnTo>
                    <a:lnTo>
                      <a:pt x="f193" y="f183"/>
                    </a:lnTo>
                    <a:lnTo>
                      <a:pt x="f11" y="f187"/>
                    </a:lnTo>
                    <a:lnTo>
                      <a:pt x="f6" y="f194"/>
                    </a:lnTo>
                    <a:lnTo>
                      <a:pt x="f195" y="f148"/>
                    </a:lnTo>
                    <a:lnTo>
                      <a:pt x="f196" y="f48"/>
                    </a:lnTo>
                    <a:lnTo>
                      <a:pt x="f15" y="f47"/>
                    </a:lnTo>
                    <a:lnTo>
                      <a:pt x="f192" y="f197"/>
                    </a:lnTo>
                    <a:lnTo>
                      <a:pt x="f198" y="f199"/>
                    </a:lnTo>
                    <a:lnTo>
                      <a:pt x="f200" y="f3"/>
                    </a:lnTo>
                    <a:lnTo>
                      <a:pt x="f201" y="f202"/>
                    </a:lnTo>
                    <a:lnTo>
                      <a:pt x="f203" y="f204"/>
                    </a:lnTo>
                    <a:lnTo>
                      <a:pt x="f205" y="f206"/>
                    </a:lnTo>
                    <a:lnTo>
                      <a:pt x="f207" y="f208"/>
                    </a:lnTo>
                    <a:lnTo>
                      <a:pt x="f209" y="f210"/>
                    </a:lnTo>
                    <a:lnTo>
                      <a:pt x="f168" y="f211"/>
                    </a:lnTo>
                    <a:lnTo>
                      <a:pt x="f163" y="f212"/>
                    </a:lnTo>
                    <a:lnTo>
                      <a:pt x="f213" y="f214"/>
                    </a:lnTo>
                    <a:lnTo>
                      <a:pt x="f215" y="f202"/>
                    </a:lnTo>
                    <a:lnTo>
                      <a:pt x="f170" y="f3"/>
                    </a:lnTo>
                    <a:lnTo>
                      <a:pt x="f175" y="f43"/>
                    </a:lnTo>
                    <a:lnTo>
                      <a:pt x="f173" y="f199"/>
                    </a:lnTo>
                    <a:lnTo>
                      <a:pt x="f216" y="f217"/>
                    </a:lnTo>
                    <a:lnTo>
                      <a:pt x="f208" y="f218"/>
                    </a:lnTo>
                    <a:lnTo>
                      <a:pt x="f219" y="f220"/>
                    </a:lnTo>
                    <a:lnTo>
                      <a:pt x="f221" y="f218"/>
                    </a:lnTo>
                    <a:lnTo>
                      <a:pt x="f222" y="f44"/>
                    </a:lnTo>
                    <a:lnTo>
                      <a:pt x="f223" y="f157"/>
                    </a:lnTo>
                    <a:lnTo>
                      <a:pt x="f43" y="f44"/>
                    </a:lnTo>
                    <a:lnTo>
                      <a:pt x="f224" y="f225"/>
                    </a:lnTo>
                    <a:lnTo>
                      <a:pt x="f226" y="f3"/>
                    </a:lnTo>
                    <a:lnTo>
                      <a:pt x="f150" y="f3"/>
                    </a:lnTo>
                    <a:lnTo>
                      <a:pt x="f227" y="f41"/>
                    </a:lnTo>
                    <a:lnTo>
                      <a:pt x="f228" y="f3"/>
                    </a:lnTo>
                    <a:lnTo>
                      <a:pt x="f190" y="f229"/>
                    </a:lnTo>
                    <a:lnTo>
                      <a:pt x="f54" y="f230"/>
                    </a:lnTo>
                    <a:lnTo>
                      <a:pt x="f60" y="f231"/>
                    </a:lnTo>
                    <a:lnTo>
                      <a:pt x="f140" y="f232"/>
                    </a:lnTo>
                    <a:lnTo>
                      <a:pt x="f233" y="f234"/>
                    </a:lnTo>
                    <a:lnTo>
                      <a:pt x="f235" y="f211"/>
                    </a:lnTo>
                    <a:lnTo>
                      <a:pt x="f236" y="f216"/>
                    </a:lnTo>
                    <a:lnTo>
                      <a:pt x="f66" y="f237"/>
                    </a:lnTo>
                    <a:lnTo>
                      <a:pt x="f238" y="f239"/>
                    </a:lnTo>
                    <a:lnTo>
                      <a:pt x="f133" y="f240"/>
                    </a:lnTo>
                    <a:lnTo>
                      <a:pt x="f241" y="f209"/>
                    </a:lnTo>
                    <a:lnTo>
                      <a:pt x="f129" y="f242"/>
                    </a:lnTo>
                    <a:lnTo>
                      <a:pt x="f131" y="f242"/>
                    </a:lnTo>
                    <a:lnTo>
                      <a:pt x="f174" y="f28"/>
                    </a:lnTo>
                    <a:lnTo>
                      <a:pt x="f66" y="f28"/>
                    </a:lnTo>
                    <a:lnTo>
                      <a:pt x="f66" y="f243"/>
                    </a:lnTo>
                    <a:lnTo>
                      <a:pt x="f244" y="f245"/>
                    </a:lnTo>
                    <a:lnTo>
                      <a:pt x="f136" y="f246"/>
                    </a:lnTo>
                    <a:lnTo>
                      <a:pt x="f64" y="f247"/>
                    </a:lnTo>
                    <a:lnTo>
                      <a:pt x="f64" y="f184"/>
                    </a:lnTo>
                    <a:lnTo>
                      <a:pt x="f136" y="f21"/>
                    </a:lnTo>
                    <a:lnTo>
                      <a:pt x="f66" y="f248"/>
                    </a:lnTo>
                    <a:lnTo>
                      <a:pt x="f249" y="f19"/>
                    </a:lnTo>
                    <a:lnTo>
                      <a:pt x="f250" y="f191"/>
                    </a:lnTo>
                    <a:lnTo>
                      <a:pt x="f156" y="f15"/>
                    </a:lnTo>
                    <a:lnTo>
                      <a:pt x="f154" y="f196"/>
                    </a:lnTo>
                    <a:lnTo>
                      <a:pt x="f124" y="f13"/>
                    </a:lnTo>
                    <a:lnTo>
                      <a:pt x="f251" y="f13"/>
                    </a:lnTo>
                    <a:lnTo>
                      <a:pt x="f252" y="f196"/>
                    </a:lnTo>
                    <a:lnTo>
                      <a:pt x="f253" y="f254"/>
                    </a:lnTo>
                    <a:lnTo>
                      <a:pt x="f109" y="f255"/>
                    </a:lnTo>
                    <a:lnTo>
                      <a:pt x="f107" y="f198"/>
                    </a:lnTo>
                    <a:lnTo>
                      <a:pt x="f256" y="f255"/>
                    </a:lnTo>
                    <a:lnTo>
                      <a:pt x="f257" y="f192"/>
                    </a:lnTo>
                    <a:lnTo>
                      <a:pt x="f258" y="f259"/>
                    </a:lnTo>
                    <a:lnTo>
                      <a:pt x="f97" y="f196"/>
                    </a:lnTo>
                    <a:lnTo>
                      <a:pt x="f260" y="f13"/>
                    </a:lnTo>
                    <a:lnTo>
                      <a:pt x="f261" y="f11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74" name="Freeform 36">
                <a:extLst>
                  <a:ext uri="{FF2B5EF4-FFF2-40B4-BE49-F238E27FC236}">
                    <a16:creationId xmlns:a16="http://schemas.microsoft.com/office/drawing/2014/main" id="{5890AD5D-135D-4499-941D-747D365A7D1D}"/>
                  </a:ext>
                </a:extLst>
              </p:cNvPr>
              <p:cNvSpPr/>
              <p:nvPr/>
            </p:nvSpPr>
            <p:spPr>
              <a:xfrm>
                <a:off x="4449058" y="2570433"/>
                <a:ext cx="117445" cy="11377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708"/>
                  <a:gd name="f7" fmla="val 699"/>
                  <a:gd name="f8" fmla="val 460"/>
                  <a:gd name="f9" fmla="val 472"/>
                  <a:gd name="f10" fmla="val 1"/>
                  <a:gd name="f11" fmla="val 478"/>
                  <a:gd name="f12" fmla="val 4"/>
                  <a:gd name="f13" fmla="val 489"/>
                  <a:gd name="f14" fmla="val 7"/>
                  <a:gd name="f15" fmla="val 496"/>
                  <a:gd name="f16" fmla="val 6"/>
                  <a:gd name="f17" fmla="val 507"/>
                  <a:gd name="f18" fmla="val 521"/>
                  <a:gd name="f19" fmla="val 535"/>
                  <a:gd name="f20" fmla="val 546"/>
                  <a:gd name="f21" fmla="val 11"/>
                  <a:gd name="f22" fmla="val 553"/>
                  <a:gd name="f23" fmla="val 17"/>
                  <a:gd name="f24" fmla="val 559"/>
                  <a:gd name="f25" fmla="val 26"/>
                  <a:gd name="f26" fmla="val 568"/>
                  <a:gd name="f27" fmla="val 40"/>
                  <a:gd name="f28" fmla="val 581"/>
                  <a:gd name="f29" fmla="val 54"/>
                  <a:gd name="f30" fmla="val 594"/>
                  <a:gd name="f31" fmla="val 65"/>
                  <a:gd name="f32" fmla="val 611"/>
                  <a:gd name="f33" fmla="val 69"/>
                  <a:gd name="f34" fmla="val 625"/>
                  <a:gd name="f35" fmla="val 68"/>
                  <a:gd name="f36" fmla="val 635"/>
                  <a:gd name="f37" fmla="val 643"/>
                  <a:gd name="f38" fmla="val 61"/>
                  <a:gd name="f39" fmla="val 652"/>
                  <a:gd name="f40" fmla="val 60"/>
                  <a:gd name="f41" fmla="val 664"/>
                  <a:gd name="f42" fmla="val 666"/>
                  <a:gd name="f43" fmla="val 62"/>
                  <a:gd name="f44" fmla="val 668"/>
                  <a:gd name="f45" fmla="val 64"/>
                  <a:gd name="f46" fmla="val 670"/>
                  <a:gd name="f47" fmla="val 85"/>
                  <a:gd name="f48" fmla="val 93"/>
                  <a:gd name="f49" fmla="val 658"/>
                  <a:gd name="f50" fmla="val 104"/>
                  <a:gd name="f51" fmla="val 646"/>
                  <a:gd name="f52" fmla="val 117"/>
                  <a:gd name="f53" fmla="val 623"/>
                  <a:gd name="f54" fmla="val 147"/>
                  <a:gd name="f55" fmla="val 617"/>
                  <a:gd name="f56" fmla="val 162"/>
                  <a:gd name="f57" fmla="val 615"/>
                  <a:gd name="f58" fmla="val 178"/>
                  <a:gd name="f59" fmla="val 194"/>
                  <a:gd name="f60" fmla="val 621"/>
                  <a:gd name="f61" fmla="val 211"/>
                  <a:gd name="f62" fmla="val 626"/>
                  <a:gd name="f63" fmla="val 229"/>
                  <a:gd name="f64" fmla="val 632"/>
                  <a:gd name="f65" fmla="val 244"/>
                  <a:gd name="f66" fmla="val 257"/>
                  <a:gd name="f67" fmla="val 636"/>
                  <a:gd name="f68" fmla="val 265"/>
                  <a:gd name="f69" fmla="val 639"/>
                  <a:gd name="f70" fmla="val 273"/>
                  <a:gd name="f71" fmla="val 282"/>
                  <a:gd name="f72" fmla="val 654"/>
                  <a:gd name="f73" fmla="val 289"/>
                  <a:gd name="f74" fmla="val 662"/>
                  <a:gd name="f75" fmla="val 297"/>
                  <a:gd name="f76" fmla="val 305"/>
                  <a:gd name="f77" fmla="val 313"/>
                  <a:gd name="f78" fmla="val 322"/>
                  <a:gd name="f79" fmla="val 329"/>
                  <a:gd name="f80" fmla="val 337"/>
                  <a:gd name="f81" fmla="val 633"/>
                  <a:gd name="f82" fmla="val 347"/>
                  <a:gd name="f83" fmla="val 354"/>
                  <a:gd name="f84" fmla="val 361"/>
                  <a:gd name="f85" fmla="val 641"/>
                  <a:gd name="f86" fmla="val 366"/>
                  <a:gd name="f87" fmla="val 651"/>
                  <a:gd name="f88" fmla="val 372"/>
                  <a:gd name="f89" fmla="val 659"/>
                  <a:gd name="f90" fmla="val 377"/>
                  <a:gd name="f91" fmla="val 665"/>
                  <a:gd name="f92" fmla="val 383"/>
                  <a:gd name="f93" fmla="val 390"/>
                  <a:gd name="f94" fmla="val 402"/>
                  <a:gd name="f95" fmla="val 412"/>
                  <a:gd name="f96" fmla="val 422"/>
                  <a:gd name="f97" fmla="val 672"/>
                  <a:gd name="f98" fmla="val 433"/>
                  <a:gd name="f99" fmla="val 677"/>
                  <a:gd name="f100" fmla="val 440"/>
                  <a:gd name="f101" fmla="val 683"/>
                  <a:gd name="f102" fmla="val 441"/>
                  <a:gd name="f103" fmla="val 690"/>
                  <a:gd name="f104" fmla="val 438"/>
                  <a:gd name="f105" fmla="val 698"/>
                  <a:gd name="f106" fmla="val 434"/>
                  <a:gd name="f107" fmla="val 705"/>
                  <a:gd name="f108" fmla="val 431"/>
                  <a:gd name="f109" fmla="val 706"/>
                  <a:gd name="f110" fmla="val 437"/>
                  <a:gd name="f111" fmla="val 702"/>
                  <a:gd name="f112" fmla="val 444"/>
                  <a:gd name="f113" fmla="val 695"/>
                  <a:gd name="f114" fmla="val 454"/>
                  <a:gd name="f115" fmla="val 682"/>
                  <a:gd name="f116" fmla="val 470"/>
                  <a:gd name="f117" fmla="val 675"/>
                  <a:gd name="f118" fmla="val 477"/>
                  <a:gd name="f119" fmla="val 483"/>
                  <a:gd name="f120" fmla="val 487"/>
                  <a:gd name="f121" fmla="val 490"/>
                  <a:gd name="f122" fmla="val 495"/>
                  <a:gd name="f123" fmla="val 504"/>
                  <a:gd name="f124" fmla="val 657"/>
                  <a:gd name="f125" fmla="val 515"/>
                  <a:gd name="f126" fmla="val 661"/>
                  <a:gd name="f127" fmla="val 528"/>
                  <a:gd name="f128" fmla="val 541"/>
                  <a:gd name="f129" fmla="val 563"/>
                  <a:gd name="f130" fmla="val 574"/>
                  <a:gd name="f131" fmla="val 571"/>
                  <a:gd name="f132" fmla="val 569"/>
                  <a:gd name="f133" fmla="val 565"/>
                  <a:gd name="f134" fmla="val 560"/>
                  <a:gd name="f135" fmla="val 562"/>
                  <a:gd name="f136" fmla="val 655"/>
                  <a:gd name="f137" fmla="val 608"/>
                  <a:gd name="f138" fmla="val 620"/>
                  <a:gd name="f139" fmla="val 630"/>
                  <a:gd name="f140" fmla="val 642"/>
                  <a:gd name="f141" fmla="val 673"/>
                  <a:gd name="f142" fmla="val 681"/>
                  <a:gd name="f143" fmla="val 694"/>
                  <a:gd name="f144" fmla="val 644"/>
                  <a:gd name="f145" fmla="val 691"/>
                  <a:gd name="f146" fmla="val 614"/>
                  <a:gd name="f147" fmla="val 676"/>
                  <a:gd name="f148" fmla="val 603"/>
                  <a:gd name="f149" fmla="val 656"/>
                  <a:gd name="f150" fmla="val 593"/>
                  <a:gd name="f151" fmla="val 586"/>
                  <a:gd name="f152" fmla="val 595"/>
                  <a:gd name="f153" fmla="val 556"/>
                  <a:gd name="f154" fmla="val 552"/>
                  <a:gd name="f155" fmla="val 522"/>
                  <a:gd name="f156" fmla="val 547"/>
                  <a:gd name="f157" fmla="val 510"/>
                  <a:gd name="f158" fmla="val 538"/>
                  <a:gd name="f159" fmla="val 502"/>
                  <a:gd name="f160" fmla="val 527"/>
                  <a:gd name="f161" fmla="val 497"/>
                  <a:gd name="f162" fmla="val 516"/>
                  <a:gd name="f163" fmla="val 498"/>
                  <a:gd name="f164" fmla="val 503"/>
                  <a:gd name="f165" fmla="val 505"/>
                  <a:gd name="f166" fmla="val 480"/>
                  <a:gd name="f167" fmla="val 474"/>
                  <a:gd name="f168" fmla="val 466"/>
                  <a:gd name="f169" fmla="val 558"/>
                  <a:gd name="f170" fmla="val 463"/>
                  <a:gd name="f171" fmla="val 566"/>
                  <a:gd name="f172" fmla="val 462"/>
                  <a:gd name="f173" fmla="val 583"/>
                  <a:gd name="f174" fmla="val 584"/>
                  <a:gd name="f175" fmla="val 451"/>
                  <a:gd name="f176" fmla="val 587"/>
                  <a:gd name="f177" fmla="val 448"/>
                  <a:gd name="f178" fmla="val 588"/>
                  <a:gd name="f179" fmla="val 445"/>
                  <a:gd name="f180" fmla="val 442"/>
                  <a:gd name="f181" fmla="val 585"/>
                  <a:gd name="f182" fmla="val 429"/>
                  <a:gd name="f183" fmla="val 578"/>
                  <a:gd name="f184" fmla="val 423"/>
                  <a:gd name="f185" fmla="val 573"/>
                  <a:gd name="f186" fmla="val 420"/>
                  <a:gd name="f187" fmla="val 419"/>
                  <a:gd name="f188" fmla="val 426"/>
                  <a:gd name="f189" fmla="val 551"/>
                  <a:gd name="f190" fmla="val 548"/>
                  <a:gd name="f191" fmla="val 436"/>
                  <a:gd name="f192" fmla="val 430"/>
                  <a:gd name="f193" fmla="val 545"/>
                  <a:gd name="f194" fmla="val 407"/>
                  <a:gd name="f195" fmla="val 389"/>
                  <a:gd name="f196" fmla="val 382"/>
                  <a:gd name="f197" fmla="val 544"/>
                  <a:gd name="f198" fmla="val 378"/>
                  <a:gd name="f199" fmla="val 531"/>
                  <a:gd name="f200" fmla="val 367"/>
                  <a:gd name="f201" fmla="val 526"/>
                  <a:gd name="f202" fmla="val 353"/>
                  <a:gd name="f203" fmla="val 523"/>
                  <a:gd name="f204" fmla="val 343"/>
                  <a:gd name="f205" fmla="val 332"/>
                  <a:gd name="f206" fmla="val 534"/>
                  <a:gd name="f207" fmla="val 320"/>
                  <a:gd name="f208" fmla="val 307"/>
                  <a:gd name="f209" fmla="val 296"/>
                  <a:gd name="f210" fmla="val 288"/>
                  <a:gd name="f211" fmla="val 549"/>
                  <a:gd name="f212" fmla="val 279"/>
                  <a:gd name="f213" fmla="val 277"/>
                  <a:gd name="f214" fmla="val 274"/>
                  <a:gd name="f215" fmla="val 512"/>
                  <a:gd name="f216" fmla="val 270"/>
                  <a:gd name="f217" fmla="val 263"/>
                  <a:gd name="f218" fmla="val 499"/>
                  <a:gd name="f219" fmla="val 250"/>
                  <a:gd name="f220" fmla="val 239"/>
                  <a:gd name="f221" fmla="val 230"/>
                  <a:gd name="f222" fmla="val 223"/>
                  <a:gd name="f223" fmla="val 220"/>
                  <a:gd name="f224" fmla="val 221"/>
                  <a:gd name="f225" fmla="val 524"/>
                  <a:gd name="f226" fmla="val 216"/>
                  <a:gd name="f227" fmla="val 212"/>
                  <a:gd name="f228" fmla="val 209"/>
                  <a:gd name="f229" fmla="val 206"/>
                  <a:gd name="f230" fmla="val 203"/>
                  <a:gd name="f231" fmla="val 198"/>
                  <a:gd name="f232" fmla="val 191"/>
                  <a:gd name="f233" fmla="val 183"/>
                  <a:gd name="f234" fmla="val 177"/>
                  <a:gd name="f235" fmla="val 172"/>
                  <a:gd name="f236" fmla="val 165"/>
                  <a:gd name="f237" fmla="val 155"/>
                  <a:gd name="f238" fmla="val 140"/>
                  <a:gd name="f239" fmla="val 122"/>
                  <a:gd name="f240" fmla="val 101"/>
                  <a:gd name="f241" fmla="val 97"/>
                  <a:gd name="f242" fmla="val 90"/>
                  <a:gd name="f243" fmla="val 537"/>
                  <a:gd name="f244" fmla="val 96"/>
                  <a:gd name="f245" fmla="val 530"/>
                  <a:gd name="f246" fmla="val 94"/>
                  <a:gd name="f247" fmla="val 92"/>
                  <a:gd name="f248" fmla="val 98"/>
                  <a:gd name="f249" fmla="val 488"/>
                  <a:gd name="f250" fmla="val 110"/>
                  <a:gd name="f251" fmla="val 459"/>
                  <a:gd name="f252" fmla="val 114"/>
                  <a:gd name="f253" fmla="val 119"/>
                  <a:gd name="f254" fmla="val 127"/>
                  <a:gd name="f255" fmla="val 139"/>
                  <a:gd name="f256" fmla="val 150"/>
                  <a:gd name="f257" fmla="val 158"/>
                  <a:gd name="f258" fmla="val 166"/>
                  <a:gd name="f259" fmla="val 176"/>
                  <a:gd name="f260" fmla="val 190"/>
                  <a:gd name="f261" fmla="val 205"/>
                  <a:gd name="f262" fmla="val 235"/>
                  <a:gd name="f263" fmla="val 424"/>
                  <a:gd name="f264" fmla="val 245"/>
                  <a:gd name="f265" fmla="val 256"/>
                  <a:gd name="f266" fmla="val 266"/>
                  <a:gd name="f267" fmla="val 409"/>
                  <a:gd name="f268" fmla="val 275"/>
                  <a:gd name="f269" fmla="val 394"/>
                  <a:gd name="f270" fmla="val 284"/>
                  <a:gd name="f271" fmla="val 380"/>
                  <a:gd name="f272" fmla="val 292"/>
                  <a:gd name="f273" fmla="val 369"/>
                  <a:gd name="f274" fmla="val 299"/>
                  <a:gd name="f275" fmla="val 303"/>
                  <a:gd name="f276" fmla="val 355"/>
                  <a:gd name="f277" fmla="val 348"/>
                  <a:gd name="f278" fmla="val 340"/>
                  <a:gd name="f279" fmla="val 330"/>
                  <a:gd name="f280" fmla="val 264"/>
                  <a:gd name="f281" fmla="val 309"/>
                  <a:gd name="f282" fmla="val 252"/>
                  <a:gd name="f283" fmla="val 302"/>
                  <a:gd name="f284" fmla="val 249"/>
                  <a:gd name="f285" fmla="val 295"/>
                  <a:gd name="f286" fmla="val 248"/>
                  <a:gd name="f287" fmla="val 261"/>
                  <a:gd name="f288" fmla="val 246"/>
                  <a:gd name="f289" fmla="val 242"/>
                  <a:gd name="f290" fmla="val 243"/>
                  <a:gd name="f291" fmla="val 238"/>
                  <a:gd name="f292" fmla="val 241"/>
                  <a:gd name="f293" fmla="val 231"/>
                  <a:gd name="f294" fmla="val 234"/>
                  <a:gd name="f295" fmla="val 219"/>
                  <a:gd name="f296" fmla="val 233"/>
                  <a:gd name="f297" fmla="val 213"/>
                  <a:gd name="f298" fmla="val 210"/>
                  <a:gd name="f299" fmla="val 232"/>
                  <a:gd name="f300" fmla="val 208"/>
                  <a:gd name="f301" fmla="val 226"/>
                  <a:gd name="f302" fmla="val 215"/>
                  <a:gd name="f303" fmla="val 207"/>
                  <a:gd name="f304" fmla="val 187"/>
                  <a:gd name="f305" fmla="val 179"/>
                  <a:gd name="f306" fmla="val 170"/>
                  <a:gd name="f307" fmla="val 204"/>
                  <a:gd name="f308" fmla="val 163"/>
                  <a:gd name="f309" fmla="val 197"/>
                  <a:gd name="f310" fmla="val 151"/>
                  <a:gd name="f311" fmla="val 153"/>
                  <a:gd name="f312" fmla="val 144"/>
                  <a:gd name="f313" fmla="val 142"/>
                  <a:gd name="f314" fmla="val 132"/>
                  <a:gd name="f315" fmla="val 129"/>
                  <a:gd name="f316" fmla="val 123"/>
                  <a:gd name="f317" fmla="val 116"/>
                  <a:gd name="f318" fmla="val 111"/>
                  <a:gd name="f319" fmla="val 100"/>
                  <a:gd name="f320" fmla="val 105"/>
                  <a:gd name="f321" fmla="val 99"/>
                  <a:gd name="f322" fmla="val 103"/>
                  <a:gd name="f323" fmla="val 118"/>
                  <a:gd name="f324" fmla="val 86"/>
                  <a:gd name="f325" fmla="val 130"/>
                  <a:gd name="f326" fmla="val 79"/>
                  <a:gd name="f327" fmla="val 143"/>
                  <a:gd name="f328" fmla="val 72"/>
                  <a:gd name="f329" fmla="val 63"/>
                  <a:gd name="f330" fmla="val 160"/>
                  <a:gd name="f331" fmla="val 49"/>
                  <a:gd name="f332" fmla="val 47"/>
                  <a:gd name="f333" fmla="val 148"/>
                  <a:gd name="f334" fmla="val 135"/>
                  <a:gd name="f335" fmla="val 42"/>
                  <a:gd name="f336" fmla="val 125"/>
                  <a:gd name="f337" fmla="val 31"/>
                  <a:gd name="f338" fmla="val 121"/>
                  <a:gd name="f339" fmla="val 16"/>
                  <a:gd name="f340" fmla="val 115"/>
                  <a:gd name="f341" fmla="val 29"/>
                  <a:gd name="f342" fmla="val 39"/>
                  <a:gd name="f343" fmla="val 46"/>
                  <a:gd name="f344" fmla="val 80"/>
                  <a:gd name="f345" fmla="val 58"/>
                  <a:gd name="f346" fmla="val 87"/>
                  <a:gd name="f347" fmla="val 53"/>
                  <a:gd name="f348" fmla="val 50"/>
                  <a:gd name="f349" fmla="val 137"/>
                  <a:gd name="f350" fmla="val 43"/>
                  <a:gd name="f351" fmla="val 44"/>
                  <a:gd name="f352" fmla="val 173"/>
                  <a:gd name="f353" fmla="val 74"/>
                  <a:gd name="f354" fmla="val 174"/>
                  <a:gd name="f355" fmla="val 83"/>
                  <a:gd name="f356" fmla="val 227"/>
                  <a:gd name="f357" fmla="val 89"/>
                  <a:gd name="f358" fmla="val 315"/>
                  <a:gd name="f359" fmla="val 328"/>
                  <a:gd name="f360" fmla="val 82"/>
                  <a:gd name="f361" fmla="val 362"/>
                  <a:gd name="f362" fmla="val 78"/>
                  <a:gd name="f363" fmla="val 396"/>
                  <a:gd name="f364" fmla="val 35"/>
                  <a:gd name="f365" fmla="val 24"/>
                  <a:gd name="f366" fmla="val 15"/>
                  <a:gd name="f367" fmla="val 8"/>
                  <a:gd name="f368" fmla="val 3"/>
                  <a:gd name="f369" fmla="+- 0 0 -90"/>
                  <a:gd name="f370" fmla="*/ f3 1 708"/>
                  <a:gd name="f371" fmla="*/ f4 1 699"/>
                  <a:gd name="f372" fmla="+- f7 0 f5"/>
                  <a:gd name="f373" fmla="+- f6 0 f5"/>
                  <a:gd name="f374" fmla="*/ f369 f0 1"/>
                  <a:gd name="f375" fmla="*/ f373 1 708"/>
                  <a:gd name="f376" fmla="*/ f372 1 699"/>
                  <a:gd name="f377" fmla="*/ f374 1 f2"/>
                  <a:gd name="f378" fmla="*/ 507 1 f375"/>
                  <a:gd name="f379" fmla="*/ 4 1 f376"/>
                  <a:gd name="f380" fmla="*/ 568 1 f375"/>
                  <a:gd name="f381" fmla="*/ 40 1 f376"/>
                  <a:gd name="f382" fmla="*/ 643 1 f375"/>
                  <a:gd name="f383" fmla="*/ 61 1 f376"/>
                  <a:gd name="f384" fmla="*/ 670 1 f375"/>
                  <a:gd name="f385" fmla="*/ 85 1 f376"/>
                  <a:gd name="f386" fmla="*/ 615 1 f375"/>
                  <a:gd name="f387" fmla="*/ 178 1 f376"/>
                  <a:gd name="f388" fmla="*/ 636 1 f375"/>
                  <a:gd name="f389" fmla="*/ 265 1 f376"/>
                  <a:gd name="f390" fmla="*/ 668 1 f375"/>
                  <a:gd name="f391" fmla="*/ 313 1 f376"/>
                  <a:gd name="f392" fmla="*/ 635 1 f375"/>
                  <a:gd name="f393" fmla="*/ 361 1 f376"/>
                  <a:gd name="f394" fmla="*/ 666 1 f375"/>
                  <a:gd name="f395" fmla="*/ 402 1 f376"/>
                  <a:gd name="f396" fmla="*/ 690 1 f375"/>
                  <a:gd name="f397" fmla="*/ 438 1 f376"/>
                  <a:gd name="f398" fmla="*/ 695 1 f375"/>
                  <a:gd name="f399" fmla="*/ 454 1 f376"/>
                  <a:gd name="f400" fmla="*/ 651 1 f375"/>
                  <a:gd name="f401" fmla="*/ 495 1 f376"/>
                  <a:gd name="f402" fmla="*/ 672 1 f375"/>
                  <a:gd name="f403" fmla="*/ 574 1 f376"/>
                  <a:gd name="f404" fmla="*/ 655 1 f375"/>
                  <a:gd name="f405" fmla="*/ 569 1 f376"/>
                  <a:gd name="f406" fmla="*/ 642 1 f376"/>
                  <a:gd name="f407" fmla="*/ 698 1 f376"/>
                  <a:gd name="f408" fmla="*/ 593 1 f375"/>
                  <a:gd name="f409" fmla="*/ 635 1 f376"/>
                  <a:gd name="f410" fmla="*/ 547 1 f375"/>
                  <a:gd name="f411" fmla="*/ 510 1 f376"/>
                  <a:gd name="f412" fmla="*/ 487 1 f375"/>
                  <a:gd name="f413" fmla="*/ 527 1 f376"/>
                  <a:gd name="f414" fmla="*/ 454 1 f375"/>
                  <a:gd name="f415" fmla="*/ 583 1 f376"/>
                  <a:gd name="f416" fmla="*/ 438 1 f375"/>
                  <a:gd name="f417" fmla="*/ 585 1 f376"/>
                  <a:gd name="f418" fmla="*/ 420 1 f375"/>
                  <a:gd name="f419" fmla="*/ 559 1 f376"/>
                  <a:gd name="f420" fmla="*/ 434 1 f375"/>
                  <a:gd name="f421" fmla="*/ 547 1 f376"/>
                  <a:gd name="f422" fmla="*/ 378 1 f375"/>
                  <a:gd name="f423" fmla="*/ 538 1 f376"/>
                  <a:gd name="f424" fmla="*/ 332 1 f375"/>
                  <a:gd name="f425" fmla="*/ 534 1 f376"/>
                  <a:gd name="f426" fmla="*/ 279 1 f375"/>
                  <a:gd name="f427" fmla="*/ 239 1 f375"/>
                  <a:gd name="f428" fmla="*/ 497 1 f376"/>
                  <a:gd name="f429" fmla="*/ 220 1 f375"/>
                  <a:gd name="f430" fmla="*/ 198 1 f375"/>
                  <a:gd name="f431" fmla="*/ 566 1 f376"/>
                  <a:gd name="f432" fmla="*/ 155 1 f375"/>
                  <a:gd name="f433" fmla="*/ 556 1 f376"/>
                  <a:gd name="f434" fmla="*/ 90 1 f375"/>
                  <a:gd name="f435" fmla="*/ 545 1 f376"/>
                  <a:gd name="f436" fmla="*/ 98 1 f375"/>
                  <a:gd name="f437" fmla="*/ 488 1 f376"/>
                  <a:gd name="f438" fmla="*/ 139 1 f375"/>
                  <a:gd name="f439" fmla="*/ 190 1 f375"/>
                  <a:gd name="f440" fmla="*/ 419 1 f376"/>
                  <a:gd name="f441" fmla="*/ 266 1 f375"/>
                  <a:gd name="f442" fmla="*/ 409 1 f376"/>
                  <a:gd name="f443" fmla="*/ 303 1 f375"/>
                  <a:gd name="f444" fmla="*/ 348 1 f376"/>
                  <a:gd name="f445" fmla="*/ 252 1 f375"/>
                  <a:gd name="f446" fmla="*/ 302 1 f376"/>
                  <a:gd name="f447" fmla="*/ 243 1 f376"/>
                  <a:gd name="f448" fmla="*/ 219 1 f375"/>
                  <a:gd name="f449" fmla="*/ 234 1 f376"/>
                  <a:gd name="f450" fmla="*/ 208 1 f375"/>
                  <a:gd name="f451" fmla="*/ 221 1 f376"/>
                  <a:gd name="f452" fmla="*/ 205 1 f375"/>
                  <a:gd name="f453" fmla="*/ 205 1 f376"/>
                  <a:gd name="f454" fmla="*/ 166 1 f376"/>
                  <a:gd name="f455" fmla="*/ 111 1 f375"/>
                  <a:gd name="f456" fmla="*/ 100 1 f376"/>
                  <a:gd name="f457" fmla="*/ 86 1 f375"/>
                  <a:gd name="f458" fmla="*/ 130 1 f376"/>
                  <a:gd name="f459" fmla="*/ 47 1 f375"/>
                  <a:gd name="f460" fmla="*/ 148 1 f376"/>
                  <a:gd name="f461" fmla="*/ 16 1 f375"/>
                  <a:gd name="f462" fmla="*/ 115 1 f376"/>
                  <a:gd name="f463" fmla="*/ 54 1 f375"/>
                  <a:gd name="f464" fmla="*/ 92 1 f376"/>
                  <a:gd name="f465" fmla="*/ 121 1 f375"/>
                  <a:gd name="f466" fmla="*/ 47 1 f376"/>
                  <a:gd name="f467" fmla="*/ 173 1 f375"/>
                  <a:gd name="f468" fmla="*/ 74 1 f376"/>
                  <a:gd name="f469" fmla="*/ 227 1 f375"/>
                  <a:gd name="f470" fmla="*/ 328 1 f375"/>
                  <a:gd name="f471" fmla="*/ 82 1 f376"/>
                  <a:gd name="f472" fmla="*/ 372 1 f375"/>
                  <a:gd name="f473" fmla="*/ 60 1 f376"/>
                  <a:gd name="f474" fmla="*/ 436 1 f375"/>
                  <a:gd name="f475" fmla="*/ 24 1 f376"/>
                  <a:gd name="f476" fmla="*/ 0 1 f375"/>
                  <a:gd name="f477" fmla="*/ f6 1 f375"/>
                  <a:gd name="f478" fmla="*/ 0 1 f376"/>
                  <a:gd name="f479" fmla="*/ f7 1 f376"/>
                  <a:gd name="f480" fmla="+- f377 0 f1"/>
                  <a:gd name="f481" fmla="*/ f476 f370 1"/>
                  <a:gd name="f482" fmla="*/ f477 f370 1"/>
                  <a:gd name="f483" fmla="*/ f479 f371 1"/>
                  <a:gd name="f484" fmla="*/ f478 f371 1"/>
                  <a:gd name="f485" fmla="*/ f378 f370 1"/>
                  <a:gd name="f486" fmla="*/ f379 f371 1"/>
                  <a:gd name="f487" fmla="*/ f380 f370 1"/>
                  <a:gd name="f488" fmla="*/ f381 f371 1"/>
                  <a:gd name="f489" fmla="*/ f382 f370 1"/>
                  <a:gd name="f490" fmla="*/ f383 f371 1"/>
                  <a:gd name="f491" fmla="*/ f384 f370 1"/>
                  <a:gd name="f492" fmla="*/ f385 f371 1"/>
                  <a:gd name="f493" fmla="*/ f386 f370 1"/>
                  <a:gd name="f494" fmla="*/ f387 f371 1"/>
                  <a:gd name="f495" fmla="*/ f388 f370 1"/>
                  <a:gd name="f496" fmla="*/ f389 f371 1"/>
                  <a:gd name="f497" fmla="*/ f390 f370 1"/>
                  <a:gd name="f498" fmla="*/ f391 f371 1"/>
                  <a:gd name="f499" fmla="*/ f392 f370 1"/>
                  <a:gd name="f500" fmla="*/ f393 f371 1"/>
                  <a:gd name="f501" fmla="*/ f394 f370 1"/>
                  <a:gd name="f502" fmla="*/ f395 f371 1"/>
                  <a:gd name="f503" fmla="*/ f396 f370 1"/>
                  <a:gd name="f504" fmla="*/ f397 f371 1"/>
                  <a:gd name="f505" fmla="*/ f398 f370 1"/>
                  <a:gd name="f506" fmla="*/ f399 f371 1"/>
                  <a:gd name="f507" fmla="*/ f400 f370 1"/>
                  <a:gd name="f508" fmla="*/ f401 f371 1"/>
                  <a:gd name="f509" fmla="*/ f402 f370 1"/>
                  <a:gd name="f510" fmla="*/ f403 f371 1"/>
                  <a:gd name="f511" fmla="*/ f404 f370 1"/>
                  <a:gd name="f512" fmla="*/ f405 f371 1"/>
                  <a:gd name="f513" fmla="*/ f406 f371 1"/>
                  <a:gd name="f514" fmla="*/ f407 f371 1"/>
                  <a:gd name="f515" fmla="*/ f408 f370 1"/>
                  <a:gd name="f516" fmla="*/ f409 f371 1"/>
                  <a:gd name="f517" fmla="*/ f410 f370 1"/>
                  <a:gd name="f518" fmla="*/ f411 f371 1"/>
                  <a:gd name="f519" fmla="*/ f412 f370 1"/>
                  <a:gd name="f520" fmla="*/ f413 f371 1"/>
                  <a:gd name="f521" fmla="*/ f414 f370 1"/>
                  <a:gd name="f522" fmla="*/ f415 f371 1"/>
                  <a:gd name="f523" fmla="*/ f416 f370 1"/>
                  <a:gd name="f524" fmla="*/ f417 f371 1"/>
                  <a:gd name="f525" fmla="*/ f418 f370 1"/>
                  <a:gd name="f526" fmla="*/ f419 f371 1"/>
                  <a:gd name="f527" fmla="*/ f420 f370 1"/>
                  <a:gd name="f528" fmla="*/ f421 f371 1"/>
                  <a:gd name="f529" fmla="*/ f422 f370 1"/>
                  <a:gd name="f530" fmla="*/ f423 f371 1"/>
                  <a:gd name="f531" fmla="*/ f424 f370 1"/>
                  <a:gd name="f532" fmla="*/ f425 f371 1"/>
                  <a:gd name="f533" fmla="*/ f426 f370 1"/>
                  <a:gd name="f534" fmla="*/ f427 f370 1"/>
                  <a:gd name="f535" fmla="*/ f428 f371 1"/>
                  <a:gd name="f536" fmla="*/ f429 f370 1"/>
                  <a:gd name="f537" fmla="*/ f430 f370 1"/>
                  <a:gd name="f538" fmla="*/ f431 f371 1"/>
                  <a:gd name="f539" fmla="*/ f432 f370 1"/>
                  <a:gd name="f540" fmla="*/ f433 f371 1"/>
                  <a:gd name="f541" fmla="*/ f434 f370 1"/>
                  <a:gd name="f542" fmla="*/ f435 f371 1"/>
                  <a:gd name="f543" fmla="*/ f436 f370 1"/>
                  <a:gd name="f544" fmla="*/ f437 f371 1"/>
                  <a:gd name="f545" fmla="*/ f438 f370 1"/>
                  <a:gd name="f546" fmla="*/ f439 f370 1"/>
                  <a:gd name="f547" fmla="*/ f440 f371 1"/>
                  <a:gd name="f548" fmla="*/ f441 f370 1"/>
                  <a:gd name="f549" fmla="*/ f442 f371 1"/>
                  <a:gd name="f550" fmla="*/ f443 f370 1"/>
                  <a:gd name="f551" fmla="*/ f444 f371 1"/>
                  <a:gd name="f552" fmla="*/ f445 f370 1"/>
                  <a:gd name="f553" fmla="*/ f446 f371 1"/>
                  <a:gd name="f554" fmla="*/ f447 f371 1"/>
                  <a:gd name="f555" fmla="*/ f448 f370 1"/>
                  <a:gd name="f556" fmla="*/ f449 f371 1"/>
                  <a:gd name="f557" fmla="*/ f450 f370 1"/>
                  <a:gd name="f558" fmla="*/ f451 f371 1"/>
                  <a:gd name="f559" fmla="*/ f452 f370 1"/>
                  <a:gd name="f560" fmla="*/ f453 f371 1"/>
                  <a:gd name="f561" fmla="*/ f454 f371 1"/>
                  <a:gd name="f562" fmla="*/ f455 f370 1"/>
                  <a:gd name="f563" fmla="*/ f456 f371 1"/>
                  <a:gd name="f564" fmla="*/ f457 f370 1"/>
                  <a:gd name="f565" fmla="*/ f458 f371 1"/>
                  <a:gd name="f566" fmla="*/ f459 f370 1"/>
                  <a:gd name="f567" fmla="*/ f460 f371 1"/>
                  <a:gd name="f568" fmla="*/ f461 f370 1"/>
                  <a:gd name="f569" fmla="*/ f462 f371 1"/>
                  <a:gd name="f570" fmla="*/ f463 f370 1"/>
                  <a:gd name="f571" fmla="*/ f464 f371 1"/>
                  <a:gd name="f572" fmla="*/ f465 f370 1"/>
                  <a:gd name="f573" fmla="*/ f466 f371 1"/>
                  <a:gd name="f574" fmla="*/ f467 f370 1"/>
                  <a:gd name="f575" fmla="*/ f468 f371 1"/>
                  <a:gd name="f576" fmla="*/ f469 f370 1"/>
                  <a:gd name="f577" fmla="*/ f470 f370 1"/>
                  <a:gd name="f578" fmla="*/ f471 f371 1"/>
                  <a:gd name="f579" fmla="*/ f472 f370 1"/>
                  <a:gd name="f580" fmla="*/ f473 f371 1"/>
                  <a:gd name="f581" fmla="*/ f474 f370 1"/>
                  <a:gd name="f582" fmla="*/ f475 f37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80">
                    <a:pos x="f485" y="f486"/>
                  </a:cxn>
                  <a:cxn ang="f480">
                    <a:pos x="f487" y="f488"/>
                  </a:cxn>
                  <a:cxn ang="f480">
                    <a:pos x="f489" y="f490"/>
                  </a:cxn>
                  <a:cxn ang="f480">
                    <a:pos x="f491" y="f492"/>
                  </a:cxn>
                  <a:cxn ang="f480">
                    <a:pos x="f493" y="f494"/>
                  </a:cxn>
                  <a:cxn ang="f480">
                    <a:pos x="f495" y="f496"/>
                  </a:cxn>
                  <a:cxn ang="f480">
                    <a:pos x="f497" y="f498"/>
                  </a:cxn>
                  <a:cxn ang="f480">
                    <a:pos x="f499" y="f500"/>
                  </a:cxn>
                  <a:cxn ang="f480">
                    <a:pos x="f501" y="f502"/>
                  </a:cxn>
                  <a:cxn ang="f480">
                    <a:pos x="f503" y="f504"/>
                  </a:cxn>
                  <a:cxn ang="f480">
                    <a:pos x="f505" y="f506"/>
                  </a:cxn>
                  <a:cxn ang="f480">
                    <a:pos x="f507" y="f508"/>
                  </a:cxn>
                  <a:cxn ang="f480">
                    <a:pos x="f509" y="f510"/>
                  </a:cxn>
                  <a:cxn ang="f480">
                    <a:pos x="f511" y="f512"/>
                  </a:cxn>
                  <a:cxn ang="f480">
                    <a:pos x="f501" y="f513"/>
                  </a:cxn>
                  <a:cxn ang="f480">
                    <a:pos x="f511" y="f514"/>
                  </a:cxn>
                  <a:cxn ang="f480">
                    <a:pos x="f515" y="f516"/>
                  </a:cxn>
                  <a:cxn ang="f480">
                    <a:pos x="f517" y="f518"/>
                  </a:cxn>
                  <a:cxn ang="f480">
                    <a:pos x="f519" y="f520"/>
                  </a:cxn>
                  <a:cxn ang="f480">
                    <a:pos x="f521" y="f522"/>
                  </a:cxn>
                  <a:cxn ang="f480">
                    <a:pos x="f523" y="f524"/>
                  </a:cxn>
                  <a:cxn ang="f480">
                    <a:pos x="f525" y="f526"/>
                  </a:cxn>
                  <a:cxn ang="f480">
                    <a:pos x="f527" y="f528"/>
                  </a:cxn>
                  <a:cxn ang="f480">
                    <a:pos x="f529" y="f530"/>
                  </a:cxn>
                  <a:cxn ang="f480">
                    <a:pos x="f531" y="f532"/>
                  </a:cxn>
                  <a:cxn ang="f480">
                    <a:pos x="f533" y="f532"/>
                  </a:cxn>
                  <a:cxn ang="f480">
                    <a:pos x="f534" y="f535"/>
                  </a:cxn>
                  <a:cxn ang="f480">
                    <a:pos x="f536" y="f532"/>
                  </a:cxn>
                  <a:cxn ang="f480">
                    <a:pos x="f537" y="f538"/>
                  </a:cxn>
                  <a:cxn ang="f480">
                    <a:pos x="f539" y="f540"/>
                  </a:cxn>
                  <a:cxn ang="f480">
                    <a:pos x="f541" y="f542"/>
                  </a:cxn>
                  <a:cxn ang="f480">
                    <a:pos x="f543" y="f544"/>
                  </a:cxn>
                  <a:cxn ang="f480">
                    <a:pos x="f545" y="f504"/>
                  </a:cxn>
                  <a:cxn ang="f480">
                    <a:pos x="f546" y="f547"/>
                  </a:cxn>
                  <a:cxn ang="f480">
                    <a:pos x="f548" y="f549"/>
                  </a:cxn>
                  <a:cxn ang="f480">
                    <a:pos x="f550" y="f551"/>
                  </a:cxn>
                  <a:cxn ang="f480">
                    <a:pos x="f552" y="f553"/>
                  </a:cxn>
                  <a:cxn ang="f480">
                    <a:pos x="f534" y="f554"/>
                  </a:cxn>
                  <a:cxn ang="f480">
                    <a:pos x="f555" y="f556"/>
                  </a:cxn>
                  <a:cxn ang="f480">
                    <a:pos x="f557" y="f558"/>
                  </a:cxn>
                  <a:cxn ang="f480">
                    <a:pos x="f559" y="f560"/>
                  </a:cxn>
                  <a:cxn ang="f480">
                    <a:pos x="f539" y="f561"/>
                  </a:cxn>
                  <a:cxn ang="f480">
                    <a:pos x="f562" y="f563"/>
                  </a:cxn>
                  <a:cxn ang="f480">
                    <a:pos x="f564" y="f565"/>
                  </a:cxn>
                  <a:cxn ang="f480">
                    <a:pos x="f566" y="f567"/>
                  </a:cxn>
                  <a:cxn ang="f480">
                    <a:pos x="f568" y="f569"/>
                  </a:cxn>
                  <a:cxn ang="f480">
                    <a:pos x="f570" y="f571"/>
                  </a:cxn>
                  <a:cxn ang="f480">
                    <a:pos x="f572" y="f573"/>
                  </a:cxn>
                  <a:cxn ang="f480">
                    <a:pos x="f574" y="f575"/>
                  </a:cxn>
                  <a:cxn ang="f480">
                    <a:pos x="f576" y="f571"/>
                  </a:cxn>
                  <a:cxn ang="f480">
                    <a:pos x="f577" y="f578"/>
                  </a:cxn>
                  <a:cxn ang="f480">
                    <a:pos x="f579" y="f580"/>
                  </a:cxn>
                  <a:cxn ang="f480">
                    <a:pos x="f581" y="f582"/>
                  </a:cxn>
                </a:cxnLst>
                <a:rect l="f481" t="f484" r="f482" b="f483"/>
                <a:pathLst>
                  <a:path w="708" h="699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2"/>
                    </a:lnTo>
                    <a:lnTo>
                      <a:pt x="f18" y="f12"/>
                    </a:lnTo>
                    <a:lnTo>
                      <a:pt x="f19" y="f14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1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38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5"/>
                    </a:lnTo>
                    <a:lnTo>
                      <a:pt x="f46" y="f47"/>
                    </a:lnTo>
                    <a:lnTo>
                      <a:pt x="f42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5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36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51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44" y="f76"/>
                    </a:lnTo>
                    <a:lnTo>
                      <a:pt x="f44" y="f77"/>
                    </a:lnTo>
                    <a:lnTo>
                      <a:pt x="f74" y="f78"/>
                    </a:lnTo>
                    <a:lnTo>
                      <a:pt x="f39" y="f79"/>
                    </a:lnTo>
                    <a:lnTo>
                      <a:pt x="f37" y="f80"/>
                    </a:lnTo>
                    <a:lnTo>
                      <a:pt x="f81" y="f82"/>
                    </a:lnTo>
                    <a:lnTo>
                      <a:pt x="f64" y="f83"/>
                    </a:lnTo>
                    <a:lnTo>
                      <a:pt x="f36" y="f84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44" y="f93"/>
                    </a:lnTo>
                    <a:lnTo>
                      <a:pt x="f42" y="f94"/>
                    </a:lnTo>
                    <a:lnTo>
                      <a:pt x="f42" y="f95"/>
                    </a:lnTo>
                    <a:lnTo>
                      <a:pt x="f44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6" y="f98"/>
                    </a:lnTo>
                    <a:lnTo>
                      <a:pt x="f109" y="f110"/>
                    </a:lnTo>
                    <a:lnTo>
                      <a:pt x="f111" y="f112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42" y="f119"/>
                    </a:lnTo>
                    <a:lnTo>
                      <a:pt x="f89" y="f120"/>
                    </a:lnTo>
                    <a:lnTo>
                      <a:pt x="f72" y="f121"/>
                    </a:lnTo>
                    <a:lnTo>
                      <a:pt x="f87" y="f122"/>
                    </a:lnTo>
                    <a:lnTo>
                      <a:pt x="f39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91" y="f128"/>
                    </a:lnTo>
                    <a:lnTo>
                      <a:pt x="f44" y="f129"/>
                    </a:lnTo>
                    <a:lnTo>
                      <a:pt x="f97" y="f130"/>
                    </a:lnTo>
                    <a:lnTo>
                      <a:pt x="f46" y="f131"/>
                    </a:lnTo>
                    <a:lnTo>
                      <a:pt x="f44" y="f132"/>
                    </a:lnTo>
                    <a:lnTo>
                      <a:pt x="f42" y="f133"/>
                    </a:lnTo>
                    <a:lnTo>
                      <a:pt x="f74" y="f134"/>
                    </a:lnTo>
                    <a:lnTo>
                      <a:pt x="f89" y="f135"/>
                    </a:lnTo>
                    <a:lnTo>
                      <a:pt x="f136" y="f132"/>
                    </a:lnTo>
                    <a:lnTo>
                      <a:pt x="f136" y="f30"/>
                    </a:lnTo>
                    <a:lnTo>
                      <a:pt x="f124" y="f137"/>
                    </a:lnTo>
                    <a:lnTo>
                      <a:pt x="f49" y="f138"/>
                    </a:lnTo>
                    <a:lnTo>
                      <a:pt x="f89" y="f139"/>
                    </a:lnTo>
                    <a:lnTo>
                      <a:pt x="f74" y="f36"/>
                    </a:lnTo>
                    <a:lnTo>
                      <a:pt x="f42" y="f140"/>
                    </a:lnTo>
                    <a:lnTo>
                      <a:pt x="f97" y="f87"/>
                    </a:lnTo>
                    <a:lnTo>
                      <a:pt x="f117" y="f89"/>
                    </a:lnTo>
                    <a:lnTo>
                      <a:pt x="f141" y="f46"/>
                    </a:lnTo>
                    <a:lnTo>
                      <a:pt x="f46" y="f142"/>
                    </a:lnTo>
                    <a:lnTo>
                      <a:pt x="f44" y="f143"/>
                    </a:lnTo>
                    <a:lnTo>
                      <a:pt x="f136" y="f105"/>
                    </a:lnTo>
                    <a:lnTo>
                      <a:pt x="f144" y="f7"/>
                    </a:lnTo>
                    <a:lnTo>
                      <a:pt x="f36" y="f105"/>
                    </a:lnTo>
                    <a:lnTo>
                      <a:pt x="f3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36"/>
                    </a:lnTo>
                    <a:lnTo>
                      <a:pt x="f151" y="f146"/>
                    </a:lnTo>
                    <a:lnTo>
                      <a:pt x="f28" y="f152"/>
                    </a:lnTo>
                    <a:lnTo>
                      <a:pt x="f130" y="f131"/>
                    </a:lnTo>
                    <a:lnTo>
                      <a:pt x="f153" y="f19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8" y="f159"/>
                    </a:lnTo>
                    <a:lnTo>
                      <a:pt x="f160" y="f161"/>
                    </a:lnTo>
                    <a:lnTo>
                      <a:pt x="f162" y="f122"/>
                    </a:lnTo>
                    <a:lnTo>
                      <a:pt x="f157" y="f163"/>
                    </a:lnTo>
                    <a:lnTo>
                      <a:pt x="f164" y="f165"/>
                    </a:lnTo>
                    <a:lnTo>
                      <a:pt x="f120" y="f160"/>
                    </a:lnTo>
                    <a:lnTo>
                      <a:pt x="f166" y="f158"/>
                    </a:lnTo>
                    <a:lnTo>
                      <a:pt x="f167" y="f156"/>
                    </a:lnTo>
                    <a:lnTo>
                      <a:pt x="f168" y="f169"/>
                    </a:lnTo>
                    <a:lnTo>
                      <a:pt x="f170" y="f171"/>
                    </a:lnTo>
                    <a:lnTo>
                      <a:pt x="f172" y="f130"/>
                    </a:lnTo>
                    <a:lnTo>
                      <a:pt x="f114" y="f173"/>
                    </a:lnTo>
                    <a:lnTo>
                      <a:pt x="f114" y="f174"/>
                    </a:lnTo>
                    <a:lnTo>
                      <a:pt x="f175" y="f176"/>
                    </a:lnTo>
                    <a:lnTo>
                      <a:pt x="f177" y="f178"/>
                    </a:lnTo>
                    <a:lnTo>
                      <a:pt x="f179" y="f178"/>
                    </a:lnTo>
                    <a:lnTo>
                      <a:pt x="f180" y="f176"/>
                    </a:lnTo>
                    <a:lnTo>
                      <a:pt x="f104" y="f181"/>
                    </a:lnTo>
                    <a:lnTo>
                      <a:pt x="f182" y="f183"/>
                    </a:lnTo>
                    <a:lnTo>
                      <a:pt x="f184" y="f185"/>
                    </a:lnTo>
                    <a:lnTo>
                      <a:pt x="f186" y="f171"/>
                    </a:lnTo>
                    <a:lnTo>
                      <a:pt x="f187" y="f135"/>
                    </a:lnTo>
                    <a:lnTo>
                      <a:pt x="f187" y="f134"/>
                    </a:lnTo>
                    <a:lnTo>
                      <a:pt x="f186" y="f24"/>
                    </a:lnTo>
                    <a:lnTo>
                      <a:pt x="f188" y="f153"/>
                    </a:lnTo>
                    <a:lnTo>
                      <a:pt x="f182" y="f22"/>
                    </a:lnTo>
                    <a:lnTo>
                      <a:pt x="f106" y="f189"/>
                    </a:lnTo>
                    <a:lnTo>
                      <a:pt x="f110" y="f190"/>
                    </a:lnTo>
                    <a:lnTo>
                      <a:pt x="f191" y="f156"/>
                    </a:lnTo>
                    <a:lnTo>
                      <a:pt x="f106" y="f156"/>
                    </a:lnTo>
                    <a:lnTo>
                      <a:pt x="f192" y="f193"/>
                    </a:lnTo>
                    <a:lnTo>
                      <a:pt x="f187" y="f193"/>
                    </a:lnTo>
                    <a:lnTo>
                      <a:pt x="f194" y="f156"/>
                    </a:lnTo>
                    <a:lnTo>
                      <a:pt x="f195" y="f156"/>
                    </a:lnTo>
                    <a:lnTo>
                      <a:pt x="f196" y="f197"/>
                    </a:lnTo>
                    <a:lnTo>
                      <a:pt x="f198" y="f158"/>
                    </a:lnTo>
                    <a:lnTo>
                      <a:pt x="f88" y="f199"/>
                    </a:lnTo>
                    <a:lnTo>
                      <a:pt x="f200" y="f201"/>
                    </a:lnTo>
                    <a:lnTo>
                      <a:pt x="f84" y="f155"/>
                    </a:lnTo>
                    <a:lnTo>
                      <a:pt x="f202" y="f203"/>
                    </a:lnTo>
                    <a:lnTo>
                      <a:pt x="f204" y="f160"/>
                    </a:lnTo>
                    <a:lnTo>
                      <a:pt x="f205" y="f206"/>
                    </a:lnTo>
                    <a:lnTo>
                      <a:pt x="f207" y="f128"/>
                    </a:lnTo>
                    <a:lnTo>
                      <a:pt x="f208" y="f156"/>
                    </a:lnTo>
                    <a:lnTo>
                      <a:pt x="f209" y="f189"/>
                    </a:lnTo>
                    <a:lnTo>
                      <a:pt x="f210" y="f211"/>
                    </a:lnTo>
                    <a:lnTo>
                      <a:pt x="f71" y="f197"/>
                    </a:lnTo>
                    <a:lnTo>
                      <a:pt x="f212" y="f206"/>
                    </a:lnTo>
                    <a:lnTo>
                      <a:pt x="f213" y="f155"/>
                    </a:lnTo>
                    <a:lnTo>
                      <a:pt x="f214" y="f215"/>
                    </a:lnTo>
                    <a:lnTo>
                      <a:pt x="f216" y="f123"/>
                    </a:lnTo>
                    <a:lnTo>
                      <a:pt x="f217" y="f218"/>
                    </a:lnTo>
                    <a:lnTo>
                      <a:pt x="f219" y="f163"/>
                    </a:lnTo>
                    <a:lnTo>
                      <a:pt x="f220" y="f161"/>
                    </a:lnTo>
                    <a:lnTo>
                      <a:pt x="f221" y="f161"/>
                    </a:lnTo>
                    <a:lnTo>
                      <a:pt x="f222" y="f218"/>
                    </a:lnTo>
                    <a:lnTo>
                      <a:pt x="f223" y="f165"/>
                    </a:lnTo>
                    <a:lnTo>
                      <a:pt x="f223" y="f125"/>
                    </a:lnTo>
                    <a:lnTo>
                      <a:pt x="f224" y="f225"/>
                    </a:lnTo>
                    <a:lnTo>
                      <a:pt x="f223" y="f206"/>
                    </a:lnTo>
                    <a:lnTo>
                      <a:pt x="f226" y="f128"/>
                    </a:lnTo>
                    <a:lnTo>
                      <a:pt x="f227" y="f156"/>
                    </a:lnTo>
                    <a:lnTo>
                      <a:pt x="f228" y="f22"/>
                    </a:lnTo>
                    <a:lnTo>
                      <a:pt x="f229" y="f24"/>
                    </a:lnTo>
                    <a:lnTo>
                      <a:pt x="f230" y="f129"/>
                    </a:lnTo>
                    <a:lnTo>
                      <a:pt x="f231" y="f171"/>
                    </a:lnTo>
                    <a:lnTo>
                      <a:pt x="f232" y="f133"/>
                    </a:lnTo>
                    <a:lnTo>
                      <a:pt x="f233" y="f134"/>
                    </a:lnTo>
                    <a:lnTo>
                      <a:pt x="f234" y="f153"/>
                    </a:lnTo>
                    <a:lnTo>
                      <a:pt x="f235" y="f22"/>
                    </a:lnTo>
                    <a:lnTo>
                      <a:pt x="f236" y="f22"/>
                    </a:lnTo>
                    <a:lnTo>
                      <a:pt x="f237" y="f153"/>
                    </a:lnTo>
                    <a:lnTo>
                      <a:pt x="f238" y="f134"/>
                    </a:lnTo>
                    <a:lnTo>
                      <a:pt x="f239" y="f171"/>
                    </a:lnTo>
                    <a:lnTo>
                      <a:pt x="f240" y="f131"/>
                    </a:lnTo>
                    <a:lnTo>
                      <a:pt x="f241" y="f129"/>
                    </a:lnTo>
                    <a:lnTo>
                      <a:pt x="f48" y="f22"/>
                    </a:lnTo>
                    <a:lnTo>
                      <a:pt x="f242" y="f193"/>
                    </a:lnTo>
                    <a:lnTo>
                      <a:pt x="f48" y="f243"/>
                    </a:lnTo>
                    <a:lnTo>
                      <a:pt x="f244" y="f245"/>
                    </a:lnTo>
                    <a:lnTo>
                      <a:pt x="f244" y="f155"/>
                    </a:lnTo>
                    <a:lnTo>
                      <a:pt x="f246" y="f157"/>
                    </a:lnTo>
                    <a:lnTo>
                      <a:pt x="f247" y="f218"/>
                    </a:lnTo>
                    <a:lnTo>
                      <a:pt x="f248" y="f249"/>
                    </a:lnTo>
                    <a:lnTo>
                      <a:pt x="f50" y="f167"/>
                    </a:lnTo>
                    <a:lnTo>
                      <a:pt x="f250" y="f251"/>
                    </a:lnTo>
                    <a:lnTo>
                      <a:pt x="f252" y="f177"/>
                    </a:lnTo>
                    <a:lnTo>
                      <a:pt x="f253" y="f180"/>
                    </a:lnTo>
                    <a:lnTo>
                      <a:pt x="f254" y="f102"/>
                    </a:lnTo>
                    <a:lnTo>
                      <a:pt x="f255" y="f104"/>
                    </a:lnTo>
                    <a:lnTo>
                      <a:pt x="f256" y="f106"/>
                    </a:lnTo>
                    <a:lnTo>
                      <a:pt x="f257" y="f182"/>
                    </a:lnTo>
                    <a:lnTo>
                      <a:pt x="f56" y="f184"/>
                    </a:lnTo>
                    <a:lnTo>
                      <a:pt x="f258" y="f186"/>
                    </a:lnTo>
                    <a:lnTo>
                      <a:pt x="f259" y="f187"/>
                    </a:lnTo>
                    <a:lnTo>
                      <a:pt x="f260" y="f187"/>
                    </a:lnTo>
                    <a:lnTo>
                      <a:pt x="f261" y="f186"/>
                    </a:lnTo>
                    <a:lnTo>
                      <a:pt x="f223" y="f184"/>
                    </a:lnTo>
                    <a:lnTo>
                      <a:pt x="f262" y="f263"/>
                    </a:lnTo>
                    <a:lnTo>
                      <a:pt x="f264" y="f263"/>
                    </a:lnTo>
                    <a:lnTo>
                      <a:pt x="f265" y="f186"/>
                    </a:lnTo>
                    <a:lnTo>
                      <a:pt x="f266" y="f267"/>
                    </a:lnTo>
                    <a:lnTo>
                      <a:pt x="f268" y="f269"/>
                    </a:lnTo>
                    <a:lnTo>
                      <a:pt x="f270" y="f271"/>
                    </a:lnTo>
                    <a:lnTo>
                      <a:pt x="f272" y="f273"/>
                    </a:lnTo>
                    <a:lnTo>
                      <a:pt x="f274" y="f84"/>
                    </a:lnTo>
                    <a:lnTo>
                      <a:pt x="f275" y="f276"/>
                    </a:lnTo>
                    <a:lnTo>
                      <a:pt x="f275" y="f277"/>
                    </a:lnTo>
                    <a:lnTo>
                      <a:pt x="f274" y="f278"/>
                    </a:lnTo>
                    <a:lnTo>
                      <a:pt x="f210" y="f279"/>
                    </a:lnTo>
                    <a:lnTo>
                      <a:pt x="f214" y="f207"/>
                    </a:lnTo>
                    <a:lnTo>
                      <a:pt x="f280" y="f77"/>
                    </a:lnTo>
                    <a:lnTo>
                      <a:pt x="f66" y="f281"/>
                    </a:lnTo>
                    <a:lnTo>
                      <a:pt x="f282" y="f283"/>
                    </a:lnTo>
                    <a:lnTo>
                      <a:pt x="f284" y="f285"/>
                    </a:lnTo>
                    <a:lnTo>
                      <a:pt x="f286" y="f270"/>
                    </a:lnTo>
                    <a:lnTo>
                      <a:pt x="f286" y="f287"/>
                    </a:lnTo>
                    <a:lnTo>
                      <a:pt x="f288" y="f219"/>
                    </a:lnTo>
                    <a:lnTo>
                      <a:pt x="f289" y="f65"/>
                    </a:lnTo>
                    <a:lnTo>
                      <a:pt x="f220" y="f290"/>
                    </a:lnTo>
                    <a:lnTo>
                      <a:pt x="f291" y="f290"/>
                    </a:lnTo>
                    <a:lnTo>
                      <a:pt x="f262" y="f292"/>
                    </a:lnTo>
                    <a:lnTo>
                      <a:pt x="f293" y="f292"/>
                    </a:lnTo>
                    <a:lnTo>
                      <a:pt x="f293" y="f220"/>
                    </a:lnTo>
                    <a:lnTo>
                      <a:pt x="f222" y="f294"/>
                    </a:lnTo>
                    <a:lnTo>
                      <a:pt x="f295" y="f294"/>
                    </a:lnTo>
                    <a:lnTo>
                      <a:pt x="f226" y="f296"/>
                    </a:lnTo>
                    <a:lnTo>
                      <a:pt x="f297" y="f296"/>
                    </a:lnTo>
                    <a:lnTo>
                      <a:pt x="f298" y="f299"/>
                    </a:lnTo>
                    <a:lnTo>
                      <a:pt x="f228" y="f221"/>
                    </a:lnTo>
                    <a:lnTo>
                      <a:pt x="f300" y="f301"/>
                    </a:lnTo>
                    <a:lnTo>
                      <a:pt x="f300" y="f224"/>
                    </a:lnTo>
                    <a:lnTo>
                      <a:pt x="f228" y="f226"/>
                    </a:lnTo>
                    <a:lnTo>
                      <a:pt x="f298" y="f302"/>
                    </a:lnTo>
                    <a:lnTo>
                      <a:pt x="f298" y="f227"/>
                    </a:lnTo>
                    <a:lnTo>
                      <a:pt x="f227" y="f228"/>
                    </a:lnTo>
                    <a:lnTo>
                      <a:pt x="f228" y="f303"/>
                    </a:lnTo>
                    <a:lnTo>
                      <a:pt x="f261" y="f261"/>
                    </a:lnTo>
                    <a:lnTo>
                      <a:pt x="f304" y="f261"/>
                    </a:lnTo>
                    <a:lnTo>
                      <a:pt x="f305" y="f303"/>
                    </a:lnTo>
                    <a:lnTo>
                      <a:pt x="f306" y="f307"/>
                    </a:lnTo>
                    <a:lnTo>
                      <a:pt x="f308" y="f309"/>
                    </a:lnTo>
                    <a:lnTo>
                      <a:pt x="f257" y="f233"/>
                    </a:lnTo>
                    <a:lnTo>
                      <a:pt x="f237" y="f258"/>
                    </a:lnTo>
                    <a:lnTo>
                      <a:pt x="f310" y="f311"/>
                    </a:lnTo>
                    <a:lnTo>
                      <a:pt x="f312" y="f313"/>
                    </a:lnTo>
                    <a:lnTo>
                      <a:pt x="f314" y="f315"/>
                    </a:lnTo>
                    <a:lnTo>
                      <a:pt x="f316" y="f52"/>
                    </a:lnTo>
                    <a:lnTo>
                      <a:pt x="f317" y="f50"/>
                    </a:lnTo>
                    <a:lnTo>
                      <a:pt x="f318" y="f319"/>
                    </a:lnTo>
                    <a:lnTo>
                      <a:pt x="f320" y="f241"/>
                    </a:lnTo>
                    <a:lnTo>
                      <a:pt x="f319" y="f321"/>
                    </a:lnTo>
                    <a:lnTo>
                      <a:pt x="f246" y="f322"/>
                    </a:lnTo>
                    <a:lnTo>
                      <a:pt x="f48" y="f250"/>
                    </a:lnTo>
                    <a:lnTo>
                      <a:pt x="f247" y="f323"/>
                    </a:lnTo>
                    <a:lnTo>
                      <a:pt x="f324" y="f325"/>
                    </a:lnTo>
                    <a:lnTo>
                      <a:pt x="f326" y="f327"/>
                    </a:lnTo>
                    <a:lnTo>
                      <a:pt x="f328" y="f311"/>
                    </a:lnTo>
                    <a:lnTo>
                      <a:pt x="f329" y="f330"/>
                    </a:lnTo>
                    <a:lnTo>
                      <a:pt x="f29" y="f330"/>
                    </a:lnTo>
                    <a:lnTo>
                      <a:pt x="f331" y="f237"/>
                    </a:lnTo>
                    <a:lnTo>
                      <a:pt x="f332" y="f333"/>
                    </a:lnTo>
                    <a:lnTo>
                      <a:pt x="f332" y="f313"/>
                    </a:lnTo>
                    <a:lnTo>
                      <a:pt x="f331" y="f334"/>
                    </a:lnTo>
                    <a:lnTo>
                      <a:pt x="f332" y="f315"/>
                    </a:lnTo>
                    <a:lnTo>
                      <a:pt x="f335" y="f336"/>
                    </a:lnTo>
                    <a:lnTo>
                      <a:pt x="f337" y="f338"/>
                    </a:lnTo>
                    <a:lnTo>
                      <a:pt x="f339" y="f340"/>
                    </a:lnTo>
                    <a:lnTo>
                      <a:pt x="f5" y="f320"/>
                    </a:lnTo>
                    <a:lnTo>
                      <a:pt x="f339" y="f50"/>
                    </a:lnTo>
                    <a:lnTo>
                      <a:pt x="f341" y="f322"/>
                    </a:lnTo>
                    <a:lnTo>
                      <a:pt x="f342" y="f240"/>
                    </a:lnTo>
                    <a:lnTo>
                      <a:pt x="f343" y="f321"/>
                    </a:lnTo>
                    <a:lnTo>
                      <a:pt x="f29" y="f247"/>
                    </a:lnTo>
                    <a:lnTo>
                      <a:pt x="f38" y="f344"/>
                    </a:lnTo>
                    <a:lnTo>
                      <a:pt x="f33" y="f35"/>
                    </a:lnTo>
                    <a:lnTo>
                      <a:pt x="f326" y="f345"/>
                    </a:lnTo>
                    <a:lnTo>
                      <a:pt x="f346" y="f347"/>
                    </a:lnTo>
                    <a:lnTo>
                      <a:pt x="f322" y="f348"/>
                    </a:lnTo>
                    <a:lnTo>
                      <a:pt x="f338" y="f332"/>
                    </a:lnTo>
                    <a:lnTo>
                      <a:pt x="f349" y="f343"/>
                    </a:lnTo>
                    <a:lnTo>
                      <a:pt x="f333" y="f350"/>
                    </a:lnTo>
                    <a:lnTo>
                      <a:pt x="f237" y="f351"/>
                    </a:lnTo>
                    <a:lnTo>
                      <a:pt x="f308" y="f348"/>
                    </a:lnTo>
                    <a:lnTo>
                      <a:pt x="f306" y="f38"/>
                    </a:lnTo>
                    <a:lnTo>
                      <a:pt x="f352" y="f353"/>
                    </a:lnTo>
                    <a:lnTo>
                      <a:pt x="f354" y="f355"/>
                    </a:lnTo>
                    <a:lnTo>
                      <a:pt x="f234" y="f247"/>
                    </a:lnTo>
                    <a:lnTo>
                      <a:pt x="f233" y="f241"/>
                    </a:lnTo>
                    <a:lnTo>
                      <a:pt x="f232" y="f321"/>
                    </a:lnTo>
                    <a:lnTo>
                      <a:pt x="f230" y="f241"/>
                    </a:lnTo>
                    <a:lnTo>
                      <a:pt x="f356" y="f247"/>
                    </a:lnTo>
                    <a:lnTo>
                      <a:pt x="f219" y="f242"/>
                    </a:lnTo>
                    <a:lnTo>
                      <a:pt x="f214" y="f48"/>
                    </a:lnTo>
                    <a:lnTo>
                      <a:pt x="f73" y="f48"/>
                    </a:lnTo>
                    <a:lnTo>
                      <a:pt x="f275" y="f357"/>
                    </a:lnTo>
                    <a:lnTo>
                      <a:pt x="f358" y="f355"/>
                    </a:lnTo>
                    <a:lnTo>
                      <a:pt x="f359" y="f360"/>
                    </a:lnTo>
                    <a:lnTo>
                      <a:pt x="f80" y="f355"/>
                    </a:lnTo>
                    <a:lnTo>
                      <a:pt x="f82" y="f355"/>
                    </a:lnTo>
                    <a:lnTo>
                      <a:pt x="f276" y="f360"/>
                    </a:lnTo>
                    <a:lnTo>
                      <a:pt x="f361" y="f362"/>
                    </a:lnTo>
                    <a:lnTo>
                      <a:pt x="f200" y="f33"/>
                    </a:lnTo>
                    <a:lnTo>
                      <a:pt x="f88" y="f40"/>
                    </a:lnTo>
                    <a:lnTo>
                      <a:pt x="f196" y="f348"/>
                    </a:lnTo>
                    <a:lnTo>
                      <a:pt x="f363" y="f350"/>
                    </a:lnTo>
                    <a:lnTo>
                      <a:pt x="f267" y="f342"/>
                    </a:lnTo>
                    <a:lnTo>
                      <a:pt x="f96" y="f364"/>
                    </a:lnTo>
                    <a:lnTo>
                      <a:pt x="f192" y="f337"/>
                    </a:lnTo>
                    <a:lnTo>
                      <a:pt x="f191" y="f365"/>
                    </a:lnTo>
                    <a:lnTo>
                      <a:pt x="f100" y="f366"/>
                    </a:lnTo>
                    <a:lnTo>
                      <a:pt x="f179" y="f367"/>
                    </a:lnTo>
                    <a:lnTo>
                      <a:pt x="f175" y="f368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75" name="Freeform 37">
                <a:extLst>
                  <a:ext uri="{FF2B5EF4-FFF2-40B4-BE49-F238E27FC236}">
                    <a16:creationId xmlns:a16="http://schemas.microsoft.com/office/drawing/2014/main" id="{8F379E65-423D-4E0F-B0B0-7BFCD3999F23}"/>
                  </a:ext>
                </a:extLst>
              </p:cNvPr>
              <p:cNvSpPr/>
              <p:nvPr/>
            </p:nvSpPr>
            <p:spPr>
              <a:xfrm>
                <a:off x="4465819" y="2651001"/>
                <a:ext cx="110477" cy="12061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666"/>
                  <a:gd name="f7" fmla="val 741"/>
                  <a:gd name="f8" fmla="val 415"/>
                  <a:gd name="f9" fmla="val 426"/>
                  <a:gd name="f10" fmla="val 2"/>
                  <a:gd name="f11" fmla="val 437"/>
                  <a:gd name="f12" fmla="val 7"/>
                  <a:gd name="f13" fmla="val 446"/>
                  <a:gd name="f14" fmla="val 15"/>
                  <a:gd name="f15" fmla="val 451"/>
                  <a:gd name="f16" fmla="val 27"/>
                  <a:gd name="f17" fmla="val 455"/>
                  <a:gd name="f18" fmla="val 40"/>
                  <a:gd name="f19" fmla="val 473"/>
                  <a:gd name="f20" fmla="val 76"/>
                  <a:gd name="f21" fmla="val 480"/>
                  <a:gd name="f22" fmla="val 100"/>
                  <a:gd name="f23" fmla="val 485"/>
                  <a:gd name="f24" fmla="val 119"/>
                  <a:gd name="f25" fmla="val 492"/>
                  <a:gd name="f26" fmla="val 140"/>
                  <a:gd name="f27" fmla="val 502"/>
                  <a:gd name="f28" fmla="val 161"/>
                  <a:gd name="f29" fmla="val 513"/>
                  <a:gd name="f30" fmla="val 181"/>
                  <a:gd name="f31" fmla="val 524"/>
                  <a:gd name="f32" fmla="val 196"/>
                  <a:gd name="f33" fmla="val 534"/>
                  <a:gd name="f34" fmla="val 203"/>
                  <a:gd name="f35" fmla="val 543"/>
                  <a:gd name="f36" fmla="val 204"/>
                  <a:gd name="f37" fmla="val 554"/>
                  <a:gd name="f38" fmla="val 567"/>
                  <a:gd name="f39" fmla="val 199"/>
                  <a:gd name="f40" fmla="val 564"/>
                  <a:gd name="f41" fmla="val 210"/>
                  <a:gd name="f42" fmla="val 218"/>
                  <a:gd name="f43" fmla="val 225"/>
                  <a:gd name="f44" fmla="val 572"/>
                  <a:gd name="f45" fmla="val 230"/>
                  <a:gd name="f46" fmla="val 578"/>
                  <a:gd name="f47" fmla="val 583"/>
                  <a:gd name="f48" fmla="val 229"/>
                  <a:gd name="f49" fmla="val 594"/>
                  <a:gd name="f50" fmla="val 228"/>
                  <a:gd name="f51" fmla="val 598"/>
                  <a:gd name="f52" fmla="val 600"/>
                  <a:gd name="f53" fmla="val 601"/>
                  <a:gd name="f54" fmla="val 232"/>
                  <a:gd name="f55" fmla="val 233"/>
                  <a:gd name="f56" fmla="val 235"/>
                  <a:gd name="f57" fmla="val 237"/>
                  <a:gd name="f58" fmla="val 239"/>
                  <a:gd name="f59" fmla="val 603"/>
                  <a:gd name="f60" fmla="val 240"/>
                  <a:gd name="f61" fmla="val 604"/>
                  <a:gd name="f62" fmla="val 589"/>
                  <a:gd name="f63" fmla="val 254"/>
                  <a:gd name="f64" fmla="val 576"/>
                  <a:gd name="f65" fmla="val 265"/>
                  <a:gd name="f66" fmla="val 276"/>
                  <a:gd name="f67" fmla="val 563"/>
                  <a:gd name="f68" fmla="val 283"/>
                  <a:gd name="f69" fmla="val 561"/>
                  <a:gd name="f70" fmla="val 294"/>
                  <a:gd name="f71" fmla="val 556"/>
                  <a:gd name="f72" fmla="val 303"/>
                  <a:gd name="f73" fmla="val 551"/>
                  <a:gd name="f74" fmla="val 310"/>
                  <a:gd name="f75" fmla="val 549"/>
                  <a:gd name="f76" fmla="val 315"/>
                  <a:gd name="f77" fmla="val 550"/>
                  <a:gd name="f78" fmla="val 322"/>
                  <a:gd name="f79" fmla="val 332"/>
                  <a:gd name="f80" fmla="val 341"/>
                  <a:gd name="f81" fmla="val 568"/>
                  <a:gd name="f82" fmla="val 343"/>
                  <a:gd name="f83" fmla="val 339"/>
                  <a:gd name="f84" fmla="val 325"/>
                  <a:gd name="f85" fmla="val 593"/>
                  <a:gd name="f86" fmla="val 614"/>
                  <a:gd name="f87" fmla="val 627"/>
                  <a:gd name="f88" fmla="val 641"/>
                  <a:gd name="f89" fmla="val 355"/>
                  <a:gd name="f90" fmla="val 652"/>
                  <a:gd name="f91" fmla="val 368"/>
                  <a:gd name="f92" fmla="val 662"/>
                  <a:gd name="f93" fmla="val 380"/>
                  <a:gd name="f94" fmla="val 390"/>
                  <a:gd name="f95" fmla="val 665"/>
                  <a:gd name="f96" fmla="val 398"/>
                  <a:gd name="f97" fmla="val 659"/>
                  <a:gd name="f98" fmla="val 409"/>
                  <a:gd name="f99" fmla="val 648"/>
                  <a:gd name="f100" fmla="val 419"/>
                  <a:gd name="f101" fmla="val 634"/>
                  <a:gd name="f102" fmla="val 430"/>
                  <a:gd name="f103" fmla="val 622"/>
                  <a:gd name="f104" fmla="val 402"/>
                  <a:gd name="f105" fmla="val 394"/>
                  <a:gd name="f106" fmla="val 586"/>
                  <a:gd name="f107" fmla="val 391"/>
                  <a:gd name="f108" fmla="val 393"/>
                  <a:gd name="f109" fmla="val 582"/>
                  <a:gd name="f110" fmla="val 412"/>
                  <a:gd name="f111" fmla="val 579"/>
                  <a:gd name="f112" fmla="val 418"/>
                  <a:gd name="f113" fmla="val 574"/>
                  <a:gd name="f114" fmla="val 420"/>
                  <a:gd name="f115" fmla="val 560"/>
                  <a:gd name="f116" fmla="val 423"/>
                  <a:gd name="f117" fmla="val 425"/>
                  <a:gd name="f118" fmla="val 540"/>
                  <a:gd name="f119" fmla="val 422"/>
                  <a:gd name="f120" fmla="val 538"/>
                  <a:gd name="f121" fmla="val 416"/>
                  <a:gd name="f122" fmla="val 536"/>
                  <a:gd name="f123" fmla="val 408"/>
                  <a:gd name="f124" fmla="val 535"/>
                  <a:gd name="f125" fmla="val 532"/>
                  <a:gd name="f126" fmla="val 525"/>
                  <a:gd name="f127" fmla="val 396"/>
                  <a:gd name="f128" fmla="val 517"/>
                  <a:gd name="f129" fmla="val 404"/>
                  <a:gd name="f130" fmla="val 507"/>
                  <a:gd name="f131" fmla="val 496"/>
                  <a:gd name="f132" fmla="val 488"/>
                  <a:gd name="f133" fmla="val 478"/>
                  <a:gd name="f134" fmla="val 463"/>
                  <a:gd name="f135" fmla="val 445"/>
                  <a:gd name="f136" fmla="val 427"/>
                  <a:gd name="f137" fmla="val 401"/>
                  <a:gd name="f138" fmla="val 395"/>
                  <a:gd name="f139" fmla="val 448"/>
                  <a:gd name="f140" fmla="val 386"/>
                  <a:gd name="f141" fmla="val 452"/>
                  <a:gd name="f142" fmla="val 377"/>
                  <a:gd name="f143" fmla="val 359"/>
                  <a:gd name="f144" fmla="val 458"/>
                  <a:gd name="f145" fmla="val 462"/>
                  <a:gd name="f146" fmla="val 326"/>
                  <a:gd name="f147" fmla="val 468"/>
                  <a:gd name="f148" fmla="val 318"/>
                  <a:gd name="f149" fmla="val 317"/>
                  <a:gd name="f150" fmla="val 319"/>
                  <a:gd name="f151" fmla="val 497"/>
                  <a:gd name="f152" fmla="val 321"/>
                  <a:gd name="f153" fmla="val 504"/>
                  <a:gd name="f154" fmla="val 508"/>
                  <a:gd name="f155" fmla="val 307"/>
                  <a:gd name="f156" fmla="val 295"/>
                  <a:gd name="f157" fmla="val 520"/>
                  <a:gd name="f158" fmla="val 531"/>
                  <a:gd name="f159" fmla="val 275"/>
                  <a:gd name="f160" fmla="val 548"/>
                  <a:gd name="f161" fmla="val 272"/>
                  <a:gd name="f162" fmla="val 267"/>
                  <a:gd name="f163" fmla="val 545"/>
                  <a:gd name="f164" fmla="val 261"/>
                  <a:gd name="f165" fmla="val 544"/>
                  <a:gd name="f166" fmla="val 256"/>
                  <a:gd name="f167" fmla="val 252"/>
                  <a:gd name="f168" fmla="val 245"/>
                  <a:gd name="f169" fmla="val 558"/>
                  <a:gd name="f170" fmla="val 236"/>
                  <a:gd name="f171" fmla="val 566"/>
                  <a:gd name="f172" fmla="val 584"/>
                  <a:gd name="f173" fmla="val 597"/>
                  <a:gd name="f174" fmla="val 224"/>
                  <a:gd name="f175" fmla="val 610"/>
                  <a:gd name="f176" fmla="val 217"/>
                  <a:gd name="f177" fmla="val 624"/>
                  <a:gd name="f178" fmla="val 206"/>
                  <a:gd name="f179" fmla="val 637"/>
                  <a:gd name="f180" fmla="val 644"/>
                  <a:gd name="f181" fmla="val 205"/>
                  <a:gd name="f182" fmla="val 209"/>
                  <a:gd name="f183" fmla="val 660"/>
                  <a:gd name="f184" fmla="val 214"/>
                  <a:gd name="f185" fmla="val 670"/>
                  <a:gd name="f186" fmla="val 220"/>
                  <a:gd name="f187" fmla="val 678"/>
                  <a:gd name="f188" fmla="val 221"/>
                  <a:gd name="f189" fmla="val 685"/>
                  <a:gd name="f190" fmla="val 219"/>
                  <a:gd name="f191" fmla="val 692"/>
                  <a:gd name="f192" fmla="val 705"/>
                  <a:gd name="f193" fmla="val 723"/>
                  <a:gd name="f194" fmla="val 183"/>
                  <a:gd name="f195" fmla="val 178"/>
                  <a:gd name="f196" fmla="val 724"/>
                  <a:gd name="f197" fmla="val 172"/>
                  <a:gd name="f198" fmla="val 727"/>
                  <a:gd name="f199" fmla="val 162"/>
                  <a:gd name="f200" fmla="val 733"/>
                  <a:gd name="f201" fmla="val 154"/>
                  <a:gd name="f202" fmla="val 738"/>
                  <a:gd name="f203" fmla="val 144"/>
                  <a:gd name="f204" fmla="val 137"/>
                  <a:gd name="f205" fmla="val 739"/>
                  <a:gd name="f206" fmla="val 130"/>
                  <a:gd name="f207" fmla="val 731"/>
                  <a:gd name="f208" fmla="val 123"/>
                  <a:gd name="f209" fmla="val 719"/>
                  <a:gd name="f210" fmla="val 115"/>
                  <a:gd name="f211" fmla="val 703"/>
                  <a:gd name="f212" fmla="val 108"/>
                  <a:gd name="f213" fmla="val 691"/>
                  <a:gd name="f214" fmla="val 681"/>
                  <a:gd name="f215" fmla="val 89"/>
                  <a:gd name="f216" fmla="val 674"/>
                  <a:gd name="f217" fmla="val 73"/>
                  <a:gd name="f218" fmla="val 667"/>
                  <a:gd name="f219" fmla="val 43"/>
                  <a:gd name="f220" fmla="val 651"/>
                  <a:gd name="f221" fmla="val 35"/>
                  <a:gd name="f222" fmla="val 32"/>
                  <a:gd name="f223" fmla="val 629"/>
                  <a:gd name="f224" fmla="val 31"/>
                  <a:gd name="f225" fmla="val 617"/>
                  <a:gd name="f226" fmla="val 29"/>
                  <a:gd name="f227" fmla="val 608"/>
                  <a:gd name="f228" fmla="val 25"/>
                  <a:gd name="f229" fmla="val 590"/>
                  <a:gd name="f230" fmla="val 39"/>
                  <a:gd name="f231" fmla="val 46"/>
                  <a:gd name="f232" fmla="val 47"/>
                  <a:gd name="f233" fmla="val 559"/>
                  <a:gd name="f234" fmla="val 44"/>
                  <a:gd name="f235" fmla="val 541"/>
                  <a:gd name="f236" fmla="val 38"/>
                  <a:gd name="f237" fmla="val 36"/>
                  <a:gd name="f238" fmla="val 527"/>
                  <a:gd name="f239" fmla="val 42"/>
                  <a:gd name="f240" fmla="val 523"/>
                  <a:gd name="f241" fmla="val 50"/>
                  <a:gd name="f242" fmla="val 58"/>
                  <a:gd name="f243" fmla="val 519"/>
                  <a:gd name="f244" fmla="val 67"/>
                  <a:gd name="f245" fmla="val 516"/>
                  <a:gd name="f246" fmla="val 509"/>
                  <a:gd name="f247" fmla="val 86"/>
                  <a:gd name="f248" fmla="val 498"/>
                  <a:gd name="f249" fmla="val 105"/>
                  <a:gd name="f250" fmla="val 111"/>
                  <a:gd name="f251" fmla="val 114"/>
                  <a:gd name="f252" fmla="val 440"/>
                  <a:gd name="f253" fmla="val 112"/>
                  <a:gd name="f254" fmla="val 107"/>
                  <a:gd name="f255" fmla="val 414"/>
                  <a:gd name="f256" fmla="val 101"/>
                  <a:gd name="f257" fmla="val 94"/>
                  <a:gd name="f258" fmla="val 83"/>
                  <a:gd name="f259" fmla="val 405"/>
                  <a:gd name="f260" fmla="val 71"/>
                  <a:gd name="f261" fmla="val 407"/>
                  <a:gd name="f262" fmla="val 64"/>
                  <a:gd name="f263" fmla="val 397"/>
                  <a:gd name="f264" fmla="val 384"/>
                  <a:gd name="f265" fmla="val 60"/>
                  <a:gd name="f266" fmla="val 358"/>
                  <a:gd name="f267" fmla="val 350"/>
                  <a:gd name="f268" fmla="val 337"/>
                  <a:gd name="f269" fmla="val 330"/>
                  <a:gd name="f270" fmla="val 308"/>
                  <a:gd name="f271" fmla="val 296"/>
                  <a:gd name="f272" fmla="val 49"/>
                  <a:gd name="f273" fmla="val 273"/>
                  <a:gd name="f274" fmla="val 33"/>
                  <a:gd name="f275" fmla="val 255"/>
                  <a:gd name="f276" fmla="val 248"/>
                  <a:gd name="f277" fmla="val 242"/>
                  <a:gd name="f278" fmla="val 56"/>
                  <a:gd name="f279" fmla="val 226"/>
                  <a:gd name="f280" fmla="val 54"/>
                  <a:gd name="f281" fmla="val 182"/>
                  <a:gd name="f282" fmla="val 169"/>
                  <a:gd name="f283" fmla="val 160"/>
                  <a:gd name="f284" fmla="val 153"/>
                  <a:gd name="f285" fmla="val 142"/>
                  <a:gd name="f286" fmla="val 20"/>
                  <a:gd name="f287" fmla="val 13"/>
                  <a:gd name="f288" fmla="val 6"/>
                  <a:gd name="f289" fmla="val 90"/>
                  <a:gd name="f290" fmla="val 3"/>
                  <a:gd name="f291" fmla="val 82"/>
                  <a:gd name="f292" fmla="val 81"/>
                  <a:gd name="f293" fmla="val 78"/>
                  <a:gd name="f294" fmla="val 21"/>
                  <a:gd name="f295" fmla="val 65"/>
                  <a:gd name="f296" fmla="val 61"/>
                  <a:gd name="f297" fmla="val 70"/>
                  <a:gd name="f298" fmla="val 97"/>
                  <a:gd name="f299" fmla="val 102"/>
                  <a:gd name="f300" fmla="val 68"/>
                  <a:gd name="f301" fmla="val 52"/>
                  <a:gd name="f302" fmla="val 120"/>
                  <a:gd name="f303" fmla="val 10"/>
                  <a:gd name="f304" fmla="val 122"/>
                  <a:gd name="f305" fmla="val 4"/>
                  <a:gd name="f306" fmla="val 129"/>
                  <a:gd name="f307" fmla="val 138"/>
                  <a:gd name="f308" fmla="val 149"/>
                  <a:gd name="f309" fmla="val 9"/>
                  <a:gd name="f310" fmla="val 173"/>
                  <a:gd name="f311" fmla="val 17"/>
                  <a:gd name="f312" fmla="val 176"/>
                  <a:gd name="f313" fmla="val 187"/>
                  <a:gd name="f314" fmla="val 195"/>
                  <a:gd name="f315" fmla="val 231"/>
                  <a:gd name="f316" fmla="val 28"/>
                  <a:gd name="f317" fmla="val 260"/>
                  <a:gd name="f318" fmla="val 266"/>
                  <a:gd name="f319" fmla="val 271"/>
                  <a:gd name="f320" fmla="val 277"/>
                  <a:gd name="f321" fmla="val 281"/>
                  <a:gd name="f322" fmla="val 288"/>
                  <a:gd name="f323" fmla="val 306"/>
                  <a:gd name="f324" fmla="val 329"/>
                  <a:gd name="f325" fmla="val 333"/>
                  <a:gd name="f326" fmla="val 335"/>
                  <a:gd name="f327" fmla="val 336"/>
                  <a:gd name="f328" fmla="val 53"/>
                  <a:gd name="f329" fmla="val 328"/>
                  <a:gd name="f330" fmla="val 92"/>
                  <a:gd name="f331" fmla="val 344"/>
                  <a:gd name="f332" fmla="val 93"/>
                  <a:gd name="f333" fmla="val 347"/>
                  <a:gd name="f334" fmla="val 353"/>
                  <a:gd name="f335" fmla="val 88"/>
                  <a:gd name="f336" fmla="val 361"/>
                  <a:gd name="f337" fmla="val 79"/>
                  <a:gd name="f338" fmla="val 362"/>
                  <a:gd name="f339" fmla="val 365"/>
                  <a:gd name="f340" fmla="val 63"/>
                  <a:gd name="f341" fmla="val 373"/>
                  <a:gd name="f342" fmla="val 379"/>
                  <a:gd name="f343" fmla="+- 0 0 -90"/>
                  <a:gd name="f344" fmla="*/ f3 1 666"/>
                  <a:gd name="f345" fmla="*/ f4 1 741"/>
                  <a:gd name="f346" fmla="+- f7 0 f5"/>
                  <a:gd name="f347" fmla="+- f6 0 f5"/>
                  <a:gd name="f348" fmla="*/ f343 f0 1"/>
                  <a:gd name="f349" fmla="*/ f347 1 666"/>
                  <a:gd name="f350" fmla="*/ f346 1 741"/>
                  <a:gd name="f351" fmla="*/ f348 1 f2"/>
                  <a:gd name="f352" fmla="*/ 451 1 f349"/>
                  <a:gd name="f353" fmla="*/ 27 1 f350"/>
                  <a:gd name="f354" fmla="*/ 492 1 f349"/>
                  <a:gd name="f355" fmla="*/ 140 1 f350"/>
                  <a:gd name="f356" fmla="*/ 543 1 f349"/>
                  <a:gd name="f357" fmla="*/ 204 1 f350"/>
                  <a:gd name="f358" fmla="*/ 567 1 f349"/>
                  <a:gd name="f359" fmla="*/ 225 1 f350"/>
                  <a:gd name="f360" fmla="*/ 598 1 f349"/>
                  <a:gd name="f361" fmla="*/ 228 1 f350"/>
                  <a:gd name="f362" fmla="*/ 600 1 f349"/>
                  <a:gd name="f363" fmla="*/ 233 1 f350"/>
                  <a:gd name="f364" fmla="*/ 604 1 f349"/>
                  <a:gd name="f365" fmla="*/ 240 1 f350"/>
                  <a:gd name="f366" fmla="*/ 561 1 f349"/>
                  <a:gd name="f367" fmla="*/ 294 1 f350"/>
                  <a:gd name="f368" fmla="*/ 554 1 f349"/>
                  <a:gd name="f369" fmla="*/ 332 1 f350"/>
                  <a:gd name="f370" fmla="*/ 593 1 f349"/>
                  <a:gd name="f371" fmla="*/ 322 1 f350"/>
                  <a:gd name="f372" fmla="*/ 652 1 f349"/>
                  <a:gd name="f373" fmla="*/ 368 1 f350"/>
                  <a:gd name="f374" fmla="*/ 648 1 f349"/>
                  <a:gd name="f375" fmla="*/ 419 1 f350"/>
                  <a:gd name="f376" fmla="*/ 586 1 f349"/>
                  <a:gd name="f377" fmla="*/ 391 1 f350"/>
                  <a:gd name="f378" fmla="*/ 574 1 f349"/>
                  <a:gd name="f379" fmla="*/ 420 1 f350"/>
                  <a:gd name="f380" fmla="*/ 536 1 f349"/>
                  <a:gd name="f381" fmla="*/ 408 1 f350"/>
                  <a:gd name="f382" fmla="*/ 517 1 f349"/>
                  <a:gd name="f383" fmla="*/ 404 1 f350"/>
                  <a:gd name="f384" fmla="*/ 463 1 f349"/>
                  <a:gd name="f385" fmla="*/ 395 1 f349"/>
                  <a:gd name="f386" fmla="*/ 430 1 f350"/>
                  <a:gd name="f387" fmla="*/ 359 1 f349"/>
                  <a:gd name="f388" fmla="*/ 458 1 f350"/>
                  <a:gd name="f389" fmla="*/ 319 1 f349"/>
                  <a:gd name="f390" fmla="*/ 497 1 f350"/>
                  <a:gd name="f391" fmla="*/ 283 1 f349"/>
                  <a:gd name="f392" fmla="*/ 531 1 f350"/>
                  <a:gd name="f393" fmla="*/ 256 1 f349"/>
                  <a:gd name="f394" fmla="*/ 544 1 f350"/>
                  <a:gd name="f395" fmla="*/ 230 1 f349"/>
                  <a:gd name="f396" fmla="*/ 584 1 f350"/>
                  <a:gd name="f397" fmla="*/ 203 1 f349"/>
                  <a:gd name="f398" fmla="*/ 644 1 f350"/>
                  <a:gd name="f399" fmla="*/ 221 1 f349"/>
                  <a:gd name="f400" fmla="*/ 685 1 f350"/>
                  <a:gd name="f401" fmla="*/ 178 1 f349"/>
                  <a:gd name="f402" fmla="*/ 724 1 f350"/>
                  <a:gd name="f403" fmla="*/ 137 1 f349"/>
                  <a:gd name="f404" fmla="*/ 739 1 f350"/>
                  <a:gd name="f405" fmla="*/ 100 1 f349"/>
                  <a:gd name="f406" fmla="*/ 681 1 f350"/>
                  <a:gd name="f407" fmla="*/ 32 1 f349"/>
                  <a:gd name="f408" fmla="*/ 629 1 f350"/>
                  <a:gd name="f409" fmla="*/ 31 1 f349"/>
                  <a:gd name="f410" fmla="*/ 583 1 f350"/>
                  <a:gd name="f411" fmla="*/ 40 1 f349"/>
                  <a:gd name="f412" fmla="*/ 541 1 f350"/>
                  <a:gd name="f413" fmla="*/ 58 1 f349"/>
                  <a:gd name="f414" fmla="*/ 519 1 f350"/>
                  <a:gd name="f415" fmla="*/ 111 1 f349"/>
                  <a:gd name="f416" fmla="*/ 452 1 f350"/>
                  <a:gd name="f417" fmla="*/ 94 1 f349"/>
                  <a:gd name="f418" fmla="*/ 401 1 f350"/>
                  <a:gd name="f419" fmla="*/ 67 1 f349"/>
                  <a:gd name="f420" fmla="*/ 402 1 f350"/>
                  <a:gd name="f421" fmla="*/ 39 1 f349"/>
                  <a:gd name="f422" fmla="*/ 350 1 f350"/>
                  <a:gd name="f423" fmla="*/ 47 1 f349"/>
                  <a:gd name="f424" fmla="*/ 308 1 f350"/>
                  <a:gd name="f425" fmla="*/ 35 1 f349"/>
                  <a:gd name="f426" fmla="*/ 261 1 f350"/>
                  <a:gd name="f427" fmla="*/ 56 1 f349"/>
                  <a:gd name="f428" fmla="*/ 232 1 f350"/>
                  <a:gd name="f429" fmla="*/ 169 1 f350"/>
                  <a:gd name="f430" fmla="*/ 13 1 f349"/>
                  <a:gd name="f431" fmla="*/ 101 1 f350"/>
                  <a:gd name="f432" fmla="*/ 0 1 f349"/>
                  <a:gd name="f433" fmla="*/ 76 1 f350"/>
                  <a:gd name="f434" fmla="*/ 71 1 f349"/>
                  <a:gd name="f435" fmla="*/ 58 1 f350"/>
                  <a:gd name="f436" fmla="*/ 102 1 f349"/>
                  <a:gd name="f437" fmla="*/ 68 1 f350"/>
                  <a:gd name="f438" fmla="*/ 119 1 f349"/>
                  <a:gd name="f439" fmla="*/ 39 1 f350"/>
                  <a:gd name="f440" fmla="*/ 129 1 f349"/>
                  <a:gd name="f441" fmla="*/ 2 1 f350"/>
                  <a:gd name="f442" fmla="*/ 173 1 f349"/>
                  <a:gd name="f443" fmla="*/ 17 1 f350"/>
                  <a:gd name="f444" fmla="*/ 195 1 f349"/>
                  <a:gd name="f445" fmla="*/ 56 1 f350"/>
                  <a:gd name="f446" fmla="*/ 252 1 f349"/>
                  <a:gd name="f447" fmla="*/ 28 1 f350"/>
                  <a:gd name="f448" fmla="*/ 281 1 f349"/>
                  <a:gd name="f449" fmla="*/ 49 1 f350"/>
                  <a:gd name="f450" fmla="*/ 333 1 f349"/>
                  <a:gd name="f451" fmla="*/ 52 1 f350"/>
                  <a:gd name="f452" fmla="*/ 325 1 f349"/>
                  <a:gd name="f453" fmla="*/ 61 1 f350"/>
                  <a:gd name="f454" fmla="*/ 322 1 f349"/>
                  <a:gd name="f455" fmla="*/ 78 1 f350"/>
                  <a:gd name="f456" fmla="*/ 347 1 f349"/>
                  <a:gd name="f457" fmla="*/ 93 1 f350"/>
                  <a:gd name="f458" fmla="*/ 362 1 f349"/>
                  <a:gd name="f459" fmla="*/ 71 1 f350"/>
                  <a:gd name="f460" fmla="*/ 402 1 f349"/>
                  <a:gd name="f461" fmla="*/ 10 1 f350"/>
                  <a:gd name="f462" fmla="*/ f6 1 f349"/>
                  <a:gd name="f463" fmla="*/ 0 1 f350"/>
                  <a:gd name="f464" fmla="*/ f7 1 f350"/>
                  <a:gd name="f465" fmla="+- f351 0 f1"/>
                  <a:gd name="f466" fmla="*/ f432 f344 1"/>
                  <a:gd name="f467" fmla="*/ f462 f344 1"/>
                  <a:gd name="f468" fmla="*/ f464 f345 1"/>
                  <a:gd name="f469" fmla="*/ f463 f345 1"/>
                  <a:gd name="f470" fmla="*/ f352 f344 1"/>
                  <a:gd name="f471" fmla="*/ f353 f345 1"/>
                  <a:gd name="f472" fmla="*/ f354 f344 1"/>
                  <a:gd name="f473" fmla="*/ f355 f345 1"/>
                  <a:gd name="f474" fmla="*/ f356 f344 1"/>
                  <a:gd name="f475" fmla="*/ f357 f345 1"/>
                  <a:gd name="f476" fmla="*/ f358 f344 1"/>
                  <a:gd name="f477" fmla="*/ f359 f345 1"/>
                  <a:gd name="f478" fmla="*/ f360 f344 1"/>
                  <a:gd name="f479" fmla="*/ f361 f345 1"/>
                  <a:gd name="f480" fmla="*/ f362 f344 1"/>
                  <a:gd name="f481" fmla="*/ f363 f345 1"/>
                  <a:gd name="f482" fmla="*/ f364 f344 1"/>
                  <a:gd name="f483" fmla="*/ f365 f345 1"/>
                  <a:gd name="f484" fmla="*/ f366 f344 1"/>
                  <a:gd name="f485" fmla="*/ f367 f345 1"/>
                  <a:gd name="f486" fmla="*/ f368 f344 1"/>
                  <a:gd name="f487" fmla="*/ f369 f345 1"/>
                  <a:gd name="f488" fmla="*/ f370 f344 1"/>
                  <a:gd name="f489" fmla="*/ f371 f345 1"/>
                  <a:gd name="f490" fmla="*/ f372 f344 1"/>
                  <a:gd name="f491" fmla="*/ f373 f345 1"/>
                  <a:gd name="f492" fmla="*/ f374 f344 1"/>
                  <a:gd name="f493" fmla="*/ f375 f345 1"/>
                  <a:gd name="f494" fmla="*/ f376 f344 1"/>
                  <a:gd name="f495" fmla="*/ f377 f345 1"/>
                  <a:gd name="f496" fmla="*/ f378 f344 1"/>
                  <a:gd name="f497" fmla="*/ f379 f345 1"/>
                  <a:gd name="f498" fmla="*/ f380 f344 1"/>
                  <a:gd name="f499" fmla="*/ f381 f345 1"/>
                  <a:gd name="f500" fmla="*/ f382 f344 1"/>
                  <a:gd name="f501" fmla="*/ f383 f345 1"/>
                  <a:gd name="f502" fmla="*/ f384 f344 1"/>
                  <a:gd name="f503" fmla="*/ f385 f344 1"/>
                  <a:gd name="f504" fmla="*/ f386 f345 1"/>
                  <a:gd name="f505" fmla="*/ f387 f344 1"/>
                  <a:gd name="f506" fmla="*/ f388 f345 1"/>
                  <a:gd name="f507" fmla="*/ f389 f344 1"/>
                  <a:gd name="f508" fmla="*/ f390 f345 1"/>
                  <a:gd name="f509" fmla="*/ f391 f344 1"/>
                  <a:gd name="f510" fmla="*/ f392 f345 1"/>
                  <a:gd name="f511" fmla="*/ f393 f344 1"/>
                  <a:gd name="f512" fmla="*/ f394 f345 1"/>
                  <a:gd name="f513" fmla="*/ f395 f344 1"/>
                  <a:gd name="f514" fmla="*/ f396 f345 1"/>
                  <a:gd name="f515" fmla="*/ f397 f344 1"/>
                  <a:gd name="f516" fmla="*/ f398 f345 1"/>
                  <a:gd name="f517" fmla="*/ f399 f344 1"/>
                  <a:gd name="f518" fmla="*/ f400 f345 1"/>
                  <a:gd name="f519" fmla="*/ f401 f344 1"/>
                  <a:gd name="f520" fmla="*/ f402 f345 1"/>
                  <a:gd name="f521" fmla="*/ f403 f344 1"/>
                  <a:gd name="f522" fmla="*/ f404 f345 1"/>
                  <a:gd name="f523" fmla="*/ f405 f344 1"/>
                  <a:gd name="f524" fmla="*/ f406 f345 1"/>
                  <a:gd name="f525" fmla="*/ f407 f344 1"/>
                  <a:gd name="f526" fmla="*/ f408 f345 1"/>
                  <a:gd name="f527" fmla="*/ f409 f344 1"/>
                  <a:gd name="f528" fmla="*/ f410 f345 1"/>
                  <a:gd name="f529" fmla="*/ f411 f344 1"/>
                  <a:gd name="f530" fmla="*/ f412 f345 1"/>
                  <a:gd name="f531" fmla="*/ f413 f344 1"/>
                  <a:gd name="f532" fmla="*/ f414 f345 1"/>
                  <a:gd name="f533" fmla="*/ f415 f344 1"/>
                  <a:gd name="f534" fmla="*/ f416 f345 1"/>
                  <a:gd name="f535" fmla="*/ f417 f344 1"/>
                  <a:gd name="f536" fmla="*/ f418 f345 1"/>
                  <a:gd name="f537" fmla="*/ f419 f344 1"/>
                  <a:gd name="f538" fmla="*/ f420 f345 1"/>
                  <a:gd name="f539" fmla="*/ f421 f344 1"/>
                  <a:gd name="f540" fmla="*/ f422 f345 1"/>
                  <a:gd name="f541" fmla="*/ f423 f344 1"/>
                  <a:gd name="f542" fmla="*/ f424 f345 1"/>
                  <a:gd name="f543" fmla="*/ f425 f344 1"/>
                  <a:gd name="f544" fmla="*/ f426 f345 1"/>
                  <a:gd name="f545" fmla="*/ f427 f344 1"/>
                  <a:gd name="f546" fmla="*/ f428 f345 1"/>
                  <a:gd name="f547" fmla="*/ f429 f345 1"/>
                  <a:gd name="f548" fmla="*/ f430 f344 1"/>
                  <a:gd name="f549" fmla="*/ f431 f345 1"/>
                  <a:gd name="f550" fmla="*/ f433 f345 1"/>
                  <a:gd name="f551" fmla="*/ f434 f344 1"/>
                  <a:gd name="f552" fmla="*/ f435 f345 1"/>
                  <a:gd name="f553" fmla="*/ f436 f344 1"/>
                  <a:gd name="f554" fmla="*/ f437 f345 1"/>
                  <a:gd name="f555" fmla="*/ f438 f344 1"/>
                  <a:gd name="f556" fmla="*/ f439 f345 1"/>
                  <a:gd name="f557" fmla="*/ f440 f344 1"/>
                  <a:gd name="f558" fmla="*/ f441 f345 1"/>
                  <a:gd name="f559" fmla="*/ f442 f344 1"/>
                  <a:gd name="f560" fmla="*/ f443 f345 1"/>
                  <a:gd name="f561" fmla="*/ f444 f344 1"/>
                  <a:gd name="f562" fmla="*/ f445 f345 1"/>
                  <a:gd name="f563" fmla="*/ f446 f344 1"/>
                  <a:gd name="f564" fmla="*/ f447 f345 1"/>
                  <a:gd name="f565" fmla="*/ f448 f344 1"/>
                  <a:gd name="f566" fmla="*/ f449 f345 1"/>
                  <a:gd name="f567" fmla="*/ f450 f344 1"/>
                  <a:gd name="f568" fmla="*/ f451 f345 1"/>
                  <a:gd name="f569" fmla="*/ f452 f344 1"/>
                  <a:gd name="f570" fmla="*/ f453 f345 1"/>
                  <a:gd name="f571" fmla="*/ f454 f344 1"/>
                  <a:gd name="f572" fmla="*/ f455 f345 1"/>
                  <a:gd name="f573" fmla="*/ f456 f344 1"/>
                  <a:gd name="f574" fmla="*/ f457 f345 1"/>
                  <a:gd name="f575" fmla="*/ f458 f344 1"/>
                  <a:gd name="f576" fmla="*/ f459 f345 1"/>
                  <a:gd name="f577" fmla="*/ f460 f344 1"/>
                  <a:gd name="f578" fmla="*/ f461 f34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65">
                    <a:pos x="f470" y="f471"/>
                  </a:cxn>
                  <a:cxn ang="f465">
                    <a:pos x="f472" y="f473"/>
                  </a:cxn>
                  <a:cxn ang="f465">
                    <a:pos x="f474" y="f475"/>
                  </a:cxn>
                  <a:cxn ang="f465">
                    <a:pos x="f476" y="f477"/>
                  </a:cxn>
                  <a:cxn ang="f465">
                    <a:pos x="f478" y="f479"/>
                  </a:cxn>
                  <a:cxn ang="f465">
                    <a:pos x="f480" y="f481"/>
                  </a:cxn>
                  <a:cxn ang="f465">
                    <a:pos x="f482" y="f483"/>
                  </a:cxn>
                  <a:cxn ang="f465">
                    <a:pos x="f484" y="f485"/>
                  </a:cxn>
                  <a:cxn ang="f465">
                    <a:pos x="f486" y="f487"/>
                  </a:cxn>
                  <a:cxn ang="f465">
                    <a:pos x="f488" y="f489"/>
                  </a:cxn>
                  <a:cxn ang="f465">
                    <a:pos x="f490" y="f491"/>
                  </a:cxn>
                  <a:cxn ang="f465">
                    <a:pos x="f492" y="f493"/>
                  </a:cxn>
                  <a:cxn ang="f465">
                    <a:pos x="f494" y="f495"/>
                  </a:cxn>
                  <a:cxn ang="f465">
                    <a:pos x="f496" y="f497"/>
                  </a:cxn>
                  <a:cxn ang="f465">
                    <a:pos x="f498" y="f499"/>
                  </a:cxn>
                  <a:cxn ang="f465">
                    <a:pos x="f500" y="f501"/>
                  </a:cxn>
                  <a:cxn ang="f465">
                    <a:pos x="f502" y="f497"/>
                  </a:cxn>
                  <a:cxn ang="f465">
                    <a:pos x="f503" y="f504"/>
                  </a:cxn>
                  <a:cxn ang="f465">
                    <a:pos x="f505" y="f506"/>
                  </a:cxn>
                  <a:cxn ang="f465">
                    <a:pos x="f507" y="f508"/>
                  </a:cxn>
                  <a:cxn ang="f465">
                    <a:pos x="f509" y="f510"/>
                  </a:cxn>
                  <a:cxn ang="f465">
                    <a:pos x="f511" y="f512"/>
                  </a:cxn>
                  <a:cxn ang="f465">
                    <a:pos x="f513" y="f514"/>
                  </a:cxn>
                  <a:cxn ang="f465">
                    <a:pos x="f515" y="f516"/>
                  </a:cxn>
                  <a:cxn ang="f465">
                    <a:pos x="f517" y="f518"/>
                  </a:cxn>
                  <a:cxn ang="f465">
                    <a:pos x="f519" y="f520"/>
                  </a:cxn>
                  <a:cxn ang="f465">
                    <a:pos x="f521" y="f522"/>
                  </a:cxn>
                  <a:cxn ang="f465">
                    <a:pos x="f523" y="f524"/>
                  </a:cxn>
                  <a:cxn ang="f465">
                    <a:pos x="f525" y="f526"/>
                  </a:cxn>
                  <a:cxn ang="f465">
                    <a:pos x="f527" y="f528"/>
                  </a:cxn>
                  <a:cxn ang="f465">
                    <a:pos x="f529" y="f530"/>
                  </a:cxn>
                  <a:cxn ang="f465">
                    <a:pos x="f531" y="f532"/>
                  </a:cxn>
                  <a:cxn ang="f465">
                    <a:pos x="f533" y="f534"/>
                  </a:cxn>
                  <a:cxn ang="f465">
                    <a:pos x="f535" y="f536"/>
                  </a:cxn>
                  <a:cxn ang="f465">
                    <a:pos x="f537" y="f538"/>
                  </a:cxn>
                  <a:cxn ang="f465">
                    <a:pos x="f539" y="f540"/>
                  </a:cxn>
                  <a:cxn ang="f465">
                    <a:pos x="f541" y="f542"/>
                  </a:cxn>
                  <a:cxn ang="f465">
                    <a:pos x="f543" y="f544"/>
                  </a:cxn>
                  <a:cxn ang="f465">
                    <a:pos x="f545" y="f546"/>
                  </a:cxn>
                  <a:cxn ang="f465">
                    <a:pos x="f539" y="f547"/>
                  </a:cxn>
                  <a:cxn ang="f465">
                    <a:pos x="f548" y="f549"/>
                  </a:cxn>
                  <a:cxn ang="f465">
                    <a:pos x="f466" y="f550"/>
                  </a:cxn>
                  <a:cxn ang="f465">
                    <a:pos x="f551" y="f552"/>
                  </a:cxn>
                  <a:cxn ang="f465">
                    <a:pos x="f553" y="f554"/>
                  </a:cxn>
                  <a:cxn ang="f465">
                    <a:pos x="f555" y="f556"/>
                  </a:cxn>
                  <a:cxn ang="f465">
                    <a:pos x="f557" y="f558"/>
                  </a:cxn>
                  <a:cxn ang="f465">
                    <a:pos x="f559" y="f560"/>
                  </a:cxn>
                  <a:cxn ang="f465">
                    <a:pos x="f561" y="f562"/>
                  </a:cxn>
                  <a:cxn ang="f465">
                    <a:pos x="f563" y="f564"/>
                  </a:cxn>
                  <a:cxn ang="f465">
                    <a:pos x="f565" y="f566"/>
                  </a:cxn>
                  <a:cxn ang="f465">
                    <a:pos x="f567" y="f568"/>
                  </a:cxn>
                  <a:cxn ang="f465">
                    <a:pos x="f569" y="f570"/>
                  </a:cxn>
                  <a:cxn ang="f465">
                    <a:pos x="f571" y="f572"/>
                  </a:cxn>
                  <a:cxn ang="f465">
                    <a:pos x="f573" y="f574"/>
                  </a:cxn>
                  <a:cxn ang="f465">
                    <a:pos x="f575" y="f576"/>
                  </a:cxn>
                  <a:cxn ang="f465">
                    <a:pos x="f577" y="f578"/>
                  </a:cxn>
                </a:cxnLst>
                <a:rect l="f466" t="f469" r="f467" b="f468"/>
                <a:pathLst>
                  <a:path w="666" h="741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4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0" y="f42"/>
                    </a:lnTo>
                    <a:lnTo>
                      <a:pt x="f38" y="f43"/>
                    </a:lnTo>
                    <a:lnTo>
                      <a:pt x="f44" y="f45"/>
                    </a:lnTo>
                    <a:lnTo>
                      <a:pt x="f46" y="f45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50"/>
                    </a:lnTo>
                    <a:lnTo>
                      <a:pt x="f52" y="f48"/>
                    </a:lnTo>
                    <a:lnTo>
                      <a:pt x="f53" y="f48"/>
                    </a:lnTo>
                    <a:lnTo>
                      <a:pt x="f53" y="f45"/>
                    </a:lnTo>
                    <a:lnTo>
                      <a:pt x="f52" y="f54"/>
                    </a:lnTo>
                    <a:lnTo>
                      <a:pt x="f52" y="f55"/>
                    </a:lnTo>
                    <a:lnTo>
                      <a:pt x="f51" y="f56"/>
                    </a:lnTo>
                    <a:lnTo>
                      <a:pt x="f51" y="f57"/>
                    </a:lnTo>
                    <a:lnTo>
                      <a:pt x="f52" y="f58"/>
                    </a:lnTo>
                    <a:lnTo>
                      <a:pt x="f59" y="f60"/>
                    </a:lnTo>
                    <a:lnTo>
                      <a:pt x="f61" y="f60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38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37" y="f79"/>
                    </a:lnTo>
                    <a:lnTo>
                      <a:pt x="f67" y="f80"/>
                    </a:lnTo>
                    <a:lnTo>
                      <a:pt x="f81" y="f82"/>
                    </a:lnTo>
                    <a:lnTo>
                      <a:pt x="f44" y="f83"/>
                    </a:lnTo>
                    <a:lnTo>
                      <a:pt x="f47" y="f84"/>
                    </a:lnTo>
                    <a:lnTo>
                      <a:pt x="f85" y="f78"/>
                    </a:lnTo>
                    <a:lnTo>
                      <a:pt x="f59" y="f84"/>
                    </a:lnTo>
                    <a:lnTo>
                      <a:pt x="f86" y="f79"/>
                    </a:lnTo>
                    <a:lnTo>
                      <a:pt x="f87" y="f82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92" y="f93"/>
                    </a:lnTo>
                    <a:lnTo>
                      <a:pt x="f6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8"/>
                    </a:lnTo>
                    <a:lnTo>
                      <a:pt x="f86" y="f104"/>
                    </a:lnTo>
                    <a:lnTo>
                      <a:pt x="f53" y="f105"/>
                    </a:lnTo>
                    <a:lnTo>
                      <a:pt x="f106" y="f107"/>
                    </a:lnTo>
                    <a:lnTo>
                      <a:pt x="f47" y="f108"/>
                    </a:lnTo>
                    <a:lnTo>
                      <a:pt x="f109" y="f96"/>
                    </a:lnTo>
                    <a:lnTo>
                      <a:pt x="f109" y="f110"/>
                    </a:lnTo>
                    <a:lnTo>
                      <a:pt x="f111" y="f112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77" y="f117"/>
                    </a:lnTo>
                    <a:lnTo>
                      <a:pt x="f118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2" y="f105"/>
                    </a:lnTo>
                    <a:lnTo>
                      <a:pt x="f124" y="f94"/>
                    </a:lnTo>
                    <a:lnTo>
                      <a:pt x="f125" y="f94"/>
                    </a:lnTo>
                    <a:lnTo>
                      <a:pt x="f126" y="f127"/>
                    </a:lnTo>
                    <a:lnTo>
                      <a:pt x="f128" y="f129"/>
                    </a:lnTo>
                    <a:lnTo>
                      <a:pt x="f130" y="f110"/>
                    </a:lnTo>
                    <a:lnTo>
                      <a:pt x="f131" y="f100"/>
                    </a:lnTo>
                    <a:lnTo>
                      <a:pt x="f132" y="f119"/>
                    </a:lnTo>
                    <a:lnTo>
                      <a:pt x="f133" y="f119"/>
                    </a:lnTo>
                    <a:lnTo>
                      <a:pt x="f134" y="f114"/>
                    </a:lnTo>
                    <a:lnTo>
                      <a:pt x="f135" y="f114"/>
                    </a:lnTo>
                    <a:lnTo>
                      <a:pt x="f136" y="f119"/>
                    </a:lnTo>
                    <a:lnTo>
                      <a:pt x="f110" y="f116"/>
                    </a:lnTo>
                    <a:lnTo>
                      <a:pt x="f137" y="f9"/>
                    </a:lnTo>
                    <a:lnTo>
                      <a:pt x="f138" y="f102"/>
                    </a:lnTo>
                    <a:lnTo>
                      <a:pt x="f108" y="f11"/>
                    </a:lnTo>
                    <a:lnTo>
                      <a:pt x="f94" y="f139"/>
                    </a:lnTo>
                    <a:lnTo>
                      <a:pt x="f140" y="f141"/>
                    </a:lnTo>
                    <a:lnTo>
                      <a:pt x="f142" y="f17"/>
                    </a:lnTo>
                    <a:lnTo>
                      <a:pt x="f143" y="f144"/>
                    </a:lnTo>
                    <a:lnTo>
                      <a:pt x="f80" y="f145"/>
                    </a:lnTo>
                    <a:lnTo>
                      <a:pt x="f146" y="f147"/>
                    </a:lnTo>
                    <a:lnTo>
                      <a:pt x="f148" y="f19"/>
                    </a:lnTo>
                    <a:lnTo>
                      <a:pt x="f149" y="f21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49" y="f154"/>
                    </a:lnTo>
                    <a:lnTo>
                      <a:pt x="f155" y="f29"/>
                    </a:lnTo>
                    <a:lnTo>
                      <a:pt x="f156" y="f157"/>
                    </a:lnTo>
                    <a:lnTo>
                      <a:pt x="f68" y="f158"/>
                    </a:lnTo>
                    <a:lnTo>
                      <a:pt x="f159" y="f160"/>
                    </a:lnTo>
                    <a:lnTo>
                      <a:pt x="f161" y="f160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6" y="f165"/>
                    </a:lnTo>
                    <a:lnTo>
                      <a:pt x="f167" y="f160"/>
                    </a:lnTo>
                    <a:lnTo>
                      <a:pt x="f168" y="f169"/>
                    </a:lnTo>
                    <a:lnTo>
                      <a:pt x="f170" y="f171"/>
                    </a:lnTo>
                    <a:lnTo>
                      <a:pt x="f54" y="f113"/>
                    </a:lnTo>
                    <a:lnTo>
                      <a:pt x="f45" y="f172"/>
                    </a:lnTo>
                    <a:lnTo>
                      <a:pt x="f50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lnTo>
                      <a:pt x="f34" y="f180"/>
                    </a:lnTo>
                    <a:lnTo>
                      <a:pt x="f181" y="f90"/>
                    </a:lnTo>
                    <a:lnTo>
                      <a:pt x="f182" y="f183"/>
                    </a:lnTo>
                    <a:lnTo>
                      <a:pt x="f184" y="f185"/>
                    </a:lnTo>
                    <a:lnTo>
                      <a:pt x="f186" y="f187"/>
                    </a:lnTo>
                    <a:lnTo>
                      <a:pt x="f188" y="f189"/>
                    </a:lnTo>
                    <a:lnTo>
                      <a:pt x="f190" y="f191"/>
                    </a:lnTo>
                    <a:lnTo>
                      <a:pt x="f182" y="f192"/>
                    </a:lnTo>
                    <a:lnTo>
                      <a:pt x="f39" y="f193"/>
                    </a:lnTo>
                    <a:lnTo>
                      <a:pt x="f194" y="f193"/>
                    </a:lnTo>
                    <a:lnTo>
                      <a:pt x="f195" y="f196"/>
                    </a:lnTo>
                    <a:lnTo>
                      <a:pt x="f197" y="f198"/>
                    </a:lnTo>
                    <a:lnTo>
                      <a:pt x="f199" y="f200"/>
                    </a:lnTo>
                    <a:lnTo>
                      <a:pt x="f201" y="f202"/>
                    </a:lnTo>
                    <a:lnTo>
                      <a:pt x="f203" y="f7"/>
                    </a:lnTo>
                    <a:lnTo>
                      <a:pt x="f204" y="f205"/>
                    </a:lnTo>
                    <a:lnTo>
                      <a:pt x="f206" y="f207"/>
                    </a:lnTo>
                    <a:lnTo>
                      <a:pt x="f208" y="f209"/>
                    </a:lnTo>
                    <a:lnTo>
                      <a:pt x="f210" y="f211"/>
                    </a:lnTo>
                    <a:lnTo>
                      <a:pt x="f212" y="f213"/>
                    </a:lnTo>
                    <a:lnTo>
                      <a:pt x="f22" y="f214"/>
                    </a:lnTo>
                    <a:lnTo>
                      <a:pt x="f215" y="f216"/>
                    </a:lnTo>
                    <a:lnTo>
                      <a:pt x="f217" y="f218"/>
                    </a:lnTo>
                    <a:lnTo>
                      <a:pt x="f219" y="f220"/>
                    </a:lnTo>
                    <a:lnTo>
                      <a:pt x="f221" y="f88"/>
                    </a:lnTo>
                    <a:lnTo>
                      <a:pt x="f222" y="f223"/>
                    </a:lnTo>
                    <a:lnTo>
                      <a:pt x="f224" y="f225"/>
                    </a:lnTo>
                    <a:lnTo>
                      <a:pt x="f226" y="f227"/>
                    </a:lnTo>
                    <a:lnTo>
                      <a:pt x="f228" y="f51"/>
                    </a:lnTo>
                    <a:lnTo>
                      <a:pt x="f228" y="f229"/>
                    </a:lnTo>
                    <a:lnTo>
                      <a:pt x="f224" y="f47"/>
                    </a:lnTo>
                    <a:lnTo>
                      <a:pt x="f230" y="f64"/>
                    </a:lnTo>
                    <a:lnTo>
                      <a:pt x="f231" y="f81"/>
                    </a:lnTo>
                    <a:lnTo>
                      <a:pt x="f232" y="f233"/>
                    </a:lnTo>
                    <a:lnTo>
                      <a:pt x="f234" y="f75"/>
                    </a:lnTo>
                    <a:lnTo>
                      <a:pt x="f18" y="f235"/>
                    </a:lnTo>
                    <a:lnTo>
                      <a:pt x="f236" y="f33"/>
                    </a:lnTo>
                    <a:lnTo>
                      <a:pt x="f237" y="f238"/>
                    </a:lnTo>
                    <a:lnTo>
                      <a:pt x="f239" y="f240"/>
                    </a:lnTo>
                    <a:lnTo>
                      <a:pt x="f241" y="f157"/>
                    </a:lnTo>
                    <a:lnTo>
                      <a:pt x="f242" y="f243"/>
                    </a:lnTo>
                    <a:lnTo>
                      <a:pt x="f244" y="f245"/>
                    </a:lnTo>
                    <a:lnTo>
                      <a:pt x="f20" y="f246"/>
                    </a:lnTo>
                    <a:lnTo>
                      <a:pt x="f247" y="f248"/>
                    </a:lnTo>
                    <a:lnTo>
                      <a:pt x="f249" y="f147"/>
                    </a:lnTo>
                    <a:lnTo>
                      <a:pt x="f250" y="f141"/>
                    </a:lnTo>
                    <a:lnTo>
                      <a:pt x="f251" y="f252"/>
                    </a:lnTo>
                    <a:lnTo>
                      <a:pt x="f253" y="f9"/>
                    </a:lnTo>
                    <a:lnTo>
                      <a:pt x="f254" y="f255"/>
                    </a:lnTo>
                    <a:lnTo>
                      <a:pt x="f256" y="f129"/>
                    </a:lnTo>
                    <a:lnTo>
                      <a:pt x="f257" y="f137"/>
                    </a:lnTo>
                    <a:lnTo>
                      <a:pt x="f215" y="f104"/>
                    </a:lnTo>
                    <a:lnTo>
                      <a:pt x="f258" y="f259"/>
                    </a:lnTo>
                    <a:lnTo>
                      <a:pt x="f20" y="f123"/>
                    </a:lnTo>
                    <a:lnTo>
                      <a:pt x="f260" y="f261"/>
                    </a:lnTo>
                    <a:lnTo>
                      <a:pt x="f244" y="f104"/>
                    </a:lnTo>
                    <a:lnTo>
                      <a:pt x="f262" y="f263"/>
                    </a:lnTo>
                    <a:lnTo>
                      <a:pt x="f262" y="f264"/>
                    </a:lnTo>
                    <a:lnTo>
                      <a:pt x="f265" y="f142"/>
                    </a:lnTo>
                    <a:lnTo>
                      <a:pt x="f231" y="f266"/>
                    </a:lnTo>
                    <a:lnTo>
                      <a:pt x="f230" y="f267"/>
                    </a:lnTo>
                    <a:lnTo>
                      <a:pt x="f221" y="f82"/>
                    </a:lnTo>
                    <a:lnTo>
                      <a:pt x="f221" y="f268"/>
                    </a:lnTo>
                    <a:lnTo>
                      <a:pt x="f236" y="f269"/>
                    </a:lnTo>
                    <a:lnTo>
                      <a:pt x="f219" y="f152"/>
                    </a:lnTo>
                    <a:lnTo>
                      <a:pt x="f232" y="f270"/>
                    </a:lnTo>
                    <a:lnTo>
                      <a:pt x="f241" y="f271"/>
                    </a:lnTo>
                    <a:lnTo>
                      <a:pt x="f272" y="f68"/>
                    </a:lnTo>
                    <a:lnTo>
                      <a:pt x="f219" y="f273"/>
                    </a:lnTo>
                    <a:lnTo>
                      <a:pt x="f230" y="f162"/>
                    </a:lnTo>
                    <a:lnTo>
                      <a:pt x="f221" y="f164"/>
                    </a:lnTo>
                    <a:lnTo>
                      <a:pt x="f274" y="f275"/>
                    </a:lnTo>
                    <a:lnTo>
                      <a:pt x="f237" y="f276"/>
                    </a:lnTo>
                    <a:lnTo>
                      <a:pt x="f219" y="f277"/>
                    </a:lnTo>
                    <a:lnTo>
                      <a:pt x="f241" y="f170"/>
                    </a:lnTo>
                    <a:lnTo>
                      <a:pt x="f278" y="f54"/>
                    </a:lnTo>
                    <a:lnTo>
                      <a:pt x="f242" y="f279"/>
                    </a:lnTo>
                    <a:lnTo>
                      <a:pt x="f242" y="f190"/>
                    </a:lnTo>
                    <a:lnTo>
                      <a:pt x="f280" y="f41"/>
                    </a:lnTo>
                    <a:lnTo>
                      <a:pt x="f219" y="f281"/>
                    </a:lnTo>
                    <a:lnTo>
                      <a:pt x="f230" y="f282"/>
                    </a:lnTo>
                    <a:lnTo>
                      <a:pt x="f236" y="f283"/>
                    </a:lnTo>
                    <a:lnTo>
                      <a:pt x="f236" y="f284"/>
                    </a:lnTo>
                    <a:lnTo>
                      <a:pt x="f274" y="f285"/>
                    </a:lnTo>
                    <a:lnTo>
                      <a:pt x="f286" y="f251"/>
                    </a:lnTo>
                    <a:lnTo>
                      <a:pt x="f287" y="f256"/>
                    </a:lnTo>
                    <a:lnTo>
                      <a:pt x="f288" y="f289"/>
                    </a:lnTo>
                    <a:lnTo>
                      <a:pt x="f290" y="f291"/>
                    </a:lnTo>
                    <a:lnTo>
                      <a:pt x="f10" y="f292"/>
                    </a:lnTo>
                    <a:lnTo>
                      <a:pt x="f10" y="f293"/>
                    </a:lnTo>
                    <a:lnTo>
                      <a:pt x="f5" y="f20"/>
                    </a:lnTo>
                    <a:lnTo>
                      <a:pt x="f294" y="f260"/>
                    </a:lnTo>
                    <a:lnTo>
                      <a:pt x="f230" y="f295"/>
                    </a:lnTo>
                    <a:lnTo>
                      <a:pt x="f280" y="f296"/>
                    </a:lnTo>
                    <a:lnTo>
                      <a:pt x="f262" y="f242"/>
                    </a:lnTo>
                    <a:lnTo>
                      <a:pt x="f260" y="f242"/>
                    </a:lnTo>
                    <a:lnTo>
                      <a:pt x="f20" y="f296"/>
                    </a:lnTo>
                    <a:lnTo>
                      <a:pt x="f291" y="f295"/>
                    </a:lnTo>
                    <a:lnTo>
                      <a:pt x="f289" y="f297"/>
                    </a:lnTo>
                    <a:lnTo>
                      <a:pt x="f298" y="f260"/>
                    </a:lnTo>
                    <a:lnTo>
                      <a:pt x="f299" y="f300"/>
                    </a:lnTo>
                    <a:lnTo>
                      <a:pt x="f249" y="f262"/>
                    </a:lnTo>
                    <a:lnTo>
                      <a:pt x="f212" y="f242"/>
                    </a:lnTo>
                    <a:lnTo>
                      <a:pt x="f250" y="f301"/>
                    </a:lnTo>
                    <a:lnTo>
                      <a:pt x="f210" y="f231"/>
                    </a:lnTo>
                    <a:lnTo>
                      <a:pt x="f24" y="f230"/>
                    </a:lnTo>
                    <a:lnTo>
                      <a:pt x="f302" y="f226"/>
                    </a:lnTo>
                    <a:lnTo>
                      <a:pt x="f24" y="f286"/>
                    </a:lnTo>
                    <a:lnTo>
                      <a:pt x="f24" y="f303"/>
                    </a:lnTo>
                    <a:lnTo>
                      <a:pt x="f304" y="f305"/>
                    </a:lnTo>
                    <a:lnTo>
                      <a:pt x="f306" y="f10"/>
                    </a:lnTo>
                    <a:lnTo>
                      <a:pt x="f307" y="f10"/>
                    </a:lnTo>
                    <a:lnTo>
                      <a:pt x="f308" y="f290"/>
                    </a:lnTo>
                    <a:lnTo>
                      <a:pt x="f199" y="f305"/>
                    </a:lnTo>
                    <a:lnTo>
                      <a:pt x="f282" y="f309"/>
                    </a:lnTo>
                    <a:lnTo>
                      <a:pt x="f310" y="f311"/>
                    </a:lnTo>
                    <a:lnTo>
                      <a:pt x="f312" y="f16"/>
                    </a:lnTo>
                    <a:lnTo>
                      <a:pt x="f195" y="f230"/>
                    </a:lnTo>
                    <a:lnTo>
                      <a:pt x="f30" y="f272"/>
                    </a:lnTo>
                    <a:lnTo>
                      <a:pt x="f313" y="f280"/>
                    </a:lnTo>
                    <a:lnTo>
                      <a:pt x="f314" y="f278"/>
                    </a:lnTo>
                    <a:lnTo>
                      <a:pt x="f178" y="f301"/>
                    </a:lnTo>
                    <a:lnTo>
                      <a:pt x="f190" y="f231"/>
                    </a:lnTo>
                    <a:lnTo>
                      <a:pt x="f315" y="f230"/>
                    </a:lnTo>
                    <a:lnTo>
                      <a:pt x="f277" y="f222"/>
                    </a:lnTo>
                    <a:lnTo>
                      <a:pt x="f167" y="f316"/>
                    </a:lnTo>
                    <a:lnTo>
                      <a:pt x="f317" y="f16"/>
                    </a:lnTo>
                    <a:lnTo>
                      <a:pt x="f318" y="f224"/>
                    </a:lnTo>
                    <a:lnTo>
                      <a:pt x="f319" y="f237"/>
                    </a:lnTo>
                    <a:lnTo>
                      <a:pt x="f320" y="f219"/>
                    </a:lnTo>
                    <a:lnTo>
                      <a:pt x="f321" y="f272"/>
                    </a:lnTo>
                    <a:lnTo>
                      <a:pt x="f322" y="f301"/>
                    </a:lnTo>
                    <a:lnTo>
                      <a:pt x="f323" y="f301"/>
                    </a:lnTo>
                    <a:lnTo>
                      <a:pt x="f148" y="f241"/>
                    </a:lnTo>
                    <a:lnTo>
                      <a:pt x="f324" y="f241"/>
                    </a:lnTo>
                    <a:lnTo>
                      <a:pt x="f325" y="f301"/>
                    </a:lnTo>
                    <a:lnTo>
                      <a:pt x="f326" y="f301"/>
                    </a:lnTo>
                    <a:lnTo>
                      <a:pt x="f327" y="f328"/>
                    </a:lnTo>
                    <a:lnTo>
                      <a:pt x="f325" y="f278"/>
                    </a:lnTo>
                    <a:lnTo>
                      <a:pt x="f329" y="f242"/>
                    </a:lnTo>
                    <a:lnTo>
                      <a:pt x="f84" y="f296"/>
                    </a:lnTo>
                    <a:lnTo>
                      <a:pt x="f150" y="f262"/>
                    </a:lnTo>
                    <a:lnTo>
                      <a:pt x="f148" y="f295"/>
                    </a:lnTo>
                    <a:lnTo>
                      <a:pt x="f148" y="f244"/>
                    </a:lnTo>
                    <a:lnTo>
                      <a:pt x="f150" y="f260"/>
                    </a:lnTo>
                    <a:lnTo>
                      <a:pt x="f78" y="f293"/>
                    </a:lnTo>
                    <a:lnTo>
                      <a:pt x="f329" y="f258"/>
                    </a:lnTo>
                    <a:lnTo>
                      <a:pt x="f268" y="f289"/>
                    </a:lnTo>
                    <a:lnTo>
                      <a:pt x="f80" y="f330"/>
                    </a:lnTo>
                    <a:lnTo>
                      <a:pt x="f331" y="f332"/>
                    </a:lnTo>
                    <a:lnTo>
                      <a:pt x="f333" y="f332"/>
                    </a:lnTo>
                    <a:lnTo>
                      <a:pt x="f267" y="f330"/>
                    </a:lnTo>
                    <a:lnTo>
                      <a:pt x="f334" y="f215"/>
                    </a:lnTo>
                    <a:lnTo>
                      <a:pt x="f334" y="f335"/>
                    </a:lnTo>
                    <a:lnTo>
                      <a:pt x="f336" y="f337"/>
                    </a:lnTo>
                    <a:lnTo>
                      <a:pt x="f338" y="f260"/>
                    </a:lnTo>
                    <a:lnTo>
                      <a:pt x="f339" y="f340"/>
                    </a:lnTo>
                    <a:lnTo>
                      <a:pt x="f341" y="f301"/>
                    </a:lnTo>
                    <a:lnTo>
                      <a:pt x="f342" y="f219"/>
                    </a:lnTo>
                    <a:lnTo>
                      <a:pt x="f140" y="f222"/>
                    </a:lnTo>
                    <a:lnTo>
                      <a:pt x="f104" y="f303"/>
                    </a:lnTo>
                    <a:lnTo>
                      <a:pt x="f98" y="f29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76" name="Freeform 38">
                <a:extLst>
                  <a:ext uri="{FF2B5EF4-FFF2-40B4-BE49-F238E27FC236}">
                    <a16:creationId xmlns:a16="http://schemas.microsoft.com/office/drawing/2014/main" id="{3D9EED6B-20CB-4387-A2EF-40DBE0F06E97}"/>
                  </a:ext>
                </a:extLst>
              </p:cNvPr>
              <p:cNvSpPr/>
              <p:nvPr/>
            </p:nvSpPr>
            <p:spPr>
              <a:xfrm>
                <a:off x="4551087" y="2552200"/>
                <a:ext cx="100364" cy="12777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605"/>
                  <a:gd name="f7" fmla="val 785"/>
                  <a:gd name="f8" fmla="val 279"/>
                  <a:gd name="f9" fmla="val 286"/>
                  <a:gd name="f10" fmla="val 294"/>
                  <a:gd name="f11" fmla="val 1"/>
                  <a:gd name="f12" fmla="val 301"/>
                  <a:gd name="f13" fmla="val 4"/>
                  <a:gd name="f14" fmla="val 310"/>
                  <a:gd name="f15" fmla="val 7"/>
                  <a:gd name="f16" fmla="val 317"/>
                  <a:gd name="f17" fmla="val 8"/>
                  <a:gd name="f18" fmla="val 318"/>
                  <a:gd name="f19" fmla="val 321"/>
                  <a:gd name="f20" fmla="val 25"/>
                  <a:gd name="f21" fmla="val 325"/>
                  <a:gd name="f22" fmla="val 41"/>
                  <a:gd name="f23" fmla="val 330"/>
                  <a:gd name="f24" fmla="val 57"/>
                  <a:gd name="f25" fmla="val 337"/>
                  <a:gd name="f26" fmla="val 68"/>
                  <a:gd name="f27" fmla="val 344"/>
                  <a:gd name="f28" fmla="val 73"/>
                  <a:gd name="f29" fmla="val 357"/>
                  <a:gd name="f30" fmla="val 76"/>
                  <a:gd name="f31" fmla="val 370"/>
                  <a:gd name="f32" fmla="val 384"/>
                  <a:gd name="f33" fmla="val 75"/>
                  <a:gd name="f34" fmla="val 395"/>
                  <a:gd name="f35" fmla="val 70"/>
                  <a:gd name="f36" fmla="val 402"/>
                  <a:gd name="f37" fmla="val 66"/>
                  <a:gd name="f38" fmla="val 406"/>
                  <a:gd name="f39" fmla="val 59"/>
                  <a:gd name="f40" fmla="val 420"/>
                  <a:gd name="f41" fmla="val 43"/>
                  <a:gd name="f42" fmla="val 427"/>
                  <a:gd name="f43" fmla="val 37"/>
                  <a:gd name="f44" fmla="val 435"/>
                  <a:gd name="f45" fmla="val 444"/>
                  <a:gd name="f46" fmla="val 451"/>
                  <a:gd name="f47" fmla="val 51"/>
                  <a:gd name="f48" fmla="val 457"/>
                  <a:gd name="f49" fmla="val 61"/>
                  <a:gd name="f50" fmla="val 460"/>
                  <a:gd name="f51" fmla="val 459"/>
                  <a:gd name="f52" fmla="val 79"/>
                  <a:gd name="f53" fmla="val 455"/>
                  <a:gd name="f54" fmla="val 88"/>
                  <a:gd name="f55" fmla="val 100"/>
                  <a:gd name="f56" fmla="val 445"/>
                  <a:gd name="f57" fmla="val 111"/>
                  <a:gd name="f58" fmla="val 441"/>
                  <a:gd name="f59" fmla="val 120"/>
                  <a:gd name="f60" fmla="val 125"/>
                  <a:gd name="f61" fmla="val 430"/>
                  <a:gd name="f62" fmla="val 123"/>
                  <a:gd name="f63" fmla="val 115"/>
                  <a:gd name="f64" fmla="val 411"/>
                  <a:gd name="f65" fmla="val 109"/>
                  <a:gd name="f66" fmla="val 399"/>
                  <a:gd name="f67" fmla="val 108"/>
                  <a:gd name="f68" fmla="val 393"/>
                  <a:gd name="f69" fmla="val 379"/>
                  <a:gd name="f70" fmla="val 376"/>
                  <a:gd name="f71" fmla="val 113"/>
                  <a:gd name="f72" fmla="val 377"/>
                  <a:gd name="f73" fmla="val 119"/>
                  <a:gd name="f74" fmla="val 383"/>
                  <a:gd name="f75" fmla="val 129"/>
                  <a:gd name="f76" fmla="val 390"/>
                  <a:gd name="f77" fmla="val 138"/>
                  <a:gd name="f78" fmla="val 398"/>
                  <a:gd name="f79" fmla="val 145"/>
                  <a:gd name="f80" fmla="val 409"/>
                  <a:gd name="f81" fmla="val 149"/>
                  <a:gd name="f82" fmla="val 422"/>
                  <a:gd name="f83" fmla="val 154"/>
                  <a:gd name="f84" fmla="val 431"/>
                  <a:gd name="f85" fmla="val 159"/>
                  <a:gd name="f86" fmla="val 166"/>
                  <a:gd name="f87" fmla="val 452"/>
                  <a:gd name="f88" fmla="val 169"/>
                  <a:gd name="f89" fmla="val 464"/>
                  <a:gd name="f90" fmla="val 471"/>
                  <a:gd name="f91" fmla="val 168"/>
                  <a:gd name="f92" fmla="val 474"/>
                  <a:gd name="f93" fmla="val 174"/>
                  <a:gd name="f94" fmla="val 184"/>
                  <a:gd name="f95" fmla="val 466"/>
                  <a:gd name="f96" fmla="val 191"/>
                  <a:gd name="f97" fmla="val 199"/>
                  <a:gd name="f98" fmla="val 467"/>
                  <a:gd name="f99" fmla="val 208"/>
                  <a:gd name="f100" fmla="val 475"/>
                  <a:gd name="f101" fmla="val 219"/>
                  <a:gd name="f102" fmla="val 485"/>
                  <a:gd name="f103" fmla="val 229"/>
                  <a:gd name="f104" fmla="val 498"/>
                  <a:gd name="f105" fmla="val 233"/>
                  <a:gd name="f106" fmla="val 509"/>
                  <a:gd name="f107" fmla="val 234"/>
                  <a:gd name="f108" fmla="val 520"/>
                  <a:gd name="f109" fmla="val 237"/>
                  <a:gd name="f110" fmla="val 527"/>
                  <a:gd name="f111" fmla="val 242"/>
                  <a:gd name="f112" fmla="val 529"/>
                  <a:gd name="f113" fmla="val 249"/>
                  <a:gd name="f114" fmla="val 528"/>
                  <a:gd name="f115" fmla="val 259"/>
                  <a:gd name="f116" fmla="val 273"/>
                  <a:gd name="f117" fmla="val 287"/>
                  <a:gd name="f118" fmla="val 522"/>
                  <a:gd name="f119" fmla="val 299"/>
                  <a:gd name="f120" fmla="val 518"/>
                  <a:gd name="f121" fmla="val 305"/>
                  <a:gd name="f122" fmla="val 516"/>
                  <a:gd name="f123" fmla="val 309"/>
                  <a:gd name="f124" fmla="val 517"/>
                  <a:gd name="f125" fmla="val 316"/>
                  <a:gd name="f126" fmla="val 326"/>
                  <a:gd name="f127" fmla="val 524"/>
                  <a:gd name="f128" fmla="val 335"/>
                  <a:gd name="f129" fmla="val 345"/>
                  <a:gd name="f130" fmla="val 353"/>
                  <a:gd name="f131" fmla="val 358"/>
                  <a:gd name="f132" fmla="val 535"/>
                  <a:gd name="f133" fmla="val 362"/>
                  <a:gd name="f134" fmla="val 543"/>
                  <a:gd name="f135" fmla="val 364"/>
                  <a:gd name="f136" fmla="val 549"/>
                  <a:gd name="f137" fmla="val 367"/>
                  <a:gd name="f138" fmla="val 553"/>
                  <a:gd name="f139" fmla="val 371"/>
                  <a:gd name="f140" fmla="val 545"/>
                  <a:gd name="f141" fmla="val 396"/>
                  <a:gd name="f142" fmla="val 540"/>
                  <a:gd name="f143" fmla="val 407"/>
                  <a:gd name="f144" fmla="val 538"/>
                  <a:gd name="f145" fmla="val 416"/>
                  <a:gd name="f146" fmla="val 533"/>
                  <a:gd name="f147" fmla="val 421"/>
                  <a:gd name="f148" fmla="val 424"/>
                  <a:gd name="f149" fmla="val 547"/>
                  <a:gd name="f150" fmla="val 428"/>
                  <a:gd name="f151" fmla="val 554"/>
                  <a:gd name="f152" fmla="val 434"/>
                  <a:gd name="f153" fmla="val 560"/>
                  <a:gd name="f154" fmla="val 565"/>
                  <a:gd name="f155" fmla="val 453"/>
                  <a:gd name="f156" fmla="val 572"/>
                  <a:gd name="f157" fmla="val 582"/>
                  <a:gd name="f158" fmla="val 480"/>
                  <a:gd name="f159" fmla="val 598"/>
                  <a:gd name="f160" fmla="val 507"/>
                  <a:gd name="f161" fmla="val 604"/>
                  <a:gd name="f162" fmla="val 530"/>
                  <a:gd name="f163" fmla="val 601"/>
                  <a:gd name="f164" fmla="val 556"/>
                  <a:gd name="f165" fmla="val 597"/>
                  <a:gd name="f166" fmla="val 564"/>
                  <a:gd name="f167" fmla="val 592"/>
                  <a:gd name="f168" fmla="val 568"/>
                  <a:gd name="f169" fmla="val 587"/>
                  <a:gd name="f170" fmla="val 571"/>
                  <a:gd name="f171" fmla="val 579"/>
                  <a:gd name="f172" fmla="val 596"/>
                  <a:gd name="f173" fmla="val 599"/>
                  <a:gd name="f174" fmla="val 569"/>
                  <a:gd name="f175" fmla="val 618"/>
                  <a:gd name="f176" fmla="val 624"/>
                  <a:gd name="f177" fmla="val 628"/>
                  <a:gd name="f178" fmla="val 632"/>
                  <a:gd name="f179" fmla="val 638"/>
                  <a:gd name="f180" fmla="val 645"/>
                  <a:gd name="f181" fmla="val 650"/>
                  <a:gd name="f182" fmla="val 503"/>
                  <a:gd name="f183" fmla="val 653"/>
                  <a:gd name="f184" fmla="val 492"/>
                  <a:gd name="f185" fmla="val 487"/>
                  <a:gd name="f186" fmla="val 482"/>
                  <a:gd name="f187" fmla="val 646"/>
                  <a:gd name="f188" fmla="val 477"/>
                  <a:gd name="f189" fmla="val 473"/>
                  <a:gd name="f190" fmla="val 636"/>
                  <a:gd name="f191" fmla="val 640"/>
                  <a:gd name="f192" fmla="val 446"/>
                  <a:gd name="f193" fmla="val 664"/>
                  <a:gd name="f194" fmla="val 679"/>
                  <a:gd name="f195" fmla="val 415"/>
                  <a:gd name="f196" fmla="val 697"/>
                  <a:gd name="f197" fmla="val 401"/>
                  <a:gd name="f198" fmla="val 696"/>
                  <a:gd name="f199" fmla="val 388"/>
                  <a:gd name="f200" fmla="val 382"/>
                  <a:gd name="f201" fmla="val 699"/>
                  <a:gd name="f202" fmla="val 704"/>
                  <a:gd name="f203" fmla="val 366"/>
                  <a:gd name="f204" fmla="val 711"/>
                  <a:gd name="f205" fmla="val 341"/>
                  <a:gd name="f206" fmla="val 728"/>
                  <a:gd name="f207" fmla="val 332"/>
                  <a:gd name="f208" fmla="val 735"/>
                  <a:gd name="f209" fmla="val 323"/>
                  <a:gd name="f210" fmla="val 740"/>
                  <a:gd name="f211" fmla="val 319"/>
                  <a:gd name="f212" fmla="val 746"/>
                  <a:gd name="f213" fmla="val 750"/>
                  <a:gd name="f214" fmla="val 756"/>
                  <a:gd name="f215" fmla="val 329"/>
                  <a:gd name="f216" fmla="val 768"/>
                  <a:gd name="f217" fmla="val 779"/>
                  <a:gd name="f218" fmla="val 783"/>
                  <a:gd name="f219" fmla="val 312"/>
                  <a:gd name="f220" fmla="val 306"/>
                  <a:gd name="f221" fmla="val 297"/>
                  <a:gd name="f222" fmla="val 772"/>
                  <a:gd name="f223" fmla="val 293"/>
                  <a:gd name="f224" fmla="val 765"/>
                  <a:gd name="f225" fmla="val 275"/>
                  <a:gd name="f226" fmla="val 761"/>
                  <a:gd name="f227" fmla="val 265"/>
                  <a:gd name="f228" fmla="val 751"/>
                  <a:gd name="f229" fmla="val 256"/>
                  <a:gd name="f230" fmla="val 246"/>
                  <a:gd name="f231" fmla="val 732"/>
                  <a:gd name="f232" fmla="val 230"/>
                  <a:gd name="f233" fmla="val 726"/>
                  <a:gd name="f234" fmla="val 221"/>
                  <a:gd name="f235" fmla="val 717"/>
                  <a:gd name="f236" fmla="val 213"/>
                  <a:gd name="f237" fmla="val 203"/>
                  <a:gd name="f238" fmla="val 693"/>
                  <a:gd name="f239" fmla="val 195"/>
                  <a:gd name="f240" fmla="val 686"/>
                  <a:gd name="f241" fmla="val 188"/>
                  <a:gd name="f242" fmla="val 685"/>
                  <a:gd name="f243" fmla="val 177"/>
                  <a:gd name="f244" fmla="val 163"/>
                  <a:gd name="f245" fmla="val 690"/>
                  <a:gd name="f246" fmla="val 151"/>
                  <a:gd name="f247" fmla="val 703"/>
                  <a:gd name="f248" fmla="val 130"/>
                  <a:gd name="f249" fmla="val 707"/>
                  <a:gd name="f250" fmla="val 708"/>
                  <a:gd name="f251" fmla="val 98"/>
                  <a:gd name="f252" fmla="val 86"/>
                  <a:gd name="f253" fmla="val 65"/>
                  <a:gd name="f254" fmla="val 692"/>
                  <a:gd name="f255" fmla="val 62"/>
                  <a:gd name="f256" fmla="val 60"/>
                  <a:gd name="f257" fmla="val 58"/>
                  <a:gd name="f258" fmla="val 688"/>
                  <a:gd name="f259" fmla="val 53"/>
                  <a:gd name="f260" fmla="val 675"/>
                  <a:gd name="f261" fmla="val 50"/>
                  <a:gd name="f262" fmla="val 46"/>
                  <a:gd name="f263" fmla="val 42"/>
                  <a:gd name="f264" fmla="val 627"/>
                  <a:gd name="f265" fmla="val 616"/>
                  <a:gd name="f266" fmla="val 36"/>
                  <a:gd name="f267" fmla="val 607"/>
                  <a:gd name="f268" fmla="val 39"/>
                  <a:gd name="f269" fmla="val 602"/>
                  <a:gd name="f270" fmla="val 44"/>
                  <a:gd name="f271" fmla="val 595"/>
                  <a:gd name="f272" fmla="val 589"/>
                  <a:gd name="f273" fmla="val 67"/>
                  <a:gd name="f274" fmla="val 80"/>
                  <a:gd name="f275" fmla="val 566"/>
                  <a:gd name="f276" fmla="val 87"/>
                  <a:gd name="f277" fmla="val 91"/>
                  <a:gd name="f278" fmla="val 93"/>
                  <a:gd name="f279" fmla="val 90"/>
                  <a:gd name="f280" fmla="val 83"/>
                  <a:gd name="f281" fmla="val 546"/>
                  <a:gd name="f282" fmla="val 550"/>
                  <a:gd name="f283" fmla="val 552"/>
                  <a:gd name="f284" fmla="val 534"/>
                  <a:gd name="f285" fmla="val 514"/>
                  <a:gd name="f286" fmla="val 502"/>
                  <a:gd name="f287" fmla="val 495"/>
                  <a:gd name="f288" fmla="val 489"/>
                  <a:gd name="f289" fmla="val 484"/>
                  <a:gd name="f290" fmla="val 26"/>
                  <a:gd name="f291" fmla="val 478"/>
                  <a:gd name="f292" fmla="val 20"/>
                  <a:gd name="f293" fmla="val 17"/>
                  <a:gd name="f294" fmla="val 18"/>
                  <a:gd name="f295" fmla="val 28"/>
                  <a:gd name="f296" fmla="val 449"/>
                  <a:gd name="f297" fmla="val 47"/>
                  <a:gd name="f298" fmla="val 425"/>
                  <a:gd name="f299" fmla="val 417"/>
                  <a:gd name="f300" fmla="val 31"/>
                  <a:gd name="f301" fmla="val 394"/>
                  <a:gd name="f302" fmla="val 24"/>
                  <a:gd name="f303" fmla="val 385"/>
                  <a:gd name="f304" fmla="val 21"/>
                  <a:gd name="f305" fmla="val 369"/>
                  <a:gd name="f306" fmla="val 356"/>
                  <a:gd name="f307" fmla="val 11"/>
                  <a:gd name="f308" fmla="val 6"/>
                  <a:gd name="f309" fmla="val 2"/>
                  <a:gd name="f310" fmla="val 290"/>
                  <a:gd name="f311" fmla="val 274"/>
                  <a:gd name="f312" fmla="val 216"/>
                  <a:gd name="f313" fmla="val 205"/>
                  <a:gd name="f314" fmla="val 55"/>
                  <a:gd name="f315" fmla="val 197"/>
                  <a:gd name="f316" fmla="val 176"/>
                  <a:gd name="f317" fmla="val 179"/>
                  <a:gd name="f318" fmla="val 78"/>
                  <a:gd name="f319" fmla="val 89"/>
                  <a:gd name="f320" fmla="val 101"/>
                  <a:gd name="f321" fmla="val 116"/>
                  <a:gd name="f322" fmla="val 170"/>
                  <a:gd name="f323" fmla="val 136"/>
                  <a:gd name="f324" fmla="val 162"/>
                  <a:gd name="f325" fmla="val 144"/>
                  <a:gd name="f326" fmla="val 165"/>
                  <a:gd name="f327" fmla="val 152"/>
                  <a:gd name="f328" fmla="val 160"/>
                  <a:gd name="f329" fmla="val 178"/>
                  <a:gd name="f330" fmla="val 187"/>
                  <a:gd name="f331" fmla="val 202"/>
                  <a:gd name="f332" fmla="val 194"/>
                  <a:gd name="f333" fmla="val 206"/>
                  <a:gd name="f334" fmla="val 198"/>
                  <a:gd name="f335" fmla="val 209"/>
                  <a:gd name="f336" fmla="val 214"/>
                  <a:gd name="f337" fmla="val 220"/>
                  <a:gd name="f338" fmla="val 223"/>
                  <a:gd name="f339" fmla="val 239"/>
                  <a:gd name="f340" fmla="val 245"/>
                  <a:gd name="f341" fmla="val 112"/>
                  <a:gd name="f342" fmla="val 241"/>
                  <a:gd name="f343" fmla="val 236"/>
                  <a:gd name="f344" fmla="val 84"/>
                  <a:gd name="f345" fmla="val 77"/>
                  <a:gd name="f346" fmla="val 238"/>
                  <a:gd name="f347" fmla="val 247"/>
                  <a:gd name="f348" fmla="val 257"/>
                  <a:gd name="f349" fmla="val 264"/>
                  <a:gd name="f350" fmla="val 268"/>
                  <a:gd name="f351" fmla="val 270"/>
                  <a:gd name="f352" fmla="val 69"/>
                  <a:gd name="f353" fmla="val 54"/>
                  <a:gd name="f354" fmla="val 27"/>
                  <a:gd name="f355" fmla="val 272"/>
                  <a:gd name="f356" fmla="val 14"/>
                  <a:gd name="f357" fmla="+- 0 0 -90"/>
                  <a:gd name="f358" fmla="*/ f3 1 605"/>
                  <a:gd name="f359" fmla="*/ f4 1 785"/>
                  <a:gd name="f360" fmla="+- f7 0 f5"/>
                  <a:gd name="f361" fmla="+- f6 0 f5"/>
                  <a:gd name="f362" fmla="*/ f357 f0 1"/>
                  <a:gd name="f363" fmla="*/ f361 1 605"/>
                  <a:gd name="f364" fmla="*/ f360 1 785"/>
                  <a:gd name="f365" fmla="*/ f362 1 f2"/>
                  <a:gd name="f366" fmla="*/ 310 1 f363"/>
                  <a:gd name="f367" fmla="*/ 7 1 f364"/>
                  <a:gd name="f368" fmla="*/ 330 1 f363"/>
                  <a:gd name="f369" fmla="*/ 57 1 f364"/>
                  <a:gd name="f370" fmla="*/ 384 1 f363"/>
                  <a:gd name="f371" fmla="*/ 75 1 f364"/>
                  <a:gd name="f372" fmla="*/ 427 1 f363"/>
                  <a:gd name="f373" fmla="*/ 37 1 f364"/>
                  <a:gd name="f374" fmla="*/ 460 1 f363"/>
                  <a:gd name="f375" fmla="*/ 70 1 f364"/>
                  <a:gd name="f376" fmla="*/ 441 1 f363"/>
                  <a:gd name="f377" fmla="*/ 120 1 f364"/>
                  <a:gd name="f378" fmla="*/ 399 1 f363"/>
                  <a:gd name="f379" fmla="*/ 108 1 f364"/>
                  <a:gd name="f380" fmla="*/ 377 1 f363"/>
                  <a:gd name="f381" fmla="*/ 119 1 f364"/>
                  <a:gd name="f382" fmla="*/ 422 1 f363"/>
                  <a:gd name="f383" fmla="*/ 154 1 f364"/>
                  <a:gd name="f384" fmla="*/ 471 1 f363"/>
                  <a:gd name="f385" fmla="*/ 168 1 f364"/>
                  <a:gd name="f386" fmla="*/ 464 1 f363"/>
                  <a:gd name="f387" fmla="*/ 199 1 f364"/>
                  <a:gd name="f388" fmla="*/ 509 1 f363"/>
                  <a:gd name="f389" fmla="*/ 234 1 f364"/>
                  <a:gd name="f390" fmla="*/ 528 1 f363"/>
                  <a:gd name="f391" fmla="*/ 273 1 f364"/>
                  <a:gd name="f392" fmla="*/ 517 1 f363"/>
                  <a:gd name="f393" fmla="*/ 316 1 f364"/>
                  <a:gd name="f394" fmla="*/ 529 1 f363"/>
                  <a:gd name="f395" fmla="*/ 358 1 f364"/>
                  <a:gd name="f396" fmla="*/ 553 1 f363"/>
                  <a:gd name="f397" fmla="*/ 376 1 f364"/>
                  <a:gd name="f398" fmla="*/ 533 1 f363"/>
                  <a:gd name="f399" fmla="*/ 420 1 f364"/>
                  <a:gd name="f400" fmla="*/ 560 1 f363"/>
                  <a:gd name="f401" fmla="*/ 445 1 f364"/>
                  <a:gd name="f402" fmla="*/ 604 1 f363"/>
                  <a:gd name="f403" fmla="*/ 520 1 f364"/>
                  <a:gd name="f404" fmla="*/ 592 1 f363"/>
                  <a:gd name="f405" fmla="*/ 568 1 f364"/>
                  <a:gd name="f406" fmla="*/ 569 1 f363"/>
                  <a:gd name="f407" fmla="*/ 604 1 f364"/>
                  <a:gd name="f408" fmla="*/ 543 1 f363"/>
                  <a:gd name="f409" fmla="*/ 638 1 f364"/>
                  <a:gd name="f410" fmla="*/ 487 1 f363"/>
                  <a:gd name="f411" fmla="*/ 650 1 f364"/>
                  <a:gd name="f412" fmla="*/ 459 1 f363"/>
                  <a:gd name="f413" fmla="*/ 640 1 f364"/>
                  <a:gd name="f414" fmla="*/ 401 1 f363"/>
                  <a:gd name="f415" fmla="*/ 696 1 f364"/>
                  <a:gd name="f416" fmla="*/ 341 1 f363"/>
                  <a:gd name="f417" fmla="*/ 728 1 f364"/>
                  <a:gd name="f418" fmla="*/ 323 1 f363"/>
                  <a:gd name="f419" fmla="*/ 756 1 f364"/>
                  <a:gd name="f420" fmla="*/ 312 1 f363"/>
                  <a:gd name="f421" fmla="*/ 785 1 f364"/>
                  <a:gd name="f422" fmla="*/ 275 1 f363"/>
                  <a:gd name="f423" fmla="*/ 761 1 f364"/>
                  <a:gd name="f424" fmla="*/ 221 1 f363"/>
                  <a:gd name="f425" fmla="*/ 717 1 f364"/>
                  <a:gd name="f426" fmla="*/ 177 1 f363"/>
                  <a:gd name="f427" fmla="*/ 686 1 f364"/>
                  <a:gd name="f428" fmla="*/ 125 1 f363"/>
                  <a:gd name="f429" fmla="*/ 711 1 f364"/>
                  <a:gd name="f430" fmla="*/ 75 1 f363"/>
                  <a:gd name="f431" fmla="*/ 693 1 f364"/>
                  <a:gd name="f432" fmla="*/ 57 1 f363"/>
                  <a:gd name="f433" fmla="*/ 37 1 f363"/>
                  <a:gd name="f434" fmla="*/ 616 1 f364"/>
                  <a:gd name="f435" fmla="*/ 60 1 f363"/>
                  <a:gd name="f436" fmla="*/ 589 1 f364"/>
                  <a:gd name="f437" fmla="*/ 93 1 f363"/>
                  <a:gd name="f438" fmla="*/ 545 1 f364"/>
                  <a:gd name="f439" fmla="*/ 62 1 f363"/>
                  <a:gd name="f440" fmla="*/ 552 1 f364"/>
                  <a:gd name="f441" fmla="*/ 53 1 f363"/>
                  <a:gd name="f442" fmla="*/ 502 1 f364"/>
                  <a:gd name="f443" fmla="*/ 20 1 f363"/>
                  <a:gd name="f444" fmla="*/ 473 1 f364"/>
                  <a:gd name="f445" fmla="*/ 47 1 f363"/>
                  <a:gd name="f446" fmla="*/ 434 1 f364"/>
                  <a:gd name="f447" fmla="*/ 31 1 f363"/>
                  <a:gd name="f448" fmla="*/ 394 1 f364"/>
                  <a:gd name="f449" fmla="*/ 11 1 f363"/>
                  <a:gd name="f450" fmla="*/ 341 1 f364"/>
                  <a:gd name="f451" fmla="*/ 8 1 f363"/>
                  <a:gd name="f452" fmla="*/ 259 1 f364"/>
                  <a:gd name="f453" fmla="*/ 55 1 f363"/>
                  <a:gd name="f454" fmla="*/ 176 1 f364"/>
                  <a:gd name="f455" fmla="*/ 116 1 f363"/>
                  <a:gd name="f456" fmla="*/ 170 1 f364"/>
                  <a:gd name="f457" fmla="*/ 160 1 f363"/>
                  <a:gd name="f458" fmla="*/ 177 1 f364"/>
                  <a:gd name="f459" fmla="*/ 202 1 f363"/>
                  <a:gd name="f460" fmla="*/ 197 1 f364"/>
                  <a:gd name="f461" fmla="*/ 239 1 f363"/>
                  <a:gd name="f462" fmla="*/ 136 1 f364"/>
                  <a:gd name="f463" fmla="*/ 234 1 f363"/>
                  <a:gd name="f464" fmla="*/ 84 1 f364"/>
                  <a:gd name="f465" fmla="*/ 264 1 f363"/>
                  <a:gd name="f466" fmla="*/ 76 1 f364"/>
                  <a:gd name="f467" fmla="*/ 257 1 f363"/>
                  <a:gd name="f468" fmla="*/ 47 1 f364"/>
                  <a:gd name="f469" fmla="*/ 4 1 f364"/>
                  <a:gd name="f470" fmla="*/ 0 1 f363"/>
                  <a:gd name="f471" fmla="*/ f6 1 f363"/>
                  <a:gd name="f472" fmla="*/ 0 1 f364"/>
                  <a:gd name="f473" fmla="*/ f7 1 f364"/>
                  <a:gd name="f474" fmla="+- f365 0 f1"/>
                  <a:gd name="f475" fmla="*/ f470 f358 1"/>
                  <a:gd name="f476" fmla="*/ f471 f358 1"/>
                  <a:gd name="f477" fmla="*/ f473 f359 1"/>
                  <a:gd name="f478" fmla="*/ f472 f359 1"/>
                  <a:gd name="f479" fmla="*/ f366 f358 1"/>
                  <a:gd name="f480" fmla="*/ f367 f359 1"/>
                  <a:gd name="f481" fmla="*/ f368 f358 1"/>
                  <a:gd name="f482" fmla="*/ f369 f359 1"/>
                  <a:gd name="f483" fmla="*/ f370 f358 1"/>
                  <a:gd name="f484" fmla="*/ f371 f359 1"/>
                  <a:gd name="f485" fmla="*/ f372 f358 1"/>
                  <a:gd name="f486" fmla="*/ f373 f359 1"/>
                  <a:gd name="f487" fmla="*/ f374 f358 1"/>
                  <a:gd name="f488" fmla="*/ f375 f359 1"/>
                  <a:gd name="f489" fmla="*/ f376 f358 1"/>
                  <a:gd name="f490" fmla="*/ f377 f359 1"/>
                  <a:gd name="f491" fmla="*/ f378 f358 1"/>
                  <a:gd name="f492" fmla="*/ f379 f359 1"/>
                  <a:gd name="f493" fmla="*/ f380 f358 1"/>
                  <a:gd name="f494" fmla="*/ f381 f359 1"/>
                  <a:gd name="f495" fmla="*/ f382 f358 1"/>
                  <a:gd name="f496" fmla="*/ f383 f359 1"/>
                  <a:gd name="f497" fmla="*/ f384 f358 1"/>
                  <a:gd name="f498" fmla="*/ f385 f359 1"/>
                  <a:gd name="f499" fmla="*/ f386 f358 1"/>
                  <a:gd name="f500" fmla="*/ f387 f359 1"/>
                  <a:gd name="f501" fmla="*/ f388 f358 1"/>
                  <a:gd name="f502" fmla="*/ f389 f359 1"/>
                  <a:gd name="f503" fmla="*/ f390 f358 1"/>
                  <a:gd name="f504" fmla="*/ f391 f359 1"/>
                  <a:gd name="f505" fmla="*/ f392 f358 1"/>
                  <a:gd name="f506" fmla="*/ f393 f359 1"/>
                  <a:gd name="f507" fmla="*/ f394 f358 1"/>
                  <a:gd name="f508" fmla="*/ f395 f359 1"/>
                  <a:gd name="f509" fmla="*/ f396 f358 1"/>
                  <a:gd name="f510" fmla="*/ f397 f359 1"/>
                  <a:gd name="f511" fmla="*/ f398 f358 1"/>
                  <a:gd name="f512" fmla="*/ f399 f359 1"/>
                  <a:gd name="f513" fmla="*/ f400 f358 1"/>
                  <a:gd name="f514" fmla="*/ f401 f359 1"/>
                  <a:gd name="f515" fmla="*/ f402 f358 1"/>
                  <a:gd name="f516" fmla="*/ f403 f359 1"/>
                  <a:gd name="f517" fmla="*/ f404 f358 1"/>
                  <a:gd name="f518" fmla="*/ f405 f359 1"/>
                  <a:gd name="f519" fmla="*/ f406 f358 1"/>
                  <a:gd name="f520" fmla="*/ f407 f359 1"/>
                  <a:gd name="f521" fmla="*/ f408 f358 1"/>
                  <a:gd name="f522" fmla="*/ f409 f359 1"/>
                  <a:gd name="f523" fmla="*/ f410 f358 1"/>
                  <a:gd name="f524" fmla="*/ f411 f359 1"/>
                  <a:gd name="f525" fmla="*/ f412 f358 1"/>
                  <a:gd name="f526" fmla="*/ f413 f359 1"/>
                  <a:gd name="f527" fmla="*/ f414 f358 1"/>
                  <a:gd name="f528" fmla="*/ f415 f359 1"/>
                  <a:gd name="f529" fmla="*/ f416 f358 1"/>
                  <a:gd name="f530" fmla="*/ f417 f359 1"/>
                  <a:gd name="f531" fmla="*/ f418 f358 1"/>
                  <a:gd name="f532" fmla="*/ f419 f359 1"/>
                  <a:gd name="f533" fmla="*/ f420 f358 1"/>
                  <a:gd name="f534" fmla="*/ f421 f359 1"/>
                  <a:gd name="f535" fmla="*/ f422 f358 1"/>
                  <a:gd name="f536" fmla="*/ f423 f359 1"/>
                  <a:gd name="f537" fmla="*/ f424 f358 1"/>
                  <a:gd name="f538" fmla="*/ f425 f359 1"/>
                  <a:gd name="f539" fmla="*/ f426 f358 1"/>
                  <a:gd name="f540" fmla="*/ f427 f359 1"/>
                  <a:gd name="f541" fmla="*/ f428 f358 1"/>
                  <a:gd name="f542" fmla="*/ f429 f359 1"/>
                  <a:gd name="f543" fmla="*/ f430 f358 1"/>
                  <a:gd name="f544" fmla="*/ f431 f359 1"/>
                  <a:gd name="f545" fmla="*/ f432 f358 1"/>
                  <a:gd name="f546" fmla="*/ f433 f358 1"/>
                  <a:gd name="f547" fmla="*/ f434 f359 1"/>
                  <a:gd name="f548" fmla="*/ f435 f358 1"/>
                  <a:gd name="f549" fmla="*/ f436 f359 1"/>
                  <a:gd name="f550" fmla="*/ f437 f358 1"/>
                  <a:gd name="f551" fmla="*/ f438 f359 1"/>
                  <a:gd name="f552" fmla="*/ f439 f358 1"/>
                  <a:gd name="f553" fmla="*/ f440 f359 1"/>
                  <a:gd name="f554" fmla="*/ f441 f358 1"/>
                  <a:gd name="f555" fmla="*/ f442 f359 1"/>
                  <a:gd name="f556" fmla="*/ f443 f358 1"/>
                  <a:gd name="f557" fmla="*/ f444 f359 1"/>
                  <a:gd name="f558" fmla="*/ f445 f358 1"/>
                  <a:gd name="f559" fmla="*/ f446 f359 1"/>
                  <a:gd name="f560" fmla="*/ f447 f358 1"/>
                  <a:gd name="f561" fmla="*/ f448 f359 1"/>
                  <a:gd name="f562" fmla="*/ f449 f358 1"/>
                  <a:gd name="f563" fmla="*/ f450 f359 1"/>
                  <a:gd name="f564" fmla="*/ f451 f358 1"/>
                  <a:gd name="f565" fmla="*/ f452 f359 1"/>
                  <a:gd name="f566" fmla="*/ f453 f358 1"/>
                  <a:gd name="f567" fmla="*/ f454 f359 1"/>
                  <a:gd name="f568" fmla="*/ f455 f358 1"/>
                  <a:gd name="f569" fmla="*/ f456 f359 1"/>
                  <a:gd name="f570" fmla="*/ f457 f358 1"/>
                  <a:gd name="f571" fmla="*/ f458 f359 1"/>
                  <a:gd name="f572" fmla="*/ f459 f358 1"/>
                  <a:gd name="f573" fmla="*/ f460 f359 1"/>
                  <a:gd name="f574" fmla="*/ f461 f358 1"/>
                  <a:gd name="f575" fmla="*/ f462 f359 1"/>
                  <a:gd name="f576" fmla="*/ f463 f358 1"/>
                  <a:gd name="f577" fmla="*/ f464 f359 1"/>
                  <a:gd name="f578" fmla="*/ f465 f358 1"/>
                  <a:gd name="f579" fmla="*/ f466 f359 1"/>
                  <a:gd name="f580" fmla="*/ f467 f358 1"/>
                  <a:gd name="f581" fmla="*/ f468 f359 1"/>
                  <a:gd name="f582" fmla="*/ f469 f35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74">
                    <a:pos x="f479" y="f480"/>
                  </a:cxn>
                  <a:cxn ang="f474">
                    <a:pos x="f481" y="f482"/>
                  </a:cxn>
                  <a:cxn ang="f474">
                    <a:pos x="f483" y="f484"/>
                  </a:cxn>
                  <a:cxn ang="f474">
                    <a:pos x="f485" y="f486"/>
                  </a:cxn>
                  <a:cxn ang="f474">
                    <a:pos x="f487" y="f488"/>
                  </a:cxn>
                  <a:cxn ang="f474">
                    <a:pos x="f489" y="f490"/>
                  </a:cxn>
                  <a:cxn ang="f474">
                    <a:pos x="f491" y="f492"/>
                  </a:cxn>
                  <a:cxn ang="f474">
                    <a:pos x="f493" y="f494"/>
                  </a:cxn>
                  <a:cxn ang="f474">
                    <a:pos x="f495" y="f496"/>
                  </a:cxn>
                  <a:cxn ang="f474">
                    <a:pos x="f497" y="f498"/>
                  </a:cxn>
                  <a:cxn ang="f474">
                    <a:pos x="f499" y="f500"/>
                  </a:cxn>
                  <a:cxn ang="f474">
                    <a:pos x="f501" y="f502"/>
                  </a:cxn>
                  <a:cxn ang="f474">
                    <a:pos x="f503" y="f504"/>
                  </a:cxn>
                  <a:cxn ang="f474">
                    <a:pos x="f505" y="f506"/>
                  </a:cxn>
                  <a:cxn ang="f474">
                    <a:pos x="f507" y="f508"/>
                  </a:cxn>
                  <a:cxn ang="f474">
                    <a:pos x="f509" y="f510"/>
                  </a:cxn>
                  <a:cxn ang="f474">
                    <a:pos x="f511" y="f512"/>
                  </a:cxn>
                  <a:cxn ang="f474">
                    <a:pos x="f513" y="f514"/>
                  </a:cxn>
                  <a:cxn ang="f474">
                    <a:pos x="f515" y="f516"/>
                  </a:cxn>
                  <a:cxn ang="f474">
                    <a:pos x="f517" y="f518"/>
                  </a:cxn>
                  <a:cxn ang="f474">
                    <a:pos x="f519" y="f520"/>
                  </a:cxn>
                  <a:cxn ang="f474">
                    <a:pos x="f521" y="f522"/>
                  </a:cxn>
                  <a:cxn ang="f474">
                    <a:pos x="f523" y="f524"/>
                  </a:cxn>
                  <a:cxn ang="f474">
                    <a:pos x="f525" y="f526"/>
                  </a:cxn>
                  <a:cxn ang="f474">
                    <a:pos x="f527" y="f528"/>
                  </a:cxn>
                  <a:cxn ang="f474">
                    <a:pos x="f529" y="f530"/>
                  </a:cxn>
                  <a:cxn ang="f474">
                    <a:pos x="f531" y="f532"/>
                  </a:cxn>
                  <a:cxn ang="f474">
                    <a:pos x="f533" y="f534"/>
                  </a:cxn>
                  <a:cxn ang="f474">
                    <a:pos x="f535" y="f536"/>
                  </a:cxn>
                  <a:cxn ang="f474">
                    <a:pos x="f537" y="f538"/>
                  </a:cxn>
                  <a:cxn ang="f474">
                    <a:pos x="f539" y="f540"/>
                  </a:cxn>
                  <a:cxn ang="f474">
                    <a:pos x="f541" y="f542"/>
                  </a:cxn>
                  <a:cxn ang="f474">
                    <a:pos x="f543" y="f544"/>
                  </a:cxn>
                  <a:cxn ang="f474">
                    <a:pos x="f545" y="f540"/>
                  </a:cxn>
                  <a:cxn ang="f474">
                    <a:pos x="f546" y="f547"/>
                  </a:cxn>
                  <a:cxn ang="f474">
                    <a:pos x="f548" y="f549"/>
                  </a:cxn>
                  <a:cxn ang="f474">
                    <a:pos x="f550" y="f551"/>
                  </a:cxn>
                  <a:cxn ang="f474">
                    <a:pos x="f552" y="f553"/>
                  </a:cxn>
                  <a:cxn ang="f474">
                    <a:pos x="f554" y="f555"/>
                  </a:cxn>
                  <a:cxn ang="f474">
                    <a:pos x="f556" y="f557"/>
                  </a:cxn>
                  <a:cxn ang="f474">
                    <a:pos x="f558" y="f559"/>
                  </a:cxn>
                  <a:cxn ang="f474">
                    <a:pos x="f560" y="f561"/>
                  </a:cxn>
                  <a:cxn ang="f474">
                    <a:pos x="f562" y="f563"/>
                  </a:cxn>
                  <a:cxn ang="f474">
                    <a:pos x="f564" y="f565"/>
                  </a:cxn>
                  <a:cxn ang="f474">
                    <a:pos x="f566" y="f567"/>
                  </a:cxn>
                  <a:cxn ang="f474">
                    <a:pos x="f568" y="f569"/>
                  </a:cxn>
                  <a:cxn ang="f474">
                    <a:pos x="f570" y="f571"/>
                  </a:cxn>
                  <a:cxn ang="f474">
                    <a:pos x="f572" y="f573"/>
                  </a:cxn>
                  <a:cxn ang="f474">
                    <a:pos x="f574" y="f575"/>
                  </a:cxn>
                  <a:cxn ang="f474">
                    <a:pos x="f576" y="f577"/>
                  </a:cxn>
                  <a:cxn ang="f474">
                    <a:pos x="f578" y="f579"/>
                  </a:cxn>
                  <a:cxn ang="f474">
                    <a:pos x="f580" y="f581"/>
                  </a:cxn>
                  <a:cxn ang="f474">
                    <a:pos x="f535" y="f582"/>
                  </a:cxn>
                </a:cxnLst>
                <a:rect l="f475" t="f478" r="f476" b="f477"/>
                <a:pathLst>
                  <a:path w="605" h="785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5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0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3"/>
                    </a:lnTo>
                    <a:lnTo>
                      <a:pt x="f45" y="f41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35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46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44" y="f60"/>
                    </a:lnTo>
                    <a:lnTo>
                      <a:pt x="f61" y="f62"/>
                    </a:lnTo>
                    <a:lnTo>
                      <a:pt x="f40" y="f63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67"/>
                    </a:lnTo>
                    <a:lnTo>
                      <a:pt x="f32" y="f65"/>
                    </a:lnTo>
                    <a:lnTo>
                      <a:pt x="f69" y="f57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76" y="f77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lnTo>
                      <a:pt x="f58" y="f86"/>
                    </a:lnTo>
                    <a:lnTo>
                      <a:pt x="f87" y="f88"/>
                    </a:lnTo>
                    <a:lnTo>
                      <a:pt x="f89" y="f88"/>
                    </a:lnTo>
                    <a:lnTo>
                      <a:pt x="f90" y="f91"/>
                    </a:lnTo>
                    <a:lnTo>
                      <a:pt x="f92" y="f88"/>
                    </a:lnTo>
                    <a:lnTo>
                      <a:pt x="f92" y="f93"/>
                    </a:lnTo>
                    <a:lnTo>
                      <a:pt x="f90" y="f94"/>
                    </a:lnTo>
                    <a:lnTo>
                      <a:pt x="f95" y="f96"/>
                    </a:lnTo>
                    <a:lnTo>
                      <a:pt x="f89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4" y="f116"/>
                    </a:lnTo>
                    <a:lnTo>
                      <a:pt x="f110" y="f117"/>
                    </a:lnTo>
                    <a:lnTo>
                      <a:pt x="f118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08" y="f126"/>
                    </a:lnTo>
                    <a:lnTo>
                      <a:pt x="f127" y="f128"/>
                    </a:lnTo>
                    <a:lnTo>
                      <a:pt x="f110" y="f129"/>
                    </a:lnTo>
                    <a:lnTo>
                      <a:pt x="f114" y="f130"/>
                    </a:lnTo>
                    <a:lnTo>
                      <a:pt x="f112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38" y="f70"/>
                    </a:lnTo>
                    <a:lnTo>
                      <a:pt x="f136" y="f32"/>
                    </a:lnTo>
                    <a:lnTo>
                      <a:pt x="f140" y="f141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40"/>
                    </a:lnTo>
                    <a:lnTo>
                      <a:pt x="f132" y="f147"/>
                    </a:lnTo>
                    <a:lnTo>
                      <a:pt x="f142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lnTo>
                      <a:pt x="f153" y="f56"/>
                    </a:lnTo>
                    <a:lnTo>
                      <a:pt x="f154" y="f155"/>
                    </a:lnTo>
                    <a:lnTo>
                      <a:pt x="f156" y="f95"/>
                    </a:lnTo>
                    <a:lnTo>
                      <a:pt x="f157" y="f158"/>
                    </a:lnTo>
                    <a:lnTo>
                      <a:pt x="f159" y="f160"/>
                    </a:lnTo>
                    <a:lnTo>
                      <a:pt x="f161" y="f108"/>
                    </a:lnTo>
                    <a:lnTo>
                      <a:pt x="f6" y="f162"/>
                    </a:lnTo>
                    <a:lnTo>
                      <a:pt x="f161" y="f140"/>
                    </a:lnTo>
                    <a:lnTo>
                      <a:pt x="f163" y="f164"/>
                    </a:lnTo>
                    <a:lnTo>
                      <a:pt x="f165" y="f166"/>
                    </a:lnTo>
                    <a:lnTo>
                      <a:pt x="f167" y="f168"/>
                    </a:lnTo>
                    <a:lnTo>
                      <a:pt x="f169" y="f170"/>
                    </a:lnTo>
                    <a:lnTo>
                      <a:pt x="f171" y="f167"/>
                    </a:lnTo>
                    <a:lnTo>
                      <a:pt x="f156" y="f172"/>
                    </a:lnTo>
                    <a:lnTo>
                      <a:pt x="f168" y="f173"/>
                    </a:lnTo>
                    <a:lnTo>
                      <a:pt x="f174" y="f161"/>
                    </a:lnTo>
                    <a:lnTo>
                      <a:pt x="f156" y="f175"/>
                    </a:lnTo>
                    <a:lnTo>
                      <a:pt x="f170" y="f176"/>
                    </a:lnTo>
                    <a:lnTo>
                      <a:pt x="f154" y="f177"/>
                    </a:lnTo>
                    <a:lnTo>
                      <a:pt x="f164" y="f178"/>
                    </a:lnTo>
                    <a:lnTo>
                      <a:pt x="f134" y="f179"/>
                    </a:lnTo>
                    <a:lnTo>
                      <a:pt x="f112" y="f180"/>
                    </a:lnTo>
                    <a:lnTo>
                      <a:pt x="f122" y="f181"/>
                    </a:lnTo>
                    <a:lnTo>
                      <a:pt x="f182" y="f183"/>
                    </a:lnTo>
                    <a:lnTo>
                      <a:pt x="f184" y="f183"/>
                    </a:lnTo>
                    <a:lnTo>
                      <a:pt x="f185" y="f181"/>
                    </a:lnTo>
                    <a:lnTo>
                      <a:pt x="f186" y="f187"/>
                    </a:lnTo>
                    <a:lnTo>
                      <a:pt x="f188" y="f179"/>
                    </a:lnTo>
                    <a:lnTo>
                      <a:pt x="f189" y="f190"/>
                    </a:lnTo>
                    <a:lnTo>
                      <a:pt x="f98" y="f190"/>
                    </a:lnTo>
                    <a:lnTo>
                      <a:pt x="f51" y="f191"/>
                    </a:lnTo>
                    <a:lnTo>
                      <a:pt x="f192" y="f181"/>
                    </a:lnTo>
                    <a:lnTo>
                      <a:pt x="f44" y="f193"/>
                    </a:lnTo>
                    <a:lnTo>
                      <a:pt x="f148" y="f194"/>
                    </a:lnTo>
                    <a:lnTo>
                      <a:pt x="f195" y="f196"/>
                    </a:lnTo>
                    <a:lnTo>
                      <a:pt x="f197" y="f198"/>
                    </a:lnTo>
                    <a:lnTo>
                      <a:pt x="f199" y="f198"/>
                    </a:lnTo>
                    <a:lnTo>
                      <a:pt x="f200" y="f201"/>
                    </a:lnTo>
                    <a:lnTo>
                      <a:pt x="f70" y="f202"/>
                    </a:lnTo>
                    <a:lnTo>
                      <a:pt x="f203" y="f204"/>
                    </a:lnTo>
                    <a:lnTo>
                      <a:pt x="f205" y="f206"/>
                    </a:lnTo>
                    <a:lnTo>
                      <a:pt x="f207" y="f208"/>
                    </a:lnTo>
                    <a:lnTo>
                      <a:pt x="f209" y="f210"/>
                    </a:lnTo>
                    <a:lnTo>
                      <a:pt x="f211" y="f212"/>
                    </a:lnTo>
                    <a:lnTo>
                      <a:pt x="f211" y="f213"/>
                    </a:lnTo>
                    <a:lnTo>
                      <a:pt x="f209" y="f214"/>
                    </a:lnTo>
                    <a:lnTo>
                      <a:pt x="f215" y="f216"/>
                    </a:lnTo>
                    <a:lnTo>
                      <a:pt x="f207" y="f217"/>
                    </a:lnTo>
                    <a:lnTo>
                      <a:pt x="f207" y="f218"/>
                    </a:lnTo>
                    <a:lnTo>
                      <a:pt x="f16" y="f218"/>
                    </a:lnTo>
                    <a:lnTo>
                      <a:pt x="f219" y="f7"/>
                    </a:lnTo>
                    <a:lnTo>
                      <a:pt x="f220" y="f7"/>
                    </a:lnTo>
                    <a:lnTo>
                      <a:pt x="f221" y="f222"/>
                    </a:lnTo>
                    <a:lnTo>
                      <a:pt x="f223" y="f216"/>
                    </a:lnTo>
                    <a:lnTo>
                      <a:pt x="f9" y="f224"/>
                    </a:lnTo>
                    <a:lnTo>
                      <a:pt x="f225" y="f226"/>
                    </a:lnTo>
                    <a:lnTo>
                      <a:pt x="f227" y="f228"/>
                    </a:lnTo>
                    <a:lnTo>
                      <a:pt x="f229" y="f210"/>
                    </a:lnTo>
                    <a:lnTo>
                      <a:pt x="f230" y="f231"/>
                    </a:lnTo>
                    <a:lnTo>
                      <a:pt x="f232" y="f233"/>
                    </a:lnTo>
                    <a:lnTo>
                      <a:pt x="f234" y="f235"/>
                    </a:lnTo>
                    <a:lnTo>
                      <a:pt x="f236" y="f202"/>
                    </a:lnTo>
                    <a:lnTo>
                      <a:pt x="f237" y="f238"/>
                    </a:lnTo>
                    <a:lnTo>
                      <a:pt x="f239" y="f240"/>
                    </a:lnTo>
                    <a:lnTo>
                      <a:pt x="f241" y="f242"/>
                    </a:lnTo>
                    <a:lnTo>
                      <a:pt x="f243" y="f240"/>
                    </a:lnTo>
                    <a:lnTo>
                      <a:pt x="f244" y="f245"/>
                    </a:lnTo>
                    <a:lnTo>
                      <a:pt x="f246" y="f198"/>
                    </a:lnTo>
                    <a:lnTo>
                      <a:pt x="f77" y="f247"/>
                    </a:lnTo>
                    <a:lnTo>
                      <a:pt x="f248" y="f249"/>
                    </a:lnTo>
                    <a:lnTo>
                      <a:pt x="f60" y="f204"/>
                    </a:lnTo>
                    <a:lnTo>
                      <a:pt x="f73" y="f204"/>
                    </a:lnTo>
                    <a:lnTo>
                      <a:pt x="f57" y="f250"/>
                    </a:lnTo>
                    <a:lnTo>
                      <a:pt x="f251" y="f247"/>
                    </a:lnTo>
                    <a:lnTo>
                      <a:pt x="f252" y="f201"/>
                    </a:lnTo>
                    <a:lnTo>
                      <a:pt x="f33" y="f238"/>
                    </a:lnTo>
                    <a:lnTo>
                      <a:pt x="f253" y="f254"/>
                    </a:lnTo>
                    <a:lnTo>
                      <a:pt x="f255" y="f254"/>
                    </a:lnTo>
                    <a:lnTo>
                      <a:pt x="f256" y="f245"/>
                    </a:lnTo>
                    <a:lnTo>
                      <a:pt x="f257" y="f258"/>
                    </a:lnTo>
                    <a:lnTo>
                      <a:pt x="f24" y="f240"/>
                    </a:lnTo>
                    <a:lnTo>
                      <a:pt x="f259" y="f260"/>
                    </a:lnTo>
                    <a:lnTo>
                      <a:pt x="f261" y="f183"/>
                    </a:lnTo>
                    <a:lnTo>
                      <a:pt x="f262" y="f191"/>
                    </a:lnTo>
                    <a:lnTo>
                      <a:pt x="f263" y="f264"/>
                    </a:lnTo>
                    <a:lnTo>
                      <a:pt x="f43" y="f265"/>
                    </a:lnTo>
                    <a:lnTo>
                      <a:pt x="f266" y="f267"/>
                    </a:lnTo>
                    <a:lnTo>
                      <a:pt x="f268" y="f269"/>
                    </a:lnTo>
                    <a:lnTo>
                      <a:pt x="f270" y="f173"/>
                    </a:lnTo>
                    <a:lnTo>
                      <a:pt x="f47" y="f271"/>
                    </a:lnTo>
                    <a:lnTo>
                      <a:pt x="f256" y="f272"/>
                    </a:lnTo>
                    <a:lnTo>
                      <a:pt x="f273" y="f157"/>
                    </a:lnTo>
                    <a:lnTo>
                      <a:pt x="f274" y="f275"/>
                    </a:lnTo>
                    <a:lnTo>
                      <a:pt x="f276" y="f164"/>
                    </a:lnTo>
                    <a:lnTo>
                      <a:pt x="f277" y="f136"/>
                    </a:lnTo>
                    <a:lnTo>
                      <a:pt x="f278" y="f140"/>
                    </a:lnTo>
                    <a:lnTo>
                      <a:pt x="f279" y="f134"/>
                    </a:lnTo>
                    <a:lnTo>
                      <a:pt x="f280" y="f281"/>
                    </a:lnTo>
                    <a:lnTo>
                      <a:pt x="f33" y="f282"/>
                    </a:lnTo>
                    <a:lnTo>
                      <a:pt x="f26" y="f138"/>
                    </a:lnTo>
                    <a:lnTo>
                      <a:pt x="f255" y="f283"/>
                    </a:lnTo>
                    <a:lnTo>
                      <a:pt x="f24" y="f140"/>
                    </a:lnTo>
                    <a:lnTo>
                      <a:pt x="f259" y="f284"/>
                    </a:lnTo>
                    <a:lnTo>
                      <a:pt x="f47" y="f127"/>
                    </a:lnTo>
                    <a:lnTo>
                      <a:pt x="f47" y="f285"/>
                    </a:lnTo>
                    <a:lnTo>
                      <a:pt x="f259" y="f286"/>
                    </a:lnTo>
                    <a:lnTo>
                      <a:pt x="f261" y="f287"/>
                    </a:lnTo>
                    <a:lnTo>
                      <a:pt x="f270" y="f288"/>
                    </a:lnTo>
                    <a:lnTo>
                      <a:pt x="f266" y="f289"/>
                    </a:lnTo>
                    <a:lnTo>
                      <a:pt x="f290" y="f291"/>
                    </a:lnTo>
                    <a:lnTo>
                      <a:pt x="f292" y="f189"/>
                    </a:lnTo>
                    <a:lnTo>
                      <a:pt x="f293" y="f95"/>
                    </a:lnTo>
                    <a:lnTo>
                      <a:pt x="f294" y="f51"/>
                    </a:lnTo>
                    <a:lnTo>
                      <a:pt x="f295" y="f296"/>
                    </a:lnTo>
                    <a:lnTo>
                      <a:pt x="f43" y="f58"/>
                    </a:lnTo>
                    <a:lnTo>
                      <a:pt x="f297" y="f152"/>
                    </a:lnTo>
                    <a:lnTo>
                      <a:pt x="f259" y="f298"/>
                    </a:lnTo>
                    <a:lnTo>
                      <a:pt x="f259" y="f299"/>
                    </a:lnTo>
                    <a:lnTo>
                      <a:pt x="f297" y="f80"/>
                    </a:lnTo>
                    <a:lnTo>
                      <a:pt x="f268" y="f197"/>
                    </a:lnTo>
                    <a:lnTo>
                      <a:pt x="f300" y="f301"/>
                    </a:lnTo>
                    <a:lnTo>
                      <a:pt x="f302" y="f303"/>
                    </a:lnTo>
                    <a:lnTo>
                      <a:pt x="f304" y="f72"/>
                    </a:lnTo>
                    <a:lnTo>
                      <a:pt x="f292" y="f305"/>
                    </a:lnTo>
                    <a:lnTo>
                      <a:pt x="f293" y="f306"/>
                    </a:lnTo>
                    <a:lnTo>
                      <a:pt x="f307" y="f205"/>
                    </a:lnTo>
                    <a:lnTo>
                      <a:pt x="f308" y="f209"/>
                    </a:lnTo>
                    <a:lnTo>
                      <a:pt x="f309" y="f220"/>
                    </a:lnTo>
                    <a:lnTo>
                      <a:pt x="f5" y="f310"/>
                    </a:lnTo>
                    <a:lnTo>
                      <a:pt x="f309" y="f311"/>
                    </a:lnTo>
                    <a:lnTo>
                      <a:pt x="f17" y="f115"/>
                    </a:lnTo>
                    <a:lnTo>
                      <a:pt x="f300" y="f103"/>
                    </a:lnTo>
                    <a:lnTo>
                      <a:pt x="f41" y="f312"/>
                    </a:lnTo>
                    <a:lnTo>
                      <a:pt x="f47" y="f313"/>
                    </a:lnTo>
                    <a:lnTo>
                      <a:pt x="f314" y="f315"/>
                    </a:lnTo>
                    <a:lnTo>
                      <a:pt x="f314" y="f316"/>
                    </a:lnTo>
                    <a:lnTo>
                      <a:pt x="f273" y="f317"/>
                    </a:lnTo>
                    <a:lnTo>
                      <a:pt x="f318" y="f2"/>
                    </a:lnTo>
                    <a:lnTo>
                      <a:pt x="f319" y="f317"/>
                    </a:lnTo>
                    <a:lnTo>
                      <a:pt x="f320" y="f93"/>
                    </a:lnTo>
                    <a:lnTo>
                      <a:pt x="f321" y="f322"/>
                    </a:lnTo>
                    <a:lnTo>
                      <a:pt x="f75" y="f86"/>
                    </a:lnTo>
                    <a:lnTo>
                      <a:pt x="f323" y="f324"/>
                    </a:lnTo>
                    <a:lnTo>
                      <a:pt x="f325" y="f326"/>
                    </a:lnTo>
                    <a:lnTo>
                      <a:pt x="f327" y="f322"/>
                    </a:lnTo>
                    <a:lnTo>
                      <a:pt x="f328" y="f243"/>
                    </a:lnTo>
                    <a:lnTo>
                      <a:pt x="f329" y="f239"/>
                    </a:lnTo>
                    <a:lnTo>
                      <a:pt x="f330" y="f331"/>
                    </a:lnTo>
                    <a:lnTo>
                      <a:pt x="f332" y="f333"/>
                    </a:lnTo>
                    <a:lnTo>
                      <a:pt x="f334" y="f313"/>
                    </a:lnTo>
                    <a:lnTo>
                      <a:pt x="f331" y="f315"/>
                    </a:lnTo>
                    <a:lnTo>
                      <a:pt x="f335" y="f94"/>
                    </a:lnTo>
                    <a:lnTo>
                      <a:pt x="f336" y="f91"/>
                    </a:lnTo>
                    <a:lnTo>
                      <a:pt x="f337" y="f327"/>
                    </a:lnTo>
                    <a:lnTo>
                      <a:pt x="f338" y="f327"/>
                    </a:lnTo>
                    <a:lnTo>
                      <a:pt x="f339" y="f323"/>
                    </a:lnTo>
                    <a:lnTo>
                      <a:pt x="f340" y="f60"/>
                    </a:lnTo>
                    <a:lnTo>
                      <a:pt x="f340" y="f341"/>
                    </a:lnTo>
                    <a:lnTo>
                      <a:pt x="f342" y="f320"/>
                    </a:lnTo>
                    <a:lnTo>
                      <a:pt x="f343" y="f277"/>
                    </a:lnTo>
                    <a:lnTo>
                      <a:pt x="f107" y="f344"/>
                    </a:lnTo>
                    <a:lnTo>
                      <a:pt x="f107" y="f345"/>
                    </a:lnTo>
                    <a:lnTo>
                      <a:pt x="f346" y="f33"/>
                    </a:lnTo>
                    <a:lnTo>
                      <a:pt x="f347" y="f33"/>
                    </a:lnTo>
                    <a:lnTo>
                      <a:pt x="f348" y="f30"/>
                    </a:lnTo>
                    <a:lnTo>
                      <a:pt x="f349" y="f30"/>
                    </a:lnTo>
                    <a:lnTo>
                      <a:pt x="f350" y="f33"/>
                    </a:lnTo>
                    <a:lnTo>
                      <a:pt x="f351" y="f352"/>
                    </a:lnTo>
                    <a:lnTo>
                      <a:pt x="f350" y="f49"/>
                    </a:lnTo>
                    <a:lnTo>
                      <a:pt x="f349" y="f353"/>
                    </a:lnTo>
                    <a:lnTo>
                      <a:pt x="f348" y="f297"/>
                    </a:lnTo>
                    <a:lnTo>
                      <a:pt x="f229" y="f297"/>
                    </a:lnTo>
                    <a:lnTo>
                      <a:pt x="f349" y="f268"/>
                    </a:lnTo>
                    <a:lnTo>
                      <a:pt x="f351" y="f354"/>
                    </a:lnTo>
                    <a:lnTo>
                      <a:pt x="f355" y="f356"/>
                    </a:lnTo>
                    <a:lnTo>
                      <a:pt x="f225" y="f13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77" name="Freeform 39">
                <a:extLst>
                  <a:ext uri="{FF2B5EF4-FFF2-40B4-BE49-F238E27FC236}">
                    <a16:creationId xmlns:a16="http://schemas.microsoft.com/office/drawing/2014/main" id="{22BF007F-CF5B-4D97-99B6-5128691FF2C6}"/>
                  </a:ext>
                </a:extLst>
              </p:cNvPr>
              <p:cNvSpPr/>
              <p:nvPr/>
            </p:nvSpPr>
            <p:spPr>
              <a:xfrm>
                <a:off x="4619932" y="2590129"/>
                <a:ext cx="147977" cy="154643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892"/>
                  <a:gd name="f8" fmla="val 950"/>
                  <a:gd name="f9" fmla="val 748"/>
                  <a:gd name="f10" fmla="val 98"/>
                  <a:gd name="f11" fmla="val 739"/>
                  <a:gd name="f12" fmla="val 100"/>
                  <a:gd name="f13" fmla="val 729"/>
                  <a:gd name="f14" fmla="val 105"/>
                  <a:gd name="f15" fmla="val 719"/>
                  <a:gd name="f16" fmla="val 115"/>
                  <a:gd name="f17" fmla="val 710"/>
                  <a:gd name="f18" fmla="val 120"/>
                  <a:gd name="f19" fmla="val 693"/>
                  <a:gd name="f20" fmla="val 126"/>
                  <a:gd name="f21" fmla="val 675"/>
                  <a:gd name="f22" fmla="val 131"/>
                  <a:gd name="f23" fmla="val 657"/>
                  <a:gd name="f24" fmla="val 136"/>
                  <a:gd name="f25" fmla="val 645"/>
                  <a:gd name="f26" fmla="val 138"/>
                  <a:gd name="f27" fmla="val 639"/>
                  <a:gd name="f28" fmla="val 141"/>
                  <a:gd name="f29" fmla="val 638"/>
                  <a:gd name="f30" fmla="val 145"/>
                  <a:gd name="f31" fmla="val 152"/>
                  <a:gd name="f32" fmla="val 641"/>
                  <a:gd name="f33" fmla="val 169"/>
                  <a:gd name="f34" fmla="val 179"/>
                  <a:gd name="f35" fmla="val 635"/>
                  <a:gd name="f36" fmla="val 186"/>
                  <a:gd name="f37" fmla="val 628"/>
                  <a:gd name="f38" fmla="val 187"/>
                  <a:gd name="f39" fmla="val 620"/>
                  <a:gd name="f40" fmla="val 184"/>
                  <a:gd name="f41" fmla="val 610"/>
                  <a:gd name="f42" fmla="val 181"/>
                  <a:gd name="f43" fmla="val 599"/>
                  <a:gd name="f44" fmla="val 177"/>
                  <a:gd name="f45" fmla="val 590"/>
                  <a:gd name="f46" fmla="val 174"/>
                  <a:gd name="f47" fmla="val 579"/>
                  <a:gd name="f48" fmla="val 176"/>
                  <a:gd name="f49" fmla="val 565"/>
                  <a:gd name="f50" fmla="val 552"/>
                  <a:gd name="f51" fmla="val 540"/>
                  <a:gd name="f52" fmla="val 192"/>
                  <a:gd name="f53" fmla="val 529"/>
                  <a:gd name="f54" fmla="val 198"/>
                  <a:gd name="f55" fmla="val 521"/>
                  <a:gd name="f56" fmla="val 199"/>
                  <a:gd name="f57" fmla="val 508"/>
                  <a:gd name="f58" fmla="val 492"/>
                  <a:gd name="f59" fmla="val 197"/>
                  <a:gd name="f60" fmla="val 475"/>
                  <a:gd name="f61" fmla="val 194"/>
                  <a:gd name="f62" fmla="val 462"/>
                  <a:gd name="f63" fmla="val 454"/>
                  <a:gd name="f64" fmla="val 195"/>
                  <a:gd name="f65" fmla="val 447"/>
                  <a:gd name="f66" fmla="val 202"/>
                  <a:gd name="f67" fmla="val 445"/>
                  <a:gd name="f68" fmla="val 211"/>
                  <a:gd name="f69" fmla="val 443"/>
                  <a:gd name="f70" fmla="val 220"/>
                  <a:gd name="f71" fmla="val 440"/>
                  <a:gd name="f72" fmla="val 227"/>
                  <a:gd name="f73" fmla="val 425"/>
                  <a:gd name="f74" fmla="val 242"/>
                  <a:gd name="f75" fmla="val 416"/>
                  <a:gd name="f76" fmla="val 249"/>
                  <a:gd name="f77" fmla="val 407"/>
                  <a:gd name="f78" fmla="val 255"/>
                  <a:gd name="f79" fmla="val 403"/>
                  <a:gd name="f80" fmla="val 259"/>
                  <a:gd name="f81" fmla="val 402"/>
                  <a:gd name="f82" fmla="val 263"/>
                  <a:gd name="f83" fmla="val 404"/>
                  <a:gd name="f84" fmla="val 269"/>
                  <a:gd name="f85" fmla="val 410"/>
                  <a:gd name="f86" fmla="val 276"/>
                  <a:gd name="f87" fmla="val 414"/>
                  <a:gd name="f88" fmla="val 283"/>
                  <a:gd name="f89" fmla="val 420"/>
                  <a:gd name="f90" fmla="val 284"/>
                  <a:gd name="f91" fmla="val 432"/>
                  <a:gd name="f92" fmla="val 281"/>
                  <a:gd name="f93" fmla="val 439"/>
                  <a:gd name="f94" fmla="val 288"/>
                  <a:gd name="f95" fmla="val 295"/>
                  <a:gd name="f96" fmla="val 446"/>
                  <a:gd name="f97" fmla="val 301"/>
                  <a:gd name="f98" fmla="val 305"/>
                  <a:gd name="f99" fmla="val 433"/>
                  <a:gd name="f100" fmla="val 308"/>
                  <a:gd name="f101" fmla="val 428"/>
                  <a:gd name="f102" fmla="val 313"/>
                  <a:gd name="f103" fmla="val 321"/>
                  <a:gd name="f104" fmla="val 331"/>
                  <a:gd name="f105" fmla="val 429"/>
                  <a:gd name="f106" fmla="val 341"/>
                  <a:gd name="f107" fmla="val 435"/>
                  <a:gd name="f108" fmla="val 358"/>
                  <a:gd name="f109" fmla="val 431"/>
                  <a:gd name="f110" fmla="val 363"/>
                  <a:gd name="f111" fmla="val 364"/>
                  <a:gd name="f112" fmla="val 421"/>
                  <a:gd name="f113" fmla="val 418"/>
                  <a:gd name="f114" fmla="val 366"/>
                  <a:gd name="f115" fmla="val 417"/>
                  <a:gd name="f116" fmla="val 367"/>
                  <a:gd name="f117" fmla="val 370"/>
                  <a:gd name="f118" fmla="val 373"/>
                  <a:gd name="f119" fmla="val 422"/>
                  <a:gd name="f120" fmla="val 378"/>
                  <a:gd name="f121" fmla="val 381"/>
                  <a:gd name="f122" fmla="val 449"/>
                  <a:gd name="f123" fmla="val 384"/>
                  <a:gd name="f124" fmla="val 464"/>
                  <a:gd name="f125" fmla="val 385"/>
                  <a:gd name="f126" fmla="val 478"/>
                  <a:gd name="f127" fmla="val 387"/>
                  <a:gd name="f128" fmla="val 487"/>
                  <a:gd name="f129" fmla="val 497"/>
                  <a:gd name="f130" fmla="val 389"/>
                  <a:gd name="f131" fmla="val 505"/>
                  <a:gd name="f132" fmla="val 394"/>
                  <a:gd name="f133" fmla="val 514"/>
                  <a:gd name="f134" fmla="val 401"/>
                  <a:gd name="f135" fmla="val 526"/>
                  <a:gd name="f136" fmla="val 537"/>
                  <a:gd name="f137" fmla="val 544"/>
                  <a:gd name="f138" fmla="val 419"/>
                  <a:gd name="f139" fmla="val 555"/>
                  <a:gd name="f140" fmla="val 561"/>
                  <a:gd name="f141" fmla="val 572"/>
                  <a:gd name="f142" fmla="val 583"/>
                  <a:gd name="f143" fmla="val 424"/>
                  <a:gd name="f144" fmla="val 598"/>
                  <a:gd name="f145" fmla="val 606"/>
                  <a:gd name="f146" fmla="val 619"/>
                  <a:gd name="f147" fmla="val 427"/>
                  <a:gd name="f148" fmla="val 631"/>
                  <a:gd name="f149" fmla="val 646"/>
                  <a:gd name="f150" fmla="val 659"/>
                  <a:gd name="f151" fmla="val 671"/>
                  <a:gd name="f152" fmla="val 679"/>
                  <a:gd name="f153" fmla="val 686"/>
                  <a:gd name="f154" fmla="val 349"/>
                  <a:gd name="f155" fmla="val 699"/>
                  <a:gd name="f156" fmla="val 326"/>
                  <a:gd name="f157" fmla="val 701"/>
                  <a:gd name="f158" fmla="val 303"/>
                  <a:gd name="f159" fmla="val 704"/>
                  <a:gd name="f160" fmla="val 267"/>
                  <a:gd name="f161" fmla="val 703"/>
                  <a:gd name="f162" fmla="val 252"/>
                  <a:gd name="f163" fmla="val 237"/>
                  <a:gd name="f164" fmla="val 707"/>
                  <a:gd name="f165" fmla="val 222"/>
                  <a:gd name="f166" fmla="val 715"/>
                  <a:gd name="f167" fmla="val 722"/>
                  <a:gd name="f168" fmla="val 733"/>
                  <a:gd name="f169" fmla="val 747"/>
                  <a:gd name="f170" fmla="val 760"/>
                  <a:gd name="f171" fmla="val 771"/>
                  <a:gd name="f172" fmla="val 777"/>
                  <a:gd name="f173" fmla="val 791"/>
                  <a:gd name="f174" fmla="val 798"/>
                  <a:gd name="f175" fmla="val 801"/>
                  <a:gd name="f176" fmla="val 155"/>
                  <a:gd name="f177" fmla="val 800"/>
                  <a:gd name="f178" fmla="val 140"/>
                  <a:gd name="f179" fmla="val 802"/>
                  <a:gd name="f180" fmla="val 812"/>
                  <a:gd name="f181" fmla="val 815"/>
                  <a:gd name="f182" fmla="val 811"/>
                  <a:gd name="f183" fmla="val 111"/>
                  <a:gd name="f184" fmla="val 786"/>
                  <a:gd name="f185" fmla="val 102"/>
                  <a:gd name="f186" fmla="val 757"/>
                  <a:gd name="f187" fmla="val 547"/>
                  <a:gd name="f188" fmla="val 556"/>
                  <a:gd name="f189" fmla="val 2"/>
                  <a:gd name="f190" fmla="val 563"/>
                  <a:gd name="f191" fmla="val 7"/>
                  <a:gd name="f192" fmla="val 11"/>
                  <a:gd name="f193" fmla="val 559"/>
                  <a:gd name="f194" fmla="val 18"/>
                  <a:gd name="f195" fmla="val 23"/>
                  <a:gd name="f196" fmla="val 558"/>
                  <a:gd name="f197" fmla="val 29"/>
                  <a:gd name="f198" fmla="val 562"/>
                  <a:gd name="f199" fmla="val 34"/>
                  <a:gd name="f200" fmla="val 567"/>
                  <a:gd name="f201" fmla="val 40"/>
                  <a:gd name="f202" fmla="val 574"/>
                  <a:gd name="f203" fmla="val 50"/>
                  <a:gd name="f204" fmla="val 581"/>
                  <a:gd name="f205" fmla="val 61"/>
                  <a:gd name="f206" fmla="val 587"/>
                  <a:gd name="f207" fmla="val 70"/>
                  <a:gd name="f208" fmla="val 594"/>
                  <a:gd name="f209" fmla="val 76"/>
                  <a:gd name="f210" fmla="val 603"/>
                  <a:gd name="f211" fmla="val 69"/>
                  <a:gd name="f212" fmla="val 605"/>
                  <a:gd name="f213" fmla="val 54"/>
                  <a:gd name="f214" fmla="val 48"/>
                  <a:gd name="f215" fmla="val 43"/>
                  <a:gd name="f216" fmla="val 37"/>
                  <a:gd name="f217" fmla="val 30"/>
                  <a:gd name="f218" fmla="val 661"/>
                  <a:gd name="f219" fmla="val 22"/>
                  <a:gd name="f220" fmla="val 667"/>
                  <a:gd name="f221" fmla="val 26"/>
                  <a:gd name="f222" fmla="val 674"/>
                  <a:gd name="f223" fmla="val 684"/>
                  <a:gd name="f224" fmla="val 688"/>
                  <a:gd name="f225" fmla="val 62"/>
                  <a:gd name="f226" fmla="val 713"/>
                  <a:gd name="f227" fmla="val 68"/>
                  <a:gd name="f228" fmla="val 728"/>
                  <a:gd name="f229" fmla="val 64"/>
                  <a:gd name="f230" fmla="val 758"/>
                  <a:gd name="f231" fmla="val 761"/>
                  <a:gd name="f232" fmla="val 765"/>
                  <a:gd name="f233" fmla="val 39"/>
                  <a:gd name="f234" fmla="val 769"/>
                  <a:gd name="f235" fmla="val 36"/>
                  <a:gd name="f236" fmla="val 772"/>
                  <a:gd name="f237" fmla="val 776"/>
                  <a:gd name="f238" fmla="val 779"/>
                  <a:gd name="f239" fmla="val 780"/>
                  <a:gd name="f240" fmla="val 44"/>
                  <a:gd name="f241" fmla="val 51"/>
                  <a:gd name="f242" fmla="val 782"/>
                  <a:gd name="f243" fmla="val 789"/>
                  <a:gd name="f244" fmla="val 73"/>
                  <a:gd name="f245" fmla="val 809"/>
                  <a:gd name="f246" fmla="val 80"/>
                  <a:gd name="f247" fmla="val 820"/>
                  <a:gd name="f248" fmla="val 84"/>
                  <a:gd name="f249" fmla="val 830"/>
                  <a:gd name="f250" fmla="val 87"/>
                  <a:gd name="f251" fmla="val 842"/>
                  <a:gd name="f252" fmla="val 93"/>
                  <a:gd name="f253" fmla="val 853"/>
                  <a:gd name="f254" fmla="val 101"/>
                  <a:gd name="f255" fmla="val 862"/>
                  <a:gd name="f256" fmla="val 109"/>
                  <a:gd name="f257" fmla="val 866"/>
                  <a:gd name="f258" fmla="val 118"/>
                  <a:gd name="f259" fmla="val 127"/>
                  <a:gd name="f260" fmla="val 865"/>
                  <a:gd name="f261" fmla="val 151"/>
                  <a:gd name="f262" fmla="val 867"/>
                  <a:gd name="f263" fmla="val 162"/>
                  <a:gd name="f264" fmla="val 873"/>
                  <a:gd name="f265" fmla="val 170"/>
                  <a:gd name="f266" fmla="val 881"/>
                  <a:gd name="f267" fmla="val 888"/>
                  <a:gd name="f268" fmla="val 183"/>
                  <a:gd name="f269" fmla="val 190"/>
                  <a:gd name="f270" fmla="val 891"/>
                  <a:gd name="f271" fmla="val 201"/>
                  <a:gd name="f272" fmla="val 887"/>
                  <a:gd name="f273" fmla="val 880"/>
                  <a:gd name="f274" fmla="val 871"/>
                  <a:gd name="f275" fmla="val 230"/>
                  <a:gd name="f276" fmla="val 235"/>
                  <a:gd name="f277" fmla="val 837"/>
                  <a:gd name="f278" fmla="val 241"/>
                  <a:gd name="f279" fmla="val 827"/>
                  <a:gd name="f280" fmla="val 819"/>
                  <a:gd name="f281" fmla="val 272"/>
                  <a:gd name="f282" fmla="val 808"/>
                  <a:gd name="f283" fmla="val 297"/>
                  <a:gd name="f284" fmla="val 309"/>
                  <a:gd name="f285" fmla="val 324"/>
                  <a:gd name="f286" fmla="val 337"/>
                  <a:gd name="f287" fmla="val 359"/>
                  <a:gd name="f288" fmla="val 392"/>
                  <a:gd name="f289" fmla="val 455"/>
                  <a:gd name="f290" fmla="val 474"/>
                  <a:gd name="f291" fmla="val 489"/>
                  <a:gd name="f292" fmla="val 499"/>
                  <a:gd name="f293" fmla="val 706"/>
                  <a:gd name="f294" fmla="val 510"/>
                  <a:gd name="f295" fmla="val 711"/>
                  <a:gd name="f296" fmla="val 524"/>
                  <a:gd name="f297" fmla="val 718"/>
                  <a:gd name="f298" fmla="val 541"/>
                  <a:gd name="f299" fmla="val 726"/>
                  <a:gd name="f300" fmla="val 557"/>
                  <a:gd name="f301" fmla="val 589"/>
                  <a:gd name="f302" fmla="val 742"/>
                  <a:gd name="f303" fmla="val 636"/>
                  <a:gd name="f304" fmla="val 725"/>
                  <a:gd name="f305" fmla="val 652"/>
                  <a:gd name="f306" fmla="val 717"/>
                  <a:gd name="f307" fmla="val 663"/>
                  <a:gd name="f308" fmla="val 708"/>
                  <a:gd name="f309" fmla="val 668"/>
                  <a:gd name="f310" fmla="val 670"/>
                  <a:gd name="f311" fmla="val 672"/>
                  <a:gd name="f312" fmla="val 700"/>
                  <a:gd name="f313" fmla="val 682"/>
                  <a:gd name="f314" fmla="val 696"/>
                  <a:gd name="f315" fmla="val 731"/>
                  <a:gd name="f316" fmla="val 744"/>
                  <a:gd name="f317" fmla="val 750"/>
                  <a:gd name="f318" fmla="val 751"/>
                  <a:gd name="f319" fmla="val 799"/>
                  <a:gd name="f320" fmla="val 810"/>
                  <a:gd name="f321" fmla="val 743"/>
                  <a:gd name="f322" fmla="val 822"/>
                  <a:gd name="f323" fmla="val 736"/>
                  <a:gd name="f324" fmla="val 836"/>
                  <a:gd name="f325" fmla="val 850"/>
                  <a:gd name="f326" fmla="val 874"/>
                  <a:gd name="f327" fmla="val 889"/>
                  <a:gd name="f328" fmla="val 899"/>
                  <a:gd name="f329" fmla="val 908"/>
                  <a:gd name="f330" fmla="val 923"/>
                  <a:gd name="f331" fmla="val 929"/>
                  <a:gd name="f332" fmla="val 692"/>
                  <a:gd name="f333" fmla="val 937"/>
                  <a:gd name="f334" fmla="val 685"/>
                  <a:gd name="f335" fmla="val 944"/>
                  <a:gd name="f336" fmla="val 678"/>
                  <a:gd name="f337" fmla="val 946"/>
                  <a:gd name="f338" fmla="val 650"/>
                  <a:gd name="f339" fmla="val 939"/>
                  <a:gd name="f340" fmla="val 932"/>
                  <a:gd name="f341" fmla="val 616"/>
                  <a:gd name="f342" fmla="val 925"/>
                  <a:gd name="f343" fmla="val 919"/>
                  <a:gd name="f344" fmla="val 569"/>
                  <a:gd name="f345" fmla="val 917"/>
                  <a:gd name="f346" fmla="val 915"/>
                  <a:gd name="f347" fmla="val 503"/>
                  <a:gd name="f348" fmla="val 921"/>
                  <a:gd name="f349" fmla="val 486"/>
                  <a:gd name="f350" fmla="val 485"/>
                  <a:gd name="f351" fmla="val 918"/>
                  <a:gd name="f352" fmla="val 482"/>
                  <a:gd name="f353" fmla="val 912"/>
                  <a:gd name="f354" fmla="val 910"/>
                  <a:gd name="f355" fmla="val 479"/>
                  <a:gd name="f356" fmla="val 904"/>
                  <a:gd name="f357" fmla="val 476"/>
                  <a:gd name="f358" fmla="val 878"/>
                  <a:gd name="f359" fmla="val 472"/>
                  <a:gd name="f360" fmla="val 468"/>
                  <a:gd name="f361" fmla="val 864"/>
                  <a:gd name="f362" fmla="val 465"/>
                  <a:gd name="f363" fmla="val 860"/>
                  <a:gd name="f364" fmla="val 851"/>
                  <a:gd name="f365" fmla="val 843"/>
                  <a:gd name="f366" fmla="val 831"/>
                  <a:gd name="f367" fmla="val 796"/>
                  <a:gd name="f368" fmla="val 461"/>
                  <a:gd name="f369" fmla="val 456"/>
                  <a:gd name="f370" fmla="val 745"/>
                  <a:gd name="f371" fmla="val 727"/>
                  <a:gd name="f372" fmla="val 395"/>
                  <a:gd name="f373" fmla="val 388"/>
                  <a:gd name="f374" fmla="val 382"/>
                  <a:gd name="f375" fmla="val 377"/>
                  <a:gd name="f376" fmla="val 735"/>
                  <a:gd name="f377" fmla="val 369"/>
                  <a:gd name="f378" fmla="val 724"/>
                  <a:gd name="f379" fmla="val 702"/>
                  <a:gd name="f380" fmla="val 396"/>
                  <a:gd name="f381" fmla="val 406"/>
                  <a:gd name="f382" fmla="val 596"/>
                  <a:gd name="f383" fmla="val 591"/>
                  <a:gd name="f384" fmla="val 357"/>
                  <a:gd name="f385" fmla="val 585"/>
                  <a:gd name="f386" fmla="val 344"/>
                  <a:gd name="f387" fmla="val 582"/>
                  <a:gd name="f388" fmla="val 330"/>
                  <a:gd name="f389" fmla="val 315"/>
                  <a:gd name="f390" fmla="val 287"/>
                  <a:gd name="f391" fmla="val 279"/>
                  <a:gd name="f392" fmla="val 577"/>
                  <a:gd name="f393" fmla="val 270"/>
                  <a:gd name="f394" fmla="val 261"/>
                  <a:gd name="f395" fmla="val 546"/>
                  <a:gd name="f396" fmla="val 244"/>
                  <a:gd name="f397" fmla="val 536"/>
                  <a:gd name="f398" fmla="val 531"/>
                  <a:gd name="f399" fmla="val 232"/>
                  <a:gd name="f400" fmla="val 528"/>
                  <a:gd name="f401" fmla="val 229"/>
                  <a:gd name="f402" fmla="val 530"/>
                  <a:gd name="f403" fmla="val 218"/>
                  <a:gd name="f404" fmla="val 200"/>
                  <a:gd name="f405" fmla="val 527"/>
                  <a:gd name="f406" fmla="val 185"/>
                  <a:gd name="f407" fmla="val 516"/>
                  <a:gd name="f408" fmla="val 507"/>
                  <a:gd name="f409" fmla="val 495"/>
                  <a:gd name="f410" fmla="val 175"/>
                  <a:gd name="f411" fmla="val 484"/>
                  <a:gd name="f412" fmla="val 471"/>
                  <a:gd name="f413" fmla="val 463"/>
                  <a:gd name="f414" fmla="val 163"/>
                  <a:gd name="f415" fmla="val 460"/>
                  <a:gd name="f416" fmla="val 153"/>
                  <a:gd name="f417" fmla="val 459"/>
                  <a:gd name="f418" fmla="val 139"/>
                  <a:gd name="f419" fmla="val 124"/>
                  <a:gd name="f420" fmla="val 107"/>
                  <a:gd name="f421" fmla="val 466"/>
                  <a:gd name="f422" fmla="val 92"/>
                  <a:gd name="f423" fmla="val 470"/>
                  <a:gd name="f424" fmla="val 473"/>
                  <a:gd name="f425" fmla="val 58"/>
                  <a:gd name="f426" fmla="val 477"/>
                  <a:gd name="f427" fmla="val 47"/>
                  <a:gd name="f428" fmla="val 13"/>
                  <a:gd name="f429" fmla="val 467"/>
                  <a:gd name="f430" fmla="val 9"/>
                  <a:gd name="f431" fmla="val 20"/>
                  <a:gd name="f432" fmla="val 31"/>
                  <a:gd name="f433" fmla="val 52"/>
                  <a:gd name="f434" fmla="val 405"/>
                  <a:gd name="f435" fmla="val 67"/>
                  <a:gd name="f436" fmla="val 413"/>
                  <a:gd name="f437" fmla="val 72"/>
                  <a:gd name="f438" fmla="val 77"/>
                  <a:gd name="f439" fmla="val 88"/>
                  <a:gd name="f440" fmla="val 114"/>
                  <a:gd name="f441" fmla="val 412"/>
                  <a:gd name="f442" fmla="val 128"/>
                  <a:gd name="f443" fmla="val 399"/>
                  <a:gd name="f444" fmla="val 150"/>
                  <a:gd name="f445" fmla="val 156"/>
                  <a:gd name="f446" fmla="val 391"/>
                  <a:gd name="f447" fmla="val 157"/>
                  <a:gd name="f448" fmla="val 154"/>
                  <a:gd name="f449" fmla="val 371"/>
                  <a:gd name="f450" fmla="val 164"/>
                  <a:gd name="f451" fmla="val 172"/>
                  <a:gd name="f452" fmla="val 338"/>
                  <a:gd name="f453" fmla="val 335"/>
                  <a:gd name="f454" fmla="val 182"/>
                  <a:gd name="f455" fmla="val 323"/>
                  <a:gd name="f456" fmla="val 189"/>
                  <a:gd name="f457" fmla="val 312"/>
                  <a:gd name="f458" fmla="val 285"/>
                  <a:gd name="f459" fmla="val 240"/>
                  <a:gd name="f460" fmla="val 204"/>
                  <a:gd name="f461" fmla="val 188"/>
                  <a:gd name="f462" fmla="val 191"/>
                  <a:gd name="f463" fmla="val 193"/>
                  <a:gd name="f464" fmla="val 166"/>
                  <a:gd name="f465" fmla="val 203"/>
                  <a:gd name="f466" fmla="val 159"/>
                  <a:gd name="f467" fmla="val 207"/>
                  <a:gd name="f468" fmla="val 214"/>
                  <a:gd name="f469" fmla="val 225"/>
                  <a:gd name="f470" fmla="val 236"/>
                  <a:gd name="f471" fmla="val 148"/>
                  <a:gd name="f472" fmla="val 246"/>
                  <a:gd name="f473" fmla="val 144"/>
                  <a:gd name="f474" fmla="val 137"/>
                  <a:gd name="f475" fmla="val 248"/>
                  <a:gd name="f476" fmla="val 97"/>
                  <a:gd name="f477" fmla="val 223"/>
                  <a:gd name="f478" fmla="val 79"/>
                  <a:gd name="f479" fmla="val 243"/>
                  <a:gd name="f480" fmla="val 57"/>
                  <a:gd name="f481" fmla="val 254"/>
                  <a:gd name="f482" fmla="val 264"/>
                  <a:gd name="f483" fmla="val 55"/>
                  <a:gd name="f484" fmla="val 275"/>
                  <a:gd name="f485" fmla="val 302"/>
                  <a:gd name="f486" fmla="val 316"/>
                  <a:gd name="f487" fmla="val 328"/>
                  <a:gd name="f488" fmla="val 348"/>
                  <a:gd name="f489" fmla="val 356"/>
                  <a:gd name="f490" fmla="val 375"/>
                  <a:gd name="f491" fmla="val 32"/>
                  <a:gd name="f492" fmla="val 380"/>
                  <a:gd name="f493" fmla="val 33"/>
                  <a:gd name="f494" fmla="val 41"/>
                  <a:gd name="f495" fmla="val 393"/>
                  <a:gd name="f496" fmla="val 411"/>
                  <a:gd name="f497" fmla="val 66"/>
                  <a:gd name="f498" fmla="val 457"/>
                  <a:gd name="f499" fmla="val 83"/>
                  <a:gd name="f500" fmla="val 494"/>
                  <a:gd name="f501" fmla="val 82"/>
                  <a:gd name="f502" fmla="val 501"/>
                  <a:gd name="f503" fmla="val 512"/>
                  <a:gd name="f504" fmla="val 515"/>
                  <a:gd name="f505" fmla="val 65"/>
                  <a:gd name="f506" fmla="val 525"/>
                  <a:gd name="f507" fmla="val 27"/>
                  <a:gd name="f508" fmla="val 493"/>
                  <a:gd name="f509" fmla="val 21"/>
                  <a:gd name="f510" fmla="val 19"/>
                  <a:gd name="f511" fmla="val 483"/>
                  <a:gd name="f512" fmla="val 15"/>
                  <a:gd name="f513" fmla="val 8"/>
                  <a:gd name="f514" fmla="val 5"/>
                  <a:gd name="f515" fmla="val 1"/>
                  <a:gd name="f516" fmla="+- 0 0 -90"/>
                  <a:gd name="f517" fmla="*/ f4 1 892"/>
                  <a:gd name="f518" fmla="*/ f5 1 950"/>
                  <a:gd name="f519" fmla="+- f8 0 f6"/>
                  <a:gd name="f520" fmla="+- f7 0 f6"/>
                  <a:gd name="f521" fmla="*/ f516 f0 1"/>
                  <a:gd name="f522" fmla="*/ f520 1 892"/>
                  <a:gd name="f523" fmla="*/ f519 1 950"/>
                  <a:gd name="f524" fmla="*/ f521 1 f3"/>
                  <a:gd name="f525" fmla="*/ 675 1 f522"/>
                  <a:gd name="f526" fmla="*/ 131 1 f523"/>
                  <a:gd name="f527" fmla="*/ 639 1 f522"/>
                  <a:gd name="f528" fmla="*/ 179 1 f523"/>
                  <a:gd name="f529" fmla="*/ 579 1 f522"/>
                  <a:gd name="f530" fmla="*/ 176 1 f523"/>
                  <a:gd name="f531" fmla="*/ 492 1 f522"/>
                  <a:gd name="f532" fmla="*/ 197 1 f523"/>
                  <a:gd name="f533" fmla="*/ 440 1 f522"/>
                  <a:gd name="f534" fmla="*/ 227 1 f523"/>
                  <a:gd name="f535" fmla="*/ 410 1 f522"/>
                  <a:gd name="f536" fmla="*/ 276 1 f523"/>
                  <a:gd name="f537" fmla="*/ 447 1 f522"/>
                  <a:gd name="f538" fmla="*/ 295 1 f523"/>
                  <a:gd name="f539" fmla="*/ 429 1 f522"/>
                  <a:gd name="f540" fmla="*/ 341 1 f523"/>
                  <a:gd name="f541" fmla="*/ 417 1 f522"/>
                  <a:gd name="f542" fmla="*/ 366 1 f523"/>
                  <a:gd name="f543" fmla="*/ 464 1 f522"/>
                  <a:gd name="f544" fmla="*/ 385 1 f523"/>
                  <a:gd name="f545" fmla="*/ 537 1 f522"/>
                  <a:gd name="f546" fmla="*/ 416 1 f523"/>
                  <a:gd name="f547" fmla="*/ 606 1 f522"/>
                  <a:gd name="f548" fmla="*/ 431 1 f523"/>
                  <a:gd name="f549" fmla="*/ 686 1 f522"/>
                  <a:gd name="f550" fmla="*/ 367 1 f523"/>
                  <a:gd name="f551" fmla="*/ 704 1 f522"/>
                  <a:gd name="f552" fmla="*/ 237 1 f523"/>
                  <a:gd name="f553" fmla="*/ 760 1 f522"/>
                  <a:gd name="f554" fmla="*/ 195 1 f523"/>
                  <a:gd name="f555" fmla="*/ 800 1 f522"/>
                  <a:gd name="f556" fmla="*/ 140 1 f523"/>
                  <a:gd name="f557" fmla="*/ 771 1 f522"/>
                  <a:gd name="f558" fmla="*/ 102 1 f523"/>
                  <a:gd name="f559" fmla="*/ 563 1 f522"/>
                  <a:gd name="f560" fmla="*/ 11 1 f523"/>
                  <a:gd name="f561" fmla="*/ 581 1 f522"/>
                  <a:gd name="f562" fmla="*/ 61 1 f523"/>
                  <a:gd name="f563" fmla="*/ 610 1 f522"/>
                  <a:gd name="f564" fmla="*/ 48 1 f523"/>
                  <a:gd name="f565" fmla="*/ 679 1 f522"/>
                  <a:gd name="f566" fmla="*/ 30 1 f523"/>
                  <a:gd name="f567" fmla="*/ 747 1 f522"/>
                  <a:gd name="f568" fmla="*/ 64 1 f523"/>
                  <a:gd name="f569" fmla="*/ 779 1 f522"/>
                  <a:gd name="f570" fmla="*/ 40 1 f523"/>
                  <a:gd name="f571" fmla="*/ 820 1 f522"/>
                  <a:gd name="f572" fmla="*/ 84 1 f523"/>
                  <a:gd name="f573" fmla="*/ 865 1 f522"/>
                  <a:gd name="f574" fmla="*/ 138 1 f523"/>
                  <a:gd name="f575" fmla="*/ 891 1 f522"/>
                  <a:gd name="f576" fmla="*/ 201 1 f523"/>
                  <a:gd name="f577" fmla="*/ 819 1 f522"/>
                  <a:gd name="f578" fmla="*/ 259 1 f523"/>
                  <a:gd name="f579" fmla="*/ 349 1 f523"/>
                  <a:gd name="f580" fmla="*/ 706 1 f522"/>
                  <a:gd name="f581" fmla="*/ 510 1 f523"/>
                  <a:gd name="f582" fmla="*/ 739 1 f522"/>
                  <a:gd name="f583" fmla="*/ 620 1 f523"/>
                  <a:gd name="f584" fmla="*/ 701 1 f522"/>
                  <a:gd name="f585" fmla="*/ 675 1 f523"/>
                  <a:gd name="f586" fmla="*/ 711 1 f522"/>
                  <a:gd name="f587" fmla="*/ 704 1 f523"/>
                  <a:gd name="f588" fmla="*/ 748 1 f522"/>
                  <a:gd name="f589" fmla="*/ 810 1 f523"/>
                  <a:gd name="f590" fmla="*/ 700 1 f522"/>
                  <a:gd name="f591" fmla="*/ 889 1 f523"/>
                  <a:gd name="f592" fmla="*/ 678 1 f522"/>
                  <a:gd name="f593" fmla="*/ 950 1 f523"/>
                  <a:gd name="f594" fmla="*/ 569 1 f522"/>
                  <a:gd name="f595" fmla="*/ 917 1 f523"/>
                  <a:gd name="f596" fmla="*/ 485 1 f522"/>
                  <a:gd name="f597" fmla="*/ 918 1 f523"/>
                  <a:gd name="f598" fmla="*/ 476 1 f522"/>
                  <a:gd name="f599" fmla="*/ 871 1 f523"/>
                  <a:gd name="f600" fmla="*/ 465 1 f522"/>
                  <a:gd name="f601" fmla="*/ 796 1 f523"/>
                  <a:gd name="f602" fmla="*/ 404 1 f522"/>
                  <a:gd name="f603" fmla="*/ 728 1 f523"/>
                  <a:gd name="f604" fmla="*/ 364 1 f522"/>
                  <a:gd name="f605" fmla="*/ 715 1 f523"/>
                  <a:gd name="f606" fmla="*/ 402 1 f522"/>
                  <a:gd name="f607" fmla="*/ 603 1 f523"/>
                  <a:gd name="f608" fmla="*/ 301 1 f522"/>
                  <a:gd name="f609" fmla="*/ 585 1 f523"/>
                  <a:gd name="f610" fmla="*/ 237 1 f522"/>
                  <a:gd name="f611" fmla="*/ 531 1 f523"/>
                  <a:gd name="f612" fmla="*/ 177 1 f522"/>
                  <a:gd name="f613" fmla="*/ 495 1 f523"/>
                  <a:gd name="f614" fmla="*/ 124 1 f522"/>
                  <a:gd name="f615" fmla="*/ 463 1 f523"/>
                  <a:gd name="f616" fmla="*/ 13 1 f522"/>
                  <a:gd name="f617" fmla="*/ 467 1 f523"/>
                  <a:gd name="f618" fmla="*/ 58 1 f522"/>
                  <a:gd name="f619" fmla="*/ 403 1 f523"/>
                  <a:gd name="f620" fmla="*/ 114 1 f522"/>
                  <a:gd name="f621" fmla="*/ 412 1 f523"/>
                  <a:gd name="f622" fmla="*/ 153 1 f522"/>
                  <a:gd name="f623" fmla="*/ 189 1 f522"/>
                  <a:gd name="f624" fmla="*/ 312 1 f523"/>
                  <a:gd name="f625" fmla="*/ 181 1 f522"/>
                  <a:gd name="f626" fmla="*/ 204 1 f523"/>
                  <a:gd name="f627" fmla="*/ 214 1 f522"/>
                  <a:gd name="f628" fmla="*/ 152 1 f523"/>
                  <a:gd name="f629" fmla="*/ 248 1 f522"/>
                  <a:gd name="f630" fmla="*/ 105 1 f523"/>
                  <a:gd name="f631" fmla="*/ 254 1 f522"/>
                  <a:gd name="f632" fmla="*/ 54 1 f523"/>
                  <a:gd name="f633" fmla="*/ 348 1 f522"/>
                  <a:gd name="f634" fmla="*/ 388 1 f522"/>
                  <a:gd name="f635" fmla="*/ 51 1 f523"/>
                  <a:gd name="f636" fmla="*/ 457 1 f522"/>
                  <a:gd name="f637" fmla="*/ 77 1 f523"/>
                  <a:gd name="f638" fmla="*/ 501 1 f522"/>
                  <a:gd name="f639" fmla="*/ 82 1 f523"/>
                  <a:gd name="f640" fmla="*/ 521 1 f522"/>
                  <a:gd name="f641" fmla="*/ 34 1 f523"/>
                  <a:gd name="f642" fmla="*/ 494 1 f522"/>
                  <a:gd name="f643" fmla="*/ 0 1 f522"/>
                  <a:gd name="f644" fmla="*/ f7 1 f522"/>
                  <a:gd name="f645" fmla="*/ 0 1 f523"/>
                  <a:gd name="f646" fmla="*/ f8 1 f523"/>
                  <a:gd name="f647" fmla="+- f524 0 f1"/>
                  <a:gd name="f648" fmla="*/ f643 f517 1"/>
                  <a:gd name="f649" fmla="*/ f644 f517 1"/>
                  <a:gd name="f650" fmla="*/ f646 f518 1"/>
                  <a:gd name="f651" fmla="*/ f645 f518 1"/>
                  <a:gd name="f652" fmla="*/ f525 f517 1"/>
                  <a:gd name="f653" fmla="*/ f526 f518 1"/>
                  <a:gd name="f654" fmla="*/ f527 f517 1"/>
                  <a:gd name="f655" fmla="*/ f528 f518 1"/>
                  <a:gd name="f656" fmla="*/ f529 f517 1"/>
                  <a:gd name="f657" fmla="*/ f530 f518 1"/>
                  <a:gd name="f658" fmla="*/ f531 f517 1"/>
                  <a:gd name="f659" fmla="*/ f532 f518 1"/>
                  <a:gd name="f660" fmla="*/ f533 f517 1"/>
                  <a:gd name="f661" fmla="*/ f534 f518 1"/>
                  <a:gd name="f662" fmla="*/ f535 f517 1"/>
                  <a:gd name="f663" fmla="*/ f536 f518 1"/>
                  <a:gd name="f664" fmla="*/ f537 f517 1"/>
                  <a:gd name="f665" fmla="*/ f538 f518 1"/>
                  <a:gd name="f666" fmla="*/ f539 f517 1"/>
                  <a:gd name="f667" fmla="*/ f540 f518 1"/>
                  <a:gd name="f668" fmla="*/ f541 f517 1"/>
                  <a:gd name="f669" fmla="*/ f542 f518 1"/>
                  <a:gd name="f670" fmla="*/ f543 f517 1"/>
                  <a:gd name="f671" fmla="*/ f544 f518 1"/>
                  <a:gd name="f672" fmla="*/ f545 f517 1"/>
                  <a:gd name="f673" fmla="*/ f546 f518 1"/>
                  <a:gd name="f674" fmla="*/ f547 f517 1"/>
                  <a:gd name="f675" fmla="*/ f548 f518 1"/>
                  <a:gd name="f676" fmla="*/ f549 f517 1"/>
                  <a:gd name="f677" fmla="*/ f550 f518 1"/>
                  <a:gd name="f678" fmla="*/ f551 f517 1"/>
                  <a:gd name="f679" fmla="*/ f552 f518 1"/>
                  <a:gd name="f680" fmla="*/ f553 f517 1"/>
                  <a:gd name="f681" fmla="*/ f554 f518 1"/>
                  <a:gd name="f682" fmla="*/ f555 f517 1"/>
                  <a:gd name="f683" fmla="*/ f556 f518 1"/>
                  <a:gd name="f684" fmla="*/ f557 f517 1"/>
                  <a:gd name="f685" fmla="*/ f558 f518 1"/>
                  <a:gd name="f686" fmla="*/ f559 f517 1"/>
                  <a:gd name="f687" fmla="*/ f560 f518 1"/>
                  <a:gd name="f688" fmla="*/ f561 f517 1"/>
                  <a:gd name="f689" fmla="*/ f562 f518 1"/>
                  <a:gd name="f690" fmla="*/ f563 f517 1"/>
                  <a:gd name="f691" fmla="*/ f564 f518 1"/>
                  <a:gd name="f692" fmla="*/ f565 f517 1"/>
                  <a:gd name="f693" fmla="*/ f566 f518 1"/>
                  <a:gd name="f694" fmla="*/ f567 f517 1"/>
                  <a:gd name="f695" fmla="*/ f568 f518 1"/>
                  <a:gd name="f696" fmla="*/ f569 f517 1"/>
                  <a:gd name="f697" fmla="*/ f570 f518 1"/>
                  <a:gd name="f698" fmla="*/ f571 f517 1"/>
                  <a:gd name="f699" fmla="*/ f572 f518 1"/>
                  <a:gd name="f700" fmla="*/ f573 f517 1"/>
                  <a:gd name="f701" fmla="*/ f574 f518 1"/>
                  <a:gd name="f702" fmla="*/ f575 f517 1"/>
                  <a:gd name="f703" fmla="*/ f576 f518 1"/>
                  <a:gd name="f704" fmla="*/ f577 f517 1"/>
                  <a:gd name="f705" fmla="*/ f578 f518 1"/>
                  <a:gd name="f706" fmla="*/ f579 f518 1"/>
                  <a:gd name="f707" fmla="*/ f580 f517 1"/>
                  <a:gd name="f708" fmla="*/ f581 f518 1"/>
                  <a:gd name="f709" fmla="*/ f582 f517 1"/>
                  <a:gd name="f710" fmla="*/ f583 f518 1"/>
                  <a:gd name="f711" fmla="*/ f584 f517 1"/>
                  <a:gd name="f712" fmla="*/ f585 f518 1"/>
                  <a:gd name="f713" fmla="*/ f586 f517 1"/>
                  <a:gd name="f714" fmla="*/ f587 f518 1"/>
                  <a:gd name="f715" fmla="*/ f588 f517 1"/>
                  <a:gd name="f716" fmla="*/ f589 f518 1"/>
                  <a:gd name="f717" fmla="*/ f590 f517 1"/>
                  <a:gd name="f718" fmla="*/ f591 f518 1"/>
                  <a:gd name="f719" fmla="*/ f592 f517 1"/>
                  <a:gd name="f720" fmla="*/ f593 f518 1"/>
                  <a:gd name="f721" fmla="*/ f594 f517 1"/>
                  <a:gd name="f722" fmla="*/ f595 f518 1"/>
                  <a:gd name="f723" fmla="*/ f596 f517 1"/>
                  <a:gd name="f724" fmla="*/ f597 f518 1"/>
                  <a:gd name="f725" fmla="*/ f598 f517 1"/>
                  <a:gd name="f726" fmla="*/ f599 f518 1"/>
                  <a:gd name="f727" fmla="*/ f600 f517 1"/>
                  <a:gd name="f728" fmla="*/ f601 f518 1"/>
                  <a:gd name="f729" fmla="*/ f602 f517 1"/>
                  <a:gd name="f730" fmla="*/ f603 f518 1"/>
                  <a:gd name="f731" fmla="*/ f604 f517 1"/>
                  <a:gd name="f732" fmla="*/ f605 f518 1"/>
                  <a:gd name="f733" fmla="*/ f606 f517 1"/>
                  <a:gd name="f734" fmla="*/ f607 f518 1"/>
                  <a:gd name="f735" fmla="*/ f608 f517 1"/>
                  <a:gd name="f736" fmla="*/ f609 f518 1"/>
                  <a:gd name="f737" fmla="*/ f610 f517 1"/>
                  <a:gd name="f738" fmla="*/ f611 f518 1"/>
                  <a:gd name="f739" fmla="*/ f612 f517 1"/>
                  <a:gd name="f740" fmla="*/ f613 f518 1"/>
                  <a:gd name="f741" fmla="*/ f614 f517 1"/>
                  <a:gd name="f742" fmla="*/ f615 f518 1"/>
                  <a:gd name="f743" fmla="*/ f616 f517 1"/>
                  <a:gd name="f744" fmla="*/ f617 f518 1"/>
                  <a:gd name="f745" fmla="*/ f618 f517 1"/>
                  <a:gd name="f746" fmla="*/ f619 f518 1"/>
                  <a:gd name="f747" fmla="*/ f620 f517 1"/>
                  <a:gd name="f748" fmla="*/ f621 f518 1"/>
                  <a:gd name="f749" fmla="*/ f622 f517 1"/>
                  <a:gd name="f750" fmla="*/ f623 f517 1"/>
                  <a:gd name="f751" fmla="*/ f624 f518 1"/>
                  <a:gd name="f752" fmla="*/ f625 f517 1"/>
                  <a:gd name="f753" fmla="*/ f626 f518 1"/>
                  <a:gd name="f754" fmla="*/ f627 f517 1"/>
                  <a:gd name="f755" fmla="*/ f628 f518 1"/>
                  <a:gd name="f756" fmla="*/ f629 f517 1"/>
                  <a:gd name="f757" fmla="*/ f630 f518 1"/>
                  <a:gd name="f758" fmla="*/ f631 f517 1"/>
                  <a:gd name="f759" fmla="*/ f632 f518 1"/>
                  <a:gd name="f760" fmla="*/ f633 f517 1"/>
                  <a:gd name="f761" fmla="*/ f634 f517 1"/>
                  <a:gd name="f762" fmla="*/ f635 f518 1"/>
                  <a:gd name="f763" fmla="*/ f636 f517 1"/>
                  <a:gd name="f764" fmla="*/ f637 f518 1"/>
                  <a:gd name="f765" fmla="*/ f638 f517 1"/>
                  <a:gd name="f766" fmla="*/ f639 f518 1"/>
                  <a:gd name="f767" fmla="*/ f640 f517 1"/>
                  <a:gd name="f768" fmla="*/ f641 f518 1"/>
                  <a:gd name="f769" fmla="*/ f642 f51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47">
                    <a:pos x="f652" y="f653"/>
                  </a:cxn>
                  <a:cxn ang="f647">
                    <a:pos x="f654" y="f655"/>
                  </a:cxn>
                  <a:cxn ang="f647">
                    <a:pos x="f656" y="f657"/>
                  </a:cxn>
                  <a:cxn ang="f647">
                    <a:pos x="f658" y="f659"/>
                  </a:cxn>
                  <a:cxn ang="f647">
                    <a:pos x="f660" y="f661"/>
                  </a:cxn>
                  <a:cxn ang="f647">
                    <a:pos x="f662" y="f663"/>
                  </a:cxn>
                  <a:cxn ang="f647">
                    <a:pos x="f664" y="f665"/>
                  </a:cxn>
                  <a:cxn ang="f647">
                    <a:pos x="f666" y="f667"/>
                  </a:cxn>
                  <a:cxn ang="f647">
                    <a:pos x="f668" y="f669"/>
                  </a:cxn>
                  <a:cxn ang="f647">
                    <a:pos x="f670" y="f671"/>
                  </a:cxn>
                  <a:cxn ang="f647">
                    <a:pos x="f672" y="f673"/>
                  </a:cxn>
                  <a:cxn ang="f647">
                    <a:pos x="f674" y="f675"/>
                  </a:cxn>
                  <a:cxn ang="f647">
                    <a:pos x="f676" y="f677"/>
                  </a:cxn>
                  <a:cxn ang="f647">
                    <a:pos x="f678" y="f679"/>
                  </a:cxn>
                  <a:cxn ang="f647">
                    <a:pos x="f680" y="f681"/>
                  </a:cxn>
                  <a:cxn ang="f647">
                    <a:pos x="f682" y="f683"/>
                  </a:cxn>
                  <a:cxn ang="f647">
                    <a:pos x="f684" y="f685"/>
                  </a:cxn>
                  <a:cxn ang="f647">
                    <a:pos x="f686" y="f687"/>
                  </a:cxn>
                  <a:cxn ang="f647">
                    <a:pos x="f688" y="f689"/>
                  </a:cxn>
                  <a:cxn ang="f647">
                    <a:pos x="f690" y="f691"/>
                  </a:cxn>
                  <a:cxn ang="f647">
                    <a:pos x="f692" y="f693"/>
                  </a:cxn>
                  <a:cxn ang="f647">
                    <a:pos x="f694" y="f695"/>
                  </a:cxn>
                  <a:cxn ang="f647">
                    <a:pos x="f696" y="f697"/>
                  </a:cxn>
                  <a:cxn ang="f647">
                    <a:pos x="f698" y="f699"/>
                  </a:cxn>
                  <a:cxn ang="f647">
                    <a:pos x="f700" y="f701"/>
                  </a:cxn>
                  <a:cxn ang="f647">
                    <a:pos x="f702" y="f703"/>
                  </a:cxn>
                  <a:cxn ang="f647">
                    <a:pos x="f704" y="f705"/>
                  </a:cxn>
                  <a:cxn ang="f647">
                    <a:pos x="f684" y="f706"/>
                  </a:cxn>
                  <a:cxn ang="f647">
                    <a:pos x="f707" y="f708"/>
                  </a:cxn>
                  <a:cxn ang="f647">
                    <a:pos x="f709" y="f710"/>
                  </a:cxn>
                  <a:cxn ang="f647">
                    <a:pos x="f711" y="f712"/>
                  </a:cxn>
                  <a:cxn ang="f647">
                    <a:pos x="f713" y="f714"/>
                  </a:cxn>
                  <a:cxn ang="f647">
                    <a:pos x="f715" y="f716"/>
                  </a:cxn>
                  <a:cxn ang="f647">
                    <a:pos x="f717" y="f718"/>
                  </a:cxn>
                  <a:cxn ang="f647">
                    <a:pos x="f719" y="f720"/>
                  </a:cxn>
                  <a:cxn ang="f647">
                    <a:pos x="f721" y="f722"/>
                  </a:cxn>
                  <a:cxn ang="f647">
                    <a:pos x="f723" y="f724"/>
                  </a:cxn>
                  <a:cxn ang="f647">
                    <a:pos x="f725" y="f726"/>
                  </a:cxn>
                  <a:cxn ang="f647">
                    <a:pos x="f727" y="f728"/>
                  </a:cxn>
                  <a:cxn ang="f647">
                    <a:pos x="f729" y="f730"/>
                  </a:cxn>
                  <a:cxn ang="f647">
                    <a:pos x="f731" y="f732"/>
                  </a:cxn>
                  <a:cxn ang="f647">
                    <a:pos x="f733" y="f734"/>
                  </a:cxn>
                  <a:cxn ang="f647">
                    <a:pos x="f735" y="f736"/>
                  </a:cxn>
                  <a:cxn ang="f647">
                    <a:pos x="f737" y="f738"/>
                  </a:cxn>
                  <a:cxn ang="f647">
                    <a:pos x="f739" y="f740"/>
                  </a:cxn>
                  <a:cxn ang="f647">
                    <a:pos x="f741" y="f742"/>
                  </a:cxn>
                  <a:cxn ang="f647">
                    <a:pos x="f743" y="f744"/>
                  </a:cxn>
                  <a:cxn ang="f647">
                    <a:pos x="f745" y="f746"/>
                  </a:cxn>
                  <a:cxn ang="f647">
                    <a:pos x="f747" y="f748"/>
                  </a:cxn>
                  <a:cxn ang="f647">
                    <a:pos x="f749" y="f669"/>
                  </a:cxn>
                  <a:cxn ang="f647">
                    <a:pos x="f750" y="f751"/>
                  </a:cxn>
                  <a:cxn ang="f647">
                    <a:pos x="f752" y="f753"/>
                  </a:cxn>
                  <a:cxn ang="f647">
                    <a:pos x="f754" y="f755"/>
                  </a:cxn>
                  <a:cxn ang="f647">
                    <a:pos x="f756" y="f757"/>
                  </a:cxn>
                  <a:cxn ang="f647">
                    <a:pos x="f758" y="f759"/>
                  </a:cxn>
                  <a:cxn ang="f647">
                    <a:pos x="f760" y="f689"/>
                  </a:cxn>
                  <a:cxn ang="f647">
                    <a:pos x="f761" y="f762"/>
                  </a:cxn>
                  <a:cxn ang="f647">
                    <a:pos x="f763" y="f764"/>
                  </a:cxn>
                  <a:cxn ang="f647">
                    <a:pos x="f765" y="f766"/>
                  </a:cxn>
                  <a:cxn ang="f647">
                    <a:pos x="f767" y="f768"/>
                  </a:cxn>
                  <a:cxn ang="f647">
                    <a:pos x="f769" y="f687"/>
                  </a:cxn>
                </a:cxnLst>
                <a:rect l="f648" t="f651" r="f649" b="f650"/>
                <a:pathLst>
                  <a:path w="892" h="950">
                    <a:moveTo>
                      <a:pt x="f9" y="f10"/>
                    </a:move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29" y="f31"/>
                    </a:lnTo>
                    <a:lnTo>
                      <a:pt x="f32" y="f33"/>
                    </a:lnTo>
                    <a:lnTo>
                      <a:pt x="f27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49" y="f3"/>
                    </a:lnTo>
                    <a:lnTo>
                      <a:pt x="f50" y="f38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4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5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73" y="f88"/>
                    </a:lnTo>
                    <a:lnTo>
                      <a:pt x="f91" y="f92"/>
                    </a:lnTo>
                    <a:lnTo>
                      <a:pt x="f93" y="f88"/>
                    </a:lnTo>
                    <a:lnTo>
                      <a:pt x="f67" y="f94"/>
                    </a:lnTo>
                    <a:lnTo>
                      <a:pt x="f65" y="f95"/>
                    </a:lnTo>
                    <a:lnTo>
                      <a:pt x="f96" y="f97"/>
                    </a:lnTo>
                    <a:lnTo>
                      <a:pt x="f71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73" y="f103"/>
                    </a:lnTo>
                    <a:lnTo>
                      <a:pt x="f73" y="f104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99" y="f2"/>
                    </a:lnTo>
                    <a:lnTo>
                      <a:pt x="f109" y="f110"/>
                    </a:lnTo>
                    <a:lnTo>
                      <a:pt x="f101" y="f111"/>
                    </a:lnTo>
                    <a:lnTo>
                      <a:pt x="f112" y="f111"/>
                    </a:lnTo>
                    <a:lnTo>
                      <a:pt x="f113" y="f114"/>
                    </a:lnTo>
                    <a:lnTo>
                      <a:pt x="f115" y="f114"/>
                    </a:lnTo>
                    <a:lnTo>
                      <a:pt x="f75" y="f116"/>
                    </a:lnTo>
                    <a:lnTo>
                      <a:pt x="f87" y="f117"/>
                    </a:lnTo>
                    <a:lnTo>
                      <a:pt x="f75" y="f118"/>
                    </a:lnTo>
                    <a:lnTo>
                      <a:pt x="f119" y="f120"/>
                    </a:lnTo>
                    <a:lnTo>
                      <a:pt x="f99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128" y="f127"/>
                    </a:lnTo>
                    <a:lnTo>
                      <a:pt x="f129" y="f130"/>
                    </a:ln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85"/>
                    </a:lnTo>
                    <a:lnTo>
                      <a:pt x="f136" y="f75"/>
                    </a:lnTo>
                    <a:lnTo>
                      <a:pt x="f137" y="f138"/>
                    </a:lnTo>
                    <a:lnTo>
                      <a:pt x="f139" y="f138"/>
                    </a:lnTo>
                    <a:lnTo>
                      <a:pt x="f140" y="f115"/>
                    </a:lnTo>
                    <a:lnTo>
                      <a:pt x="f141" y="f138"/>
                    </a:lnTo>
                    <a:lnTo>
                      <a:pt x="f142" y="f143"/>
                    </a:lnTo>
                    <a:lnTo>
                      <a:pt x="f144" y="f109"/>
                    </a:lnTo>
                    <a:lnTo>
                      <a:pt x="f145" y="f109"/>
                    </a:lnTo>
                    <a:lnTo>
                      <a:pt x="f146" y="f147"/>
                    </a:lnTo>
                    <a:lnTo>
                      <a:pt x="f148" y="f89"/>
                    </a:lnTo>
                    <a:lnTo>
                      <a:pt x="f149" y="f85"/>
                    </a:lnTo>
                    <a:lnTo>
                      <a:pt x="f150" y="f134"/>
                    </a:lnTo>
                    <a:lnTo>
                      <a:pt x="f151" y="f130"/>
                    </a:lnTo>
                    <a:lnTo>
                      <a:pt x="f152" y="f121"/>
                    </a:lnTo>
                    <a:lnTo>
                      <a:pt x="f153" y="f116"/>
                    </a:lnTo>
                    <a:lnTo>
                      <a:pt x="f19" y="f154"/>
                    </a:lnTo>
                    <a:lnTo>
                      <a:pt x="f155" y="f156"/>
                    </a:lnTo>
                    <a:lnTo>
                      <a:pt x="f157" y="f158"/>
                    </a:lnTo>
                    <a:lnTo>
                      <a:pt x="f159" y="f88"/>
                    </a:lnTo>
                    <a:lnTo>
                      <a:pt x="f159" y="f160"/>
                    </a:lnTo>
                    <a:lnTo>
                      <a:pt x="f161" y="f162"/>
                    </a:lnTo>
                    <a:lnTo>
                      <a:pt x="f159" y="f163"/>
                    </a:lnTo>
                    <a:lnTo>
                      <a:pt x="f164" y="f165"/>
                    </a:lnTo>
                    <a:lnTo>
                      <a:pt x="f17" y="f68"/>
                    </a:lnTo>
                    <a:lnTo>
                      <a:pt x="f166" y="f66"/>
                    </a:lnTo>
                    <a:lnTo>
                      <a:pt x="f167" y="f54"/>
                    </a:lnTo>
                    <a:lnTo>
                      <a:pt x="f168" y="f59"/>
                    </a:lnTo>
                    <a:lnTo>
                      <a:pt x="f169" y="f64"/>
                    </a:lnTo>
                    <a:lnTo>
                      <a:pt x="f170" y="f64"/>
                    </a:lnTo>
                    <a:lnTo>
                      <a:pt x="f171" y="f61"/>
                    </a:lnTo>
                    <a:lnTo>
                      <a:pt x="f172" y="f52"/>
                    </a:lnTo>
                    <a:lnTo>
                      <a:pt x="f173" y="f42"/>
                    </a:lnTo>
                    <a:lnTo>
                      <a:pt x="f174" y="f33"/>
                    </a:lnTo>
                    <a:lnTo>
                      <a:pt x="f175" y="f176"/>
                    </a:lnTo>
                    <a:lnTo>
                      <a:pt x="f177" y="f30"/>
                    </a:lnTo>
                    <a:lnTo>
                      <a:pt x="f177" y="f178"/>
                    </a:lnTo>
                    <a:lnTo>
                      <a:pt x="f179" y="f24"/>
                    </a:lnTo>
                    <a:lnTo>
                      <a:pt x="f180" y="f20"/>
                    </a:lnTo>
                    <a:lnTo>
                      <a:pt x="f181" y="f18"/>
                    </a:lnTo>
                    <a:lnTo>
                      <a:pt x="f182" y="f16"/>
                    </a:lnTo>
                    <a:lnTo>
                      <a:pt x="f177" y="f183"/>
                    </a:lnTo>
                    <a:lnTo>
                      <a:pt x="f184" y="f14"/>
                    </a:lnTo>
                    <a:lnTo>
                      <a:pt x="f171" y="f185"/>
                    </a:lnTo>
                    <a:lnTo>
                      <a:pt x="f186" y="f12"/>
                    </a:lnTo>
                    <a:lnTo>
                      <a:pt x="f9" y="f10"/>
                    </a:lnTo>
                    <a:close/>
                    <a:moveTo>
                      <a:pt x="f136" y="f6"/>
                    </a:moveTo>
                    <a:lnTo>
                      <a:pt x="f187" y="f6"/>
                    </a:lnTo>
                    <a:lnTo>
                      <a:pt x="f188" y="f189"/>
                    </a:lnTo>
                    <a:lnTo>
                      <a:pt x="f190" y="f191"/>
                    </a:lnTo>
                    <a:lnTo>
                      <a:pt x="f190" y="f192"/>
                    </a:lnTo>
                    <a:lnTo>
                      <a:pt x="f193" y="f194"/>
                    </a:lnTo>
                    <a:lnTo>
                      <a:pt x="f188" y="f195"/>
                    </a:lnTo>
                    <a:lnTo>
                      <a:pt x="f196" y="f197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202" y="f203"/>
                    </a:lnTo>
                    <a:lnTo>
                      <a:pt x="f204" y="f205"/>
                    </a:lnTo>
                    <a:lnTo>
                      <a:pt x="f206" y="f207"/>
                    </a:lnTo>
                    <a:lnTo>
                      <a:pt x="f208" y="f209"/>
                    </a:lnTo>
                    <a:lnTo>
                      <a:pt x="f43" y="f209"/>
                    </a:lnTo>
                    <a:lnTo>
                      <a:pt x="f210" y="f211"/>
                    </a:lnTo>
                    <a:lnTo>
                      <a:pt x="f212" y="f205"/>
                    </a:lnTo>
                    <a:lnTo>
                      <a:pt x="f145" y="f213"/>
                    </a:lnTo>
                    <a:lnTo>
                      <a:pt x="f41" y="f214"/>
                    </a:lnTo>
                    <a:lnTo>
                      <a:pt x="f146" y="f215"/>
                    </a:lnTo>
                    <a:lnTo>
                      <a:pt x="f148" y="f216"/>
                    </a:lnTo>
                    <a:lnTo>
                      <a:pt x="f149" y="f217"/>
                    </a:lnTo>
                    <a:lnTo>
                      <a:pt x="f218" y="f219"/>
                    </a:lnTo>
                    <a:lnTo>
                      <a:pt x="f220" y="f221"/>
                    </a:lnTo>
                    <a:lnTo>
                      <a:pt x="f222" y="f197"/>
                    </a:lnTo>
                    <a:lnTo>
                      <a:pt x="f152" y="f217"/>
                    </a:lnTo>
                    <a:lnTo>
                      <a:pt x="f223" y="f199"/>
                    </a:lnTo>
                    <a:lnTo>
                      <a:pt x="f224" y="f215"/>
                    </a:lnTo>
                    <a:lnTo>
                      <a:pt x="f157" y="f225"/>
                    </a:lnTo>
                    <a:lnTo>
                      <a:pt x="f226" y="f227"/>
                    </a:lnTo>
                    <a:lnTo>
                      <a:pt x="f228" y="f207"/>
                    </a:lnTo>
                    <a:lnTo>
                      <a:pt x="f11" y="f227"/>
                    </a:lnTo>
                    <a:lnTo>
                      <a:pt x="f169" y="f229"/>
                    </a:lnTo>
                    <a:lnTo>
                      <a:pt x="f230" y="f203"/>
                    </a:lnTo>
                    <a:lnTo>
                      <a:pt x="f231" y="f215"/>
                    </a:lnTo>
                    <a:lnTo>
                      <a:pt x="f232" y="f233"/>
                    </a:lnTo>
                    <a:lnTo>
                      <a:pt x="f234" y="f235"/>
                    </a:lnTo>
                    <a:lnTo>
                      <a:pt x="f236" y="f235"/>
                    </a:lnTo>
                    <a:lnTo>
                      <a:pt x="f237" y="f216"/>
                    </a:lnTo>
                    <a:lnTo>
                      <a:pt x="f238" y="f201"/>
                    </a:lnTo>
                    <a:lnTo>
                      <a:pt x="f239" y="f240"/>
                    </a:lnTo>
                    <a:lnTo>
                      <a:pt x="f239" y="f241"/>
                    </a:lnTo>
                    <a:lnTo>
                      <a:pt x="f242" y="f213"/>
                    </a:lnTo>
                    <a:lnTo>
                      <a:pt x="f243" y="f229"/>
                    </a:lnTo>
                    <a:lnTo>
                      <a:pt x="f174" y="f244"/>
                    </a:lnTo>
                    <a:lnTo>
                      <a:pt x="f245" y="f246"/>
                    </a:lnTo>
                    <a:lnTo>
                      <a:pt x="f247" y="f248"/>
                    </a:lnTo>
                    <a:lnTo>
                      <a:pt x="f249" y="f250"/>
                    </a:lnTo>
                    <a:lnTo>
                      <a:pt x="f251" y="f252"/>
                    </a:lnTo>
                    <a:lnTo>
                      <a:pt x="f253" y="f254"/>
                    </a:lnTo>
                    <a:lnTo>
                      <a:pt x="f255" y="f256"/>
                    </a:lnTo>
                    <a:lnTo>
                      <a:pt x="f257" y="f258"/>
                    </a:lnTo>
                    <a:lnTo>
                      <a:pt x="f257" y="f259"/>
                    </a:lnTo>
                    <a:lnTo>
                      <a:pt x="f260" y="f26"/>
                    </a:lnTo>
                    <a:lnTo>
                      <a:pt x="f257" y="f261"/>
                    </a:lnTo>
                    <a:lnTo>
                      <a:pt x="f262" y="f263"/>
                    </a:lnTo>
                    <a:lnTo>
                      <a:pt x="f264" y="f265"/>
                    </a:lnTo>
                    <a:lnTo>
                      <a:pt x="f266" y="f44"/>
                    </a:lnTo>
                    <a:lnTo>
                      <a:pt x="f267" y="f268"/>
                    </a:lnTo>
                    <a:lnTo>
                      <a:pt x="f7" y="f269"/>
                    </a:lnTo>
                    <a:lnTo>
                      <a:pt x="f270" y="f271"/>
                    </a:lnTo>
                    <a:lnTo>
                      <a:pt x="f272" y="f68"/>
                    </a:lnTo>
                    <a:lnTo>
                      <a:pt x="f273" y="f70"/>
                    </a:lnTo>
                    <a:lnTo>
                      <a:pt x="f274" y="f275"/>
                    </a:lnTo>
                    <a:lnTo>
                      <a:pt x="f255" y="f276"/>
                    </a:lnTo>
                    <a:lnTo>
                      <a:pt x="f277" y="f278"/>
                    </a:lnTo>
                    <a:lnTo>
                      <a:pt x="f279" y="f76"/>
                    </a:lnTo>
                    <a:lnTo>
                      <a:pt x="f280" y="f80"/>
                    </a:lnTo>
                    <a:lnTo>
                      <a:pt x="f181" y="f281"/>
                    </a:lnTo>
                    <a:lnTo>
                      <a:pt x="f180" y="f90"/>
                    </a:lnTo>
                    <a:lnTo>
                      <a:pt x="f282" y="f283"/>
                    </a:lnTo>
                    <a:lnTo>
                      <a:pt x="f177" y="f284"/>
                    </a:lnTo>
                    <a:lnTo>
                      <a:pt x="f243" y="f285"/>
                    </a:lnTo>
                    <a:lnTo>
                      <a:pt x="f238" y="f286"/>
                    </a:lnTo>
                    <a:lnTo>
                      <a:pt x="f171" y="f154"/>
                    </a:lnTo>
                    <a:lnTo>
                      <a:pt x="f232" y="f287"/>
                    </a:lnTo>
                    <a:lnTo>
                      <a:pt x="f9" y="f288"/>
                    </a:lnTo>
                    <a:lnTo>
                      <a:pt x="f15" y="f289"/>
                    </a:lnTo>
                    <a:lnTo>
                      <a:pt x="f226" y="f290"/>
                    </a:lnTo>
                    <a:lnTo>
                      <a:pt x="f164" y="f291"/>
                    </a:lnTo>
                    <a:lnTo>
                      <a:pt x="f159" y="f292"/>
                    </a:lnTo>
                    <a:lnTo>
                      <a:pt x="f293" y="f294"/>
                    </a:lnTo>
                    <a:lnTo>
                      <a:pt x="f295" y="f296"/>
                    </a:lnTo>
                    <a:lnTo>
                      <a:pt x="f297" y="f298"/>
                    </a:lnTo>
                    <a:lnTo>
                      <a:pt x="f299" y="f300"/>
                    </a:lnTo>
                    <a:lnTo>
                      <a:pt x="f168" y="f202"/>
                    </a:lnTo>
                    <a:lnTo>
                      <a:pt x="f11" y="f301"/>
                    </a:lnTo>
                    <a:lnTo>
                      <a:pt x="f302" y="f210"/>
                    </a:lnTo>
                    <a:lnTo>
                      <a:pt x="f11" y="f39"/>
                    </a:lnTo>
                    <a:lnTo>
                      <a:pt x="f168" y="f303"/>
                    </a:lnTo>
                    <a:lnTo>
                      <a:pt x="f304" y="f305"/>
                    </a:lnTo>
                    <a:lnTo>
                      <a:pt x="f306" y="f307"/>
                    </a:lnTo>
                    <a:lnTo>
                      <a:pt x="f308" y="f309"/>
                    </a:lnTo>
                    <a:lnTo>
                      <a:pt x="f293" y="f310"/>
                    </a:lnTo>
                    <a:lnTo>
                      <a:pt x="f161" y="f311"/>
                    </a:lnTo>
                    <a:lnTo>
                      <a:pt x="f157" y="f21"/>
                    </a:lnTo>
                    <a:lnTo>
                      <a:pt x="f312" y="f152"/>
                    </a:lnTo>
                    <a:lnTo>
                      <a:pt x="f157" y="f313"/>
                    </a:lnTo>
                    <a:lnTo>
                      <a:pt x="f161" y="f223"/>
                    </a:lnTo>
                    <a:lnTo>
                      <a:pt x="f159" y="f153"/>
                    </a:lnTo>
                    <a:lnTo>
                      <a:pt x="f17" y="f153"/>
                    </a:lnTo>
                    <a:lnTo>
                      <a:pt x="f17" y="f314"/>
                    </a:lnTo>
                    <a:lnTo>
                      <a:pt x="f295" y="f159"/>
                    </a:lnTo>
                    <a:lnTo>
                      <a:pt x="f306" y="f166"/>
                    </a:lnTo>
                    <a:lnTo>
                      <a:pt x="f167" y="f315"/>
                    </a:lnTo>
                    <a:lnTo>
                      <a:pt x="f11" y="f231"/>
                    </a:lnTo>
                    <a:lnTo>
                      <a:pt x="f316" y="f237"/>
                    </a:lnTo>
                    <a:lnTo>
                      <a:pt x="f317" y="f243"/>
                    </a:lnTo>
                    <a:lnTo>
                      <a:pt x="f318" y="f319"/>
                    </a:lnTo>
                    <a:lnTo>
                      <a:pt x="f9" y="f320"/>
                    </a:lnTo>
                    <a:lnTo>
                      <a:pt x="f321" y="f322"/>
                    </a:lnTo>
                    <a:lnTo>
                      <a:pt x="f323" y="f324"/>
                    </a:lnTo>
                    <a:lnTo>
                      <a:pt x="f299" y="f325"/>
                    </a:lnTo>
                    <a:lnTo>
                      <a:pt x="f297" y="f255"/>
                    </a:lnTo>
                    <a:lnTo>
                      <a:pt x="f17" y="f326"/>
                    </a:lnTo>
                    <a:lnTo>
                      <a:pt x="f159" y="f273"/>
                    </a:lnTo>
                    <a:lnTo>
                      <a:pt x="f312" y="f327"/>
                    </a:lnTo>
                    <a:lnTo>
                      <a:pt x="f312" y="f328"/>
                    </a:lnTo>
                    <a:lnTo>
                      <a:pt x="f157" y="f329"/>
                    </a:lnTo>
                    <a:lnTo>
                      <a:pt x="f157" y="f330"/>
                    </a:lnTo>
                    <a:lnTo>
                      <a:pt x="f155" y="f331"/>
                    </a:lnTo>
                    <a:lnTo>
                      <a:pt x="f332" y="f333"/>
                    </a:lnTo>
                    <a:lnTo>
                      <a:pt x="f334" y="f335"/>
                    </a:lnTo>
                    <a:lnTo>
                      <a:pt x="f336" y="f8"/>
                    </a:lnTo>
                    <a:lnTo>
                      <a:pt x="f151" y="f8"/>
                    </a:lnTo>
                    <a:lnTo>
                      <a:pt x="f307" y="f337"/>
                    </a:lnTo>
                    <a:lnTo>
                      <a:pt x="f338" y="f339"/>
                    </a:lnTo>
                    <a:lnTo>
                      <a:pt x="f35" y="f340"/>
                    </a:lnTo>
                    <a:lnTo>
                      <a:pt x="f341" y="f342"/>
                    </a:lnTo>
                    <a:lnTo>
                      <a:pt x="f208" y="f343"/>
                    </a:lnTo>
                    <a:lnTo>
                      <a:pt x="f344" y="f345"/>
                    </a:lnTo>
                    <a:lnTo>
                      <a:pt x="f137" y="f346"/>
                    </a:lnTo>
                    <a:lnTo>
                      <a:pt x="f55" y="f346"/>
                    </a:lnTo>
                    <a:lnTo>
                      <a:pt x="f347" y="f345"/>
                    </a:lnTo>
                    <a:lnTo>
                      <a:pt x="f58" y="f343"/>
                    </a:lnTo>
                    <a:lnTo>
                      <a:pt x="f291" y="f348"/>
                    </a:lnTo>
                    <a:lnTo>
                      <a:pt x="f349" y="f343"/>
                    </a:lnTo>
                    <a:lnTo>
                      <a:pt x="f350" y="f351"/>
                    </a:lnTo>
                    <a:lnTo>
                      <a:pt x="f352" y="f353"/>
                    </a:lnTo>
                    <a:lnTo>
                      <a:pt x="f352" y="f354"/>
                    </a:lnTo>
                    <a:lnTo>
                      <a:pt x="f355" y="f356"/>
                    </a:lnTo>
                    <a:lnTo>
                      <a:pt x="f60" y="f356"/>
                    </a:lnTo>
                    <a:lnTo>
                      <a:pt x="f357" y="f327"/>
                    </a:lnTo>
                    <a:lnTo>
                      <a:pt x="f126" y="f358"/>
                    </a:lnTo>
                    <a:lnTo>
                      <a:pt x="f357" y="f274"/>
                    </a:lnTo>
                    <a:lnTo>
                      <a:pt x="f359" y="f262"/>
                    </a:lnTo>
                    <a:lnTo>
                      <a:pt x="f360" y="f361"/>
                    </a:lnTo>
                    <a:lnTo>
                      <a:pt x="f362" y="f363"/>
                    </a:lnTo>
                    <a:lnTo>
                      <a:pt x="f124" y="f364"/>
                    </a:lnTo>
                    <a:lnTo>
                      <a:pt x="f124" y="f365"/>
                    </a:lnTo>
                    <a:lnTo>
                      <a:pt x="f362" y="f366"/>
                    </a:lnTo>
                    <a:lnTo>
                      <a:pt x="f362" y="f367"/>
                    </a:lnTo>
                    <a:lnTo>
                      <a:pt x="f124" y="f237"/>
                    </a:lnTo>
                    <a:lnTo>
                      <a:pt x="f368" y="f170"/>
                    </a:lnTo>
                    <a:lnTo>
                      <a:pt x="f369" y="f370"/>
                    </a:lnTo>
                    <a:lnTo>
                      <a:pt x="f65" y="f168"/>
                    </a:lnTo>
                    <a:lnTo>
                      <a:pt x="f107" y="f228"/>
                    </a:lnTo>
                    <a:lnTo>
                      <a:pt x="f115" y="f371"/>
                    </a:lnTo>
                    <a:lnTo>
                      <a:pt x="f83" y="f228"/>
                    </a:lnTo>
                    <a:lnTo>
                      <a:pt x="f372" y="f315"/>
                    </a:lnTo>
                    <a:lnTo>
                      <a:pt x="f373" y="f168"/>
                    </a:lnTo>
                    <a:lnTo>
                      <a:pt x="f374" y="f323"/>
                    </a:lnTo>
                    <a:lnTo>
                      <a:pt x="f375" y="f376"/>
                    </a:lnTo>
                    <a:lnTo>
                      <a:pt x="f377" y="f13"/>
                    </a:lnTo>
                    <a:lnTo>
                      <a:pt x="f111" y="f378"/>
                    </a:lnTo>
                    <a:lnTo>
                      <a:pt x="f111" y="f166"/>
                    </a:lnTo>
                    <a:lnTo>
                      <a:pt x="f118" y="f308"/>
                    </a:lnTo>
                    <a:lnTo>
                      <a:pt x="f125" y="f379"/>
                    </a:lnTo>
                    <a:lnTo>
                      <a:pt x="f380" y="f19"/>
                    </a:lnTo>
                    <a:lnTo>
                      <a:pt x="f79" y="f334"/>
                    </a:lnTo>
                    <a:lnTo>
                      <a:pt x="f381" y="f222"/>
                    </a:lnTo>
                    <a:lnTo>
                      <a:pt x="f381" y="f41"/>
                    </a:lnTo>
                    <a:lnTo>
                      <a:pt x="f81" y="f210"/>
                    </a:lnTo>
                    <a:lnTo>
                      <a:pt x="f130" y="f382"/>
                    </a:lnTo>
                    <a:lnTo>
                      <a:pt x="f118" y="f383"/>
                    </a:lnTo>
                    <a:lnTo>
                      <a:pt x="f384" y="f385"/>
                    </a:lnTo>
                    <a:lnTo>
                      <a:pt x="f386" y="f387"/>
                    </a:lnTo>
                    <a:lnTo>
                      <a:pt x="f388" y="f204"/>
                    </a:lnTo>
                    <a:lnTo>
                      <a:pt x="f389" y="f387"/>
                    </a:lnTo>
                    <a:lnTo>
                      <a:pt x="f97" y="f385"/>
                    </a:lnTo>
                    <a:lnTo>
                      <a:pt x="f390" y="f387"/>
                    </a:lnTo>
                    <a:lnTo>
                      <a:pt x="f391" y="f392"/>
                    </a:lnTo>
                    <a:lnTo>
                      <a:pt x="f393" y="f200"/>
                    </a:lnTo>
                    <a:lnTo>
                      <a:pt x="f394" y="f300"/>
                    </a:lnTo>
                    <a:lnTo>
                      <a:pt x="f162" y="f395"/>
                    </a:lnTo>
                    <a:lnTo>
                      <a:pt x="f396" y="f397"/>
                    </a:lnTo>
                    <a:lnTo>
                      <a:pt x="f163" y="f398"/>
                    </a:lnTo>
                    <a:lnTo>
                      <a:pt x="f399" y="f400"/>
                    </a:lnTo>
                    <a:lnTo>
                      <a:pt x="f401" y="f402"/>
                    </a:lnTo>
                    <a:lnTo>
                      <a:pt x="f403" y="f298"/>
                    </a:lnTo>
                    <a:lnTo>
                      <a:pt x="f404" y="f405"/>
                    </a:lnTo>
                    <a:lnTo>
                      <a:pt x="f406" y="f407"/>
                    </a:lnTo>
                    <a:lnTo>
                      <a:pt x="f34" y="f408"/>
                    </a:lnTo>
                    <a:lnTo>
                      <a:pt x="f44" y="f409"/>
                    </a:lnTo>
                    <a:lnTo>
                      <a:pt x="f410" y="f411"/>
                    </a:lnTo>
                    <a:lnTo>
                      <a:pt x="f46" y="f412"/>
                    </a:lnTo>
                    <a:lnTo>
                      <a:pt x="f265" y="f413"/>
                    </a:lnTo>
                    <a:lnTo>
                      <a:pt x="f414" y="f415"/>
                    </a:lnTo>
                    <a:lnTo>
                      <a:pt x="f416" y="f417"/>
                    </a:lnTo>
                    <a:lnTo>
                      <a:pt x="f418" y="f415"/>
                    </a:lnTo>
                    <a:lnTo>
                      <a:pt x="f419" y="f413"/>
                    </a:lnTo>
                    <a:lnTo>
                      <a:pt x="f420" y="f421"/>
                    </a:lnTo>
                    <a:lnTo>
                      <a:pt x="f422" y="f423"/>
                    </a:lnTo>
                    <a:lnTo>
                      <a:pt x="f246" y="f424"/>
                    </a:lnTo>
                    <a:lnTo>
                      <a:pt x="f207" y="f60"/>
                    </a:lnTo>
                    <a:lnTo>
                      <a:pt x="f425" y="f426"/>
                    </a:lnTo>
                    <a:lnTo>
                      <a:pt x="f427" y="f60"/>
                    </a:lnTo>
                    <a:lnTo>
                      <a:pt x="f428" y="f429"/>
                    </a:lnTo>
                    <a:lnTo>
                      <a:pt x="f6" y="f124"/>
                    </a:lnTo>
                    <a:lnTo>
                      <a:pt x="f430" y="f96"/>
                    </a:lnTo>
                    <a:lnTo>
                      <a:pt x="f431" y="f109"/>
                    </a:lnTo>
                    <a:lnTo>
                      <a:pt x="f432" y="f115"/>
                    </a:lnTo>
                    <a:lnTo>
                      <a:pt x="f240" y="f77"/>
                    </a:lnTo>
                    <a:lnTo>
                      <a:pt x="f433" y="f79"/>
                    </a:lnTo>
                    <a:lnTo>
                      <a:pt x="f425" y="f79"/>
                    </a:lnTo>
                    <a:lnTo>
                      <a:pt x="f225" y="f434"/>
                    </a:lnTo>
                    <a:lnTo>
                      <a:pt x="f435" y="f436"/>
                    </a:lnTo>
                    <a:lnTo>
                      <a:pt x="f437" y="f115"/>
                    </a:lnTo>
                    <a:lnTo>
                      <a:pt x="f438" y="f89"/>
                    </a:lnTo>
                    <a:lnTo>
                      <a:pt x="f439" y="f89"/>
                    </a:lnTo>
                    <a:lnTo>
                      <a:pt x="f254" y="f115"/>
                    </a:lnTo>
                    <a:lnTo>
                      <a:pt x="f440" y="f441"/>
                    </a:lnTo>
                    <a:lnTo>
                      <a:pt x="f442" y="f434"/>
                    </a:lnTo>
                    <a:lnTo>
                      <a:pt x="f28" y="f443"/>
                    </a:lnTo>
                    <a:lnTo>
                      <a:pt x="f444" y="f372"/>
                    </a:lnTo>
                    <a:lnTo>
                      <a:pt x="f445" y="f446"/>
                    </a:lnTo>
                    <a:lnTo>
                      <a:pt x="f447" y="f125"/>
                    </a:lnTo>
                    <a:lnTo>
                      <a:pt x="f448" y="f449"/>
                    </a:lnTo>
                    <a:lnTo>
                      <a:pt x="f416" y="f114"/>
                    </a:lnTo>
                    <a:lnTo>
                      <a:pt x="f447" y="f110"/>
                    </a:lnTo>
                    <a:lnTo>
                      <a:pt x="f450" y="f287"/>
                    </a:lnTo>
                    <a:lnTo>
                      <a:pt x="f451" y="f452"/>
                    </a:lnTo>
                    <a:lnTo>
                      <a:pt x="f44" y="f453"/>
                    </a:lnTo>
                    <a:lnTo>
                      <a:pt x="f454" y="f104"/>
                    </a:lnTo>
                    <a:lnTo>
                      <a:pt x="f36" y="f455"/>
                    </a:lnTo>
                    <a:lnTo>
                      <a:pt x="f456" y="f457"/>
                    </a:lnTo>
                    <a:lnTo>
                      <a:pt x="f269" y="f283"/>
                    </a:lnTo>
                    <a:lnTo>
                      <a:pt x="f456" y="f458"/>
                    </a:lnTo>
                    <a:lnTo>
                      <a:pt x="f454" y="f281"/>
                    </a:lnTo>
                    <a:lnTo>
                      <a:pt x="f451" y="f78"/>
                    </a:lnTo>
                    <a:lnTo>
                      <a:pt x="f414" y="f459"/>
                    </a:lnTo>
                    <a:lnTo>
                      <a:pt x="f451" y="f165"/>
                    </a:lnTo>
                    <a:lnTo>
                      <a:pt x="f42" y="f460"/>
                    </a:lnTo>
                    <a:lnTo>
                      <a:pt x="f461" y="f462"/>
                    </a:lnTo>
                    <a:lnTo>
                      <a:pt x="f463" y="f40"/>
                    </a:lnTo>
                    <a:lnTo>
                      <a:pt x="f59" y="f3"/>
                    </a:lnTo>
                    <a:lnTo>
                      <a:pt x="f404" y="f464"/>
                    </a:lnTo>
                    <a:lnTo>
                      <a:pt x="f465" y="f466"/>
                    </a:lnTo>
                    <a:lnTo>
                      <a:pt x="f467" y="f176"/>
                    </a:lnTo>
                    <a:lnTo>
                      <a:pt x="f468" y="f31"/>
                    </a:lnTo>
                    <a:lnTo>
                      <a:pt x="f469" y="f261"/>
                    </a:lnTo>
                    <a:lnTo>
                      <a:pt x="f470" y="f471"/>
                    </a:lnTo>
                    <a:lnTo>
                      <a:pt x="f472" y="f473"/>
                    </a:lnTo>
                    <a:lnTo>
                      <a:pt x="f162" y="f474"/>
                    </a:lnTo>
                    <a:lnTo>
                      <a:pt x="f78" y="f259"/>
                    </a:lnTo>
                    <a:lnTo>
                      <a:pt x="f162" y="f16"/>
                    </a:lnTo>
                    <a:lnTo>
                      <a:pt x="f475" y="f14"/>
                    </a:lnTo>
                    <a:lnTo>
                      <a:pt x="f459" y="f476"/>
                    </a:lnTo>
                    <a:lnTo>
                      <a:pt x="f401" y="f250"/>
                    </a:lnTo>
                    <a:lnTo>
                      <a:pt x="f477" y="f478"/>
                    </a:lnTo>
                    <a:lnTo>
                      <a:pt x="f469" y="f207"/>
                    </a:lnTo>
                    <a:lnTo>
                      <a:pt x="f399" y="f225"/>
                    </a:lnTo>
                    <a:lnTo>
                      <a:pt x="f479" y="f480"/>
                    </a:lnTo>
                    <a:lnTo>
                      <a:pt x="f481" y="f213"/>
                    </a:lnTo>
                    <a:lnTo>
                      <a:pt x="f482" y="f483"/>
                    </a:lnTo>
                    <a:lnTo>
                      <a:pt x="f484" y="f425"/>
                    </a:lnTo>
                    <a:lnTo>
                      <a:pt x="f485" y="f211"/>
                    </a:lnTo>
                    <a:lnTo>
                      <a:pt x="f486" y="f437"/>
                    </a:lnTo>
                    <a:lnTo>
                      <a:pt x="f487" y="f437"/>
                    </a:lnTo>
                    <a:lnTo>
                      <a:pt x="f452" y="f211"/>
                    </a:lnTo>
                    <a:lnTo>
                      <a:pt x="f488" y="f205"/>
                    </a:lnTo>
                    <a:lnTo>
                      <a:pt x="f489" y="f241"/>
                    </a:lnTo>
                    <a:lnTo>
                      <a:pt x="f111" y="f215"/>
                    </a:lnTo>
                    <a:lnTo>
                      <a:pt x="f449" y="f199"/>
                    </a:lnTo>
                    <a:lnTo>
                      <a:pt x="f490" y="f491"/>
                    </a:lnTo>
                    <a:lnTo>
                      <a:pt x="f492" y="f493"/>
                    </a:lnTo>
                    <a:lnTo>
                      <a:pt x="f123" y="f494"/>
                    </a:lnTo>
                    <a:lnTo>
                      <a:pt x="f373" y="f241"/>
                    </a:lnTo>
                    <a:lnTo>
                      <a:pt x="f495" y="f425"/>
                    </a:lnTo>
                    <a:lnTo>
                      <a:pt x="f81" y="f205"/>
                    </a:lnTo>
                    <a:lnTo>
                      <a:pt x="f496" y="f225"/>
                    </a:lnTo>
                    <a:lnTo>
                      <a:pt x="f89" y="f497"/>
                    </a:lnTo>
                    <a:lnTo>
                      <a:pt x="f101" y="f211"/>
                    </a:lnTo>
                    <a:lnTo>
                      <a:pt x="f71" y="f211"/>
                    </a:lnTo>
                    <a:lnTo>
                      <a:pt x="f498" y="f438"/>
                    </a:lnTo>
                    <a:lnTo>
                      <a:pt x="f429" y="f499"/>
                    </a:lnTo>
                    <a:lnTo>
                      <a:pt x="f60" y="f250"/>
                    </a:lnTo>
                    <a:lnTo>
                      <a:pt x="f352" y="f439"/>
                    </a:lnTo>
                    <a:lnTo>
                      <a:pt x="f350" y="f250"/>
                    </a:lnTo>
                    <a:lnTo>
                      <a:pt x="f128" y="f248"/>
                    </a:lnTo>
                    <a:lnTo>
                      <a:pt x="f500" y="f501"/>
                    </a:lnTo>
                    <a:lnTo>
                      <a:pt x="f502" y="f501"/>
                    </a:lnTo>
                    <a:lnTo>
                      <a:pt x="f57" y="f478"/>
                    </a:lnTo>
                    <a:lnTo>
                      <a:pt x="f503" y="f244"/>
                    </a:lnTo>
                    <a:lnTo>
                      <a:pt x="f504" y="f505"/>
                    </a:lnTo>
                    <a:lnTo>
                      <a:pt x="f55" y="f425"/>
                    </a:lnTo>
                    <a:lnTo>
                      <a:pt x="f506" y="f241"/>
                    </a:lnTo>
                    <a:lnTo>
                      <a:pt x="f506" y="f215"/>
                    </a:lnTo>
                    <a:lnTo>
                      <a:pt x="f55" y="f199"/>
                    </a:lnTo>
                    <a:lnTo>
                      <a:pt x="f503" y="f507"/>
                    </a:lnTo>
                    <a:lnTo>
                      <a:pt x="f347" y="f195"/>
                    </a:lnTo>
                    <a:lnTo>
                      <a:pt x="f508" y="f509"/>
                    </a:lnTo>
                    <a:lnTo>
                      <a:pt x="f350" y="f510"/>
                    </a:lnTo>
                    <a:lnTo>
                      <a:pt x="f352" y="f194"/>
                    </a:lnTo>
                    <a:lnTo>
                      <a:pt x="f511" y="f512"/>
                    </a:lnTo>
                    <a:lnTo>
                      <a:pt x="f500" y="f192"/>
                    </a:lnTo>
                    <a:lnTo>
                      <a:pt x="f57" y="f513"/>
                    </a:lnTo>
                    <a:lnTo>
                      <a:pt x="f55" y="f514"/>
                    </a:lnTo>
                    <a:lnTo>
                      <a:pt x="f402" y="f515"/>
                    </a:lnTo>
                    <a:lnTo>
                      <a:pt x="f136" y="f6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78" name="Freeform 40">
                <a:extLst>
                  <a:ext uri="{FF2B5EF4-FFF2-40B4-BE49-F238E27FC236}">
                    <a16:creationId xmlns:a16="http://schemas.microsoft.com/office/drawing/2014/main" id="{CE7CA4FB-63D5-419C-965D-644B3D278646}"/>
                  </a:ext>
                </a:extLst>
              </p:cNvPr>
              <p:cNvSpPr/>
              <p:nvPr/>
            </p:nvSpPr>
            <p:spPr>
              <a:xfrm>
                <a:off x="4603839" y="2551057"/>
                <a:ext cx="125748" cy="78135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758"/>
                  <a:gd name="f8" fmla="val 480"/>
                  <a:gd name="f9" fmla="val 54"/>
                  <a:gd name="f10" fmla="val 58"/>
                  <a:gd name="f11" fmla="val 3"/>
                  <a:gd name="f12" fmla="val 64"/>
                  <a:gd name="f13" fmla="val 4"/>
                  <a:gd name="f14" fmla="val 69"/>
                  <a:gd name="f15" fmla="val 77"/>
                  <a:gd name="f16" fmla="val 7"/>
                  <a:gd name="f17" fmla="val 87"/>
                  <a:gd name="f18" fmla="val 12"/>
                  <a:gd name="f19" fmla="val 98"/>
                  <a:gd name="f20" fmla="val 18"/>
                  <a:gd name="f21" fmla="val 108"/>
                  <a:gd name="f22" fmla="val 23"/>
                  <a:gd name="f23" fmla="val 116"/>
                  <a:gd name="f24" fmla="val 26"/>
                  <a:gd name="f25" fmla="val 120"/>
                  <a:gd name="f26" fmla="val 25"/>
                  <a:gd name="f27" fmla="val 123"/>
                  <a:gd name="f28" fmla="val 22"/>
                  <a:gd name="f29" fmla="val 137"/>
                  <a:gd name="f30" fmla="val 30"/>
                  <a:gd name="f31" fmla="val 153"/>
                  <a:gd name="f32" fmla="val 40"/>
                  <a:gd name="f33" fmla="val 177"/>
                  <a:gd name="f34" fmla="val 52"/>
                  <a:gd name="f35" fmla="val 199"/>
                  <a:gd name="f36" fmla="val 62"/>
                  <a:gd name="f37" fmla="val 207"/>
                  <a:gd name="f38" fmla="val 70"/>
                  <a:gd name="f39" fmla="val 215"/>
                  <a:gd name="f40" fmla="val 73"/>
                  <a:gd name="f41" fmla="val 227"/>
                  <a:gd name="f42" fmla="val 72"/>
                  <a:gd name="f43" fmla="val 240"/>
                  <a:gd name="f44" fmla="val 68"/>
                  <a:gd name="f45" fmla="val 256"/>
                  <a:gd name="f46" fmla="val 61"/>
                  <a:gd name="f47" fmla="val 272"/>
                  <a:gd name="f48" fmla="val 286"/>
                  <a:gd name="f49" fmla="val 46"/>
                  <a:gd name="f50" fmla="val 304"/>
                  <a:gd name="f51" fmla="val 43"/>
                  <a:gd name="f52" fmla="val 319"/>
                  <a:gd name="f53" fmla="val 329"/>
                  <a:gd name="f54" fmla="val 39"/>
                  <a:gd name="f55" fmla="val 344"/>
                  <a:gd name="f56" fmla="val 37"/>
                  <a:gd name="f57" fmla="val 362"/>
                  <a:gd name="f58" fmla="val 379"/>
                  <a:gd name="f59" fmla="val 36"/>
                  <a:gd name="f60" fmla="val 392"/>
                  <a:gd name="f61" fmla="val 401"/>
                  <a:gd name="f62" fmla="val 413"/>
                  <a:gd name="f63" fmla="val 431"/>
                  <a:gd name="f64" fmla="val 50"/>
                  <a:gd name="f65" fmla="val 446"/>
                  <a:gd name="f66" fmla="val 51"/>
                  <a:gd name="f67" fmla="val 459"/>
                  <a:gd name="f68" fmla="val 474"/>
                  <a:gd name="f69" fmla="val 488"/>
                  <a:gd name="f70" fmla="val 497"/>
                  <a:gd name="f71" fmla="val 504"/>
                  <a:gd name="f72" fmla="val 66"/>
                  <a:gd name="f73" fmla="val 515"/>
                  <a:gd name="f74" fmla="val 530"/>
                  <a:gd name="f75" fmla="val 79"/>
                  <a:gd name="f76" fmla="val 546"/>
                  <a:gd name="f77" fmla="val 561"/>
                  <a:gd name="f78" fmla="val 94"/>
                  <a:gd name="f79" fmla="val 573"/>
                  <a:gd name="f80" fmla="val 101"/>
                  <a:gd name="f81" fmla="val 582"/>
                  <a:gd name="f82" fmla="val 105"/>
                  <a:gd name="f83" fmla="val 594"/>
                  <a:gd name="f84" fmla="val 111"/>
                  <a:gd name="f85" fmla="val 609"/>
                  <a:gd name="f86" fmla="val 624"/>
                  <a:gd name="f87" fmla="val 132"/>
                  <a:gd name="f88" fmla="val 637"/>
                  <a:gd name="f89" fmla="val 144"/>
                  <a:gd name="f90" fmla="val 651"/>
                  <a:gd name="f91" fmla="val 156"/>
                  <a:gd name="f92" fmla="val 666"/>
                  <a:gd name="f93" fmla="val 166"/>
                  <a:gd name="f94" fmla="val 680"/>
                  <a:gd name="f95" fmla="val 172"/>
                  <a:gd name="f96" fmla="val 688"/>
                  <a:gd name="f97" fmla="val 176"/>
                  <a:gd name="f98" fmla="val 691"/>
                  <a:gd name="f99" fmla="val 692"/>
                  <a:gd name="f100" fmla="val 187"/>
                  <a:gd name="f101" fmla="val 206"/>
                  <a:gd name="f102" fmla="val 699"/>
                  <a:gd name="f103" fmla="val 216"/>
                  <a:gd name="f104" fmla="val 711"/>
                  <a:gd name="f105" fmla="val 224"/>
                  <a:gd name="f106" fmla="val 727"/>
                  <a:gd name="f107" fmla="val 233"/>
                  <a:gd name="f108" fmla="val 740"/>
                  <a:gd name="f109" fmla="val 241"/>
                  <a:gd name="f110" fmla="val 749"/>
                  <a:gd name="f111" fmla="val 249"/>
                  <a:gd name="f112" fmla="val 752"/>
                  <a:gd name="f113" fmla="val 255"/>
                  <a:gd name="f114" fmla="val 754"/>
                  <a:gd name="f115" fmla="val 259"/>
                  <a:gd name="f116" fmla="val 262"/>
                  <a:gd name="f117" fmla="val 743"/>
                  <a:gd name="f118" fmla="val 270"/>
                  <a:gd name="f119" fmla="val 728"/>
                  <a:gd name="f120" fmla="val 277"/>
                  <a:gd name="f121" fmla="val 716"/>
                  <a:gd name="f122" fmla="val 283"/>
                  <a:gd name="f123" fmla="val 707"/>
                  <a:gd name="f124" fmla="val 288"/>
                  <a:gd name="f125" fmla="val 703"/>
                  <a:gd name="f126" fmla="val 294"/>
                  <a:gd name="f127" fmla="val 702"/>
                  <a:gd name="f128" fmla="val 301"/>
                  <a:gd name="f129" fmla="val 700"/>
                  <a:gd name="f130" fmla="val 309"/>
                  <a:gd name="f131" fmla="val 696"/>
                  <a:gd name="f132" fmla="val 316"/>
                  <a:gd name="f133" fmla="val 684"/>
                  <a:gd name="f134" fmla="val 310"/>
                  <a:gd name="f135" fmla="val 678"/>
                  <a:gd name="f136" fmla="val 671"/>
                  <a:gd name="f137" fmla="val 290"/>
                  <a:gd name="f138" fmla="val 664"/>
                  <a:gd name="f139" fmla="val 280"/>
                  <a:gd name="f140" fmla="val 659"/>
                  <a:gd name="f141" fmla="val 274"/>
                  <a:gd name="f142" fmla="val 655"/>
                  <a:gd name="f143" fmla="val 269"/>
                  <a:gd name="f144" fmla="val 653"/>
                  <a:gd name="f145" fmla="val 263"/>
                  <a:gd name="f146" fmla="val 656"/>
                  <a:gd name="f147" fmla="val 258"/>
                  <a:gd name="f148" fmla="val 660"/>
                  <a:gd name="f149" fmla="val 251"/>
                  <a:gd name="f150" fmla="val 247"/>
                  <a:gd name="f151" fmla="val 242"/>
                  <a:gd name="f152" fmla="val 644"/>
                  <a:gd name="f153" fmla="val 634"/>
                  <a:gd name="f154" fmla="val 627"/>
                  <a:gd name="f155" fmla="val 618"/>
                  <a:gd name="f156" fmla="val 245"/>
                  <a:gd name="f157" fmla="val 605"/>
                  <a:gd name="f158" fmla="val 248"/>
                  <a:gd name="f159" fmla="val 591"/>
                  <a:gd name="f160" fmla="val 580"/>
                  <a:gd name="f161" fmla="val 579"/>
                  <a:gd name="f162" fmla="val 590"/>
                  <a:gd name="f163" fmla="val 261"/>
                  <a:gd name="f164" fmla="val 600"/>
                  <a:gd name="f165" fmla="val 267"/>
                  <a:gd name="f166" fmla="val 622"/>
                  <a:gd name="f167" fmla="val 291"/>
                  <a:gd name="f168" fmla="val 298"/>
                  <a:gd name="f169" fmla="val 612"/>
                  <a:gd name="f170" fmla="val 305"/>
                  <a:gd name="f171" fmla="val 313"/>
                  <a:gd name="f172" fmla="val 598"/>
                  <a:gd name="f173" fmla="val 322"/>
                  <a:gd name="f174" fmla="val 584"/>
                  <a:gd name="f175" fmla="val 324"/>
                  <a:gd name="f176" fmla="val 327"/>
                  <a:gd name="f177" fmla="val 328"/>
                  <a:gd name="f178" fmla="val 572"/>
                  <a:gd name="f179" fmla="val 564"/>
                  <a:gd name="f180" fmla="val 323"/>
                  <a:gd name="f181" fmla="val 554"/>
                  <a:gd name="f182" fmla="val 317"/>
                  <a:gd name="f183" fmla="val 537"/>
                  <a:gd name="f184" fmla="val 525"/>
                  <a:gd name="f185" fmla="val 517"/>
                  <a:gd name="f186" fmla="val 306"/>
                  <a:gd name="f187" fmla="val 508"/>
                  <a:gd name="f188" fmla="val 302"/>
                  <a:gd name="f189" fmla="val 499"/>
                  <a:gd name="f190" fmla="val 490"/>
                  <a:gd name="f191" fmla="val 485"/>
                  <a:gd name="f192" fmla="val 481"/>
                  <a:gd name="f193" fmla="val 281"/>
                  <a:gd name="f194" fmla="val 477"/>
                  <a:gd name="f195" fmla="val 273"/>
                  <a:gd name="f196" fmla="val 472"/>
                  <a:gd name="f197" fmla="val 468"/>
                  <a:gd name="f198" fmla="val 461"/>
                  <a:gd name="f199" fmla="val 453"/>
                  <a:gd name="f200" fmla="val 445"/>
                  <a:gd name="f201" fmla="val 435"/>
                  <a:gd name="f202" fmla="val 425"/>
                  <a:gd name="f203" fmla="val 312"/>
                  <a:gd name="f204" fmla="val 399"/>
                  <a:gd name="f205" fmla="val 372"/>
                  <a:gd name="f206" fmla="val 361"/>
                  <a:gd name="f207" fmla="val 295"/>
                  <a:gd name="f208" fmla="val 351"/>
                  <a:gd name="f209" fmla="val 340"/>
                  <a:gd name="f210" fmla="val 297"/>
                  <a:gd name="f211" fmla="val 320"/>
                  <a:gd name="f212" fmla="val 326"/>
                  <a:gd name="f213" fmla="val 337"/>
                  <a:gd name="f214" fmla="val 345"/>
                  <a:gd name="f215" fmla="val 349"/>
                  <a:gd name="f216" fmla="val 355"/>
                  <a:gd name="f217" fmla="val 352"/>
                  <a:gd name="f218" fmla="val 367"/>
                  <a:gd name="f219" fmla="val 377"/>
                  <a:gd name="f220" fmla="val 343"/>
                  <a:gd name="f221" fmla="val 384"/>
                  <a:gd name="f222" fmla="val 333"/>
                  <a:gd name="f223" fmla="val 388"/>
                  <a:gd name="f224" fmla="val 391"/>
                  <a:gd name="f225" fmla="val 311"/>
                  <a:gd name="f226" fmla="val 395"/>
                  <a:gd name="f227" fmla="val 300"/>
                  <a:gd name="f228" fmla="val 406"/>
                  <a:gd name="f229" fmla="val 420"/>
                  <a:gd name="f230" fmla="val 424"/>
                  <a:gd name="f231" fmla="val 285"/>
                  <a:gd name="f232" fmla="val 278"/>
                  <a:gd name="f233" fmla="val 444"/>
                  <a:gd name="f234" fmla="val 462"/>
                  <a:gd name="f235" fmla="val 260"/>
                  <a:gd name="f236" fmla="val 469"/>
                  <a:gd name="f237" fmla="val 246"/>
                  <a:gd name="f238" fmla="val 451"/>
                  <a:gd name="f239" fmla="val 239"/>
                  <a:gd name="f240" fmla="val 236"/>
                  <a:gd name="f241" fmla="val 441"/>
                  <a:gd name="f242" fmla="val 229"/>
                  <a:gd name="f243" fmla="val 222"/>
                  <a:gd name="f244" fmla="val 217"/>
                  <a:gd name="f245" fmla="val 428"/>
                  <a:gd name="f246" fmla="val 427"/>
                  <a:gd name="f247" fmla="val 220"/>
                  <a:gd name="f248" fmla="val 423"/>
                  <a:gd name="f249" fmla="val 414"/>
                  <a:gd name="f250" fmla="val 403"/>
                  <a:gd name="f251" fmla="val 231"/>
                  <a:gd name="f252" fmla="val 235"/>
                  <a:gd name="f253" fmla="val 383"/>
                  <a:gd name="f254" fmla="val 378"/>
                  <a:gd name="f255" fmla="val 374"/>
                  <a:gd name="f256" fmla="val 225"/>
                  <a:gd name="f257" fmla="val 371"/>
                  <a:gd name="f258" fmla="val 369"/>
                  <a:gd name="f259" fmla="val 211"/>
                  <a:gd name="f260" fmla="val 365"/>
                  <a:gd name="f261" fmla="val 210"/>
                  <a:gd name="f262" fmla="val 209"/>
                  <a:gd name="f263" fmla="val 342"/>
                  <a:gd name="f264" fmla="val 202"/>
                  <a:gd name="f265" fmla="val 198"/>
                  <a:gd name="f266" fmla="val 200"/>
                  <a:gd name="f267" fmla="val 204"/>
                  <a:gd name="f268" fmla="val 266"/>
                  <a:gd name="f269" fmla="val 244"/>
                  <a:gd name="f270" fmla="val 191"/>
                  <a:gd name="f271" fmla="val 167"/>
                  <a:gd name="f272" fmla="val 157"/>
                  <a:gd name="f273" fmla="val 226"/>
                  <a:gd name="f274" fmla="val 149"/>
                  <a:gd name="f275" fmla="val 146"/>
                  <a:gd name="f276" fmla="val 148"/>
                  <a:gd name="f277" fmla="val 181"/>
                  <a:gd name="f278" fmla="val 175"/>
                  <a:gd name="f279" fmla="val 134"/>
                  <a:gd name="f280" fmla="val 173"/>
                  <a:gd name="f281" fmla="val 113"/>
                  <a:gd name="f282" fmla="val 104"/>
                  <a:gd name="f283" fmla="val 161"/>
                  <a:gd name="f284" fmla="val 91"/>
                  <a:gd name="f285" fmla="val 80"/>
                  <a:gd name="f286" fmla="val 152"/>
                  <a:gd name="f287" fmla="val 145"/>
                  <a:gd name="f288" fmla="val 65"/>
                  <a:gd name="f289" fmla="val 136"/>
                  <a:gd name="f290" fmla="val 59"/>
                  <a:gd name="f291" fmla="val 126"/>
                  <a:gd name="f292" fmla="val 118"/>
                  <a:gd name="f293" fmla="val 75"/>
                  <a:gd name="f294" fmla="val 115"/>
                  <a:gd name="f295" fmla="val 81"/>
                  <a:gd name="f296" fmla="val 93"/>
                  <a:gd name="f297" fmla="val 102"/>
                  <a:gd name="f298" fmla="val 122"/>
                  <a:gd name="f299" fmla="val 112"/>
                  <a:gd name="f300" fmla="val 130"/>
                  <a:gd name="f301" fmla="val 117"/>
                  <a:gd name="f302" fmla="val 127"/>
                  <a:gd name="f303" fmla="val 133"/>
                  <a:gd name="f304" fmla="val 107"/>
                  <a:gd name="f305" fmla="val 95"/>
                  <a:gd name="f306" fmla="val 141"/>
                  <a:gd name="f307" fmla="val 86"/>
                  <a:gd name="f308" fmla="val 142"/>
                  <a:gd name="f309" fmla="val 139"/>
                  <a:gd name="f310" fmla="val 44"/>
                  <a:gd name="f311" fmla="val 109"/>
                  <a:gd name="f312" fmla="val 88"/>
                  <a:gd name="f313" fmla="val 84"/>
                  <a:gd name="f314" fmla="val 82"/>
                  <a:gd name="f315" fmla="val 83"/>
                  <a:gd name="f316" fmla="val 19"/>
                  <a:gd name="f317" fmla="val 48"/>
                  <a:gd name="f318" fmla="val 32"/>
                  <a:gd name="f319" fmla="val 14"/>
                  <a:gd name="f320" fmla="val 10"/>
                  <a:gd name="f321" fmla="val 9"/>
                  <a:gd name="f322" fmla="val 5"/>
                  <a:gd name="f323" fmla="+- 0 0 -90"/>
                  <a:gd name="f324" fmla="*/ f4 1 758"/>
                  <a:gd name="f325" fmla="*/ f5 1 480"/>
                  <a:gd name="f326" fmla="+- f8 0 f6"/>
                  <a:gd name="f327" fmla="+- f7 0 f6"/>
                  <a:gd name="f328" fmla="*/ f323 f0 1"/>
                  <a:gd name="f329" fmla="*/ f327 1 758"/>
                  <a:gd name="f330" fmla="*/ f326 1 480"/>
                  <a:gd name="f331" fmla="*/ f328 1 f3"/>
                  <a:gd name="f332" fmla="*/ 69 1 f329"/>
                  <a:gd name="f333" fmla="*/ 4 1 f330"/>
                  <a:gd name="f334" fmla="*/ 108 1 f329"/>
                  <a:gd name="f335" fmla="*/ 23 1 f330"/>
                  <a:gd name="f336" fmla="*/ 137 1 f329"/>
                  <a:gd name="f337" fmla="*/ 30 1 f330"/>
                  <a:gd name="f338" fmla="*/ 207 1 f329"/>
                  <a:gd name="f339" fmla="*/ 70 1 f330"/>
                  <a:gd name="f340" fmla="*/ 256 1 f329"/>
                  <a:gd name="f341" fmla="*/ 61 1 f330"/>
                  <a:gd name="f342" fmla="*/ 319 1 f329"/>
                  <a:gd name="f343" fmla="*/ 40 1 f330"/>
                  <a:gd name="f344" fmla="*/ 379 1 f329"/>
                  <a:gd name="f345" fmla="*/ 36 1 f330"/>
                  <a:gd name="f346" fmla="*/ 431 1 f329"/>
                  <a:gd name="f347" fmla="*/ 50 1 f330"/>
                  <a:gd name="f348" fmla="*/ 488 1 f329"/>
                  <a:gd name="f349" fmla="*/ 58 1 f330"/>
                  <a:gd name="f350" fmla="*/ 530 1 f329"/>
                  <a:gd name="f351" fmla="*/ 79 1 f330"/>
                  <a:gd name="f352" fmla="*/ 582 1 f329"/>
                  <a:gd name="f353" fmla="*/ 105 1 f330"/>
                  <a:gd name="f354" fmla="*/ 637 1 f329"/>
                  <a:gd name="f355" fmla="*/ 144 1 f330"/>
                  <a:gd name="f356" fmla="*/ 688 1 f329"/>
                  <a:gd name="f357" fmla="*/ 176 1 f330"/>
                  <a:gd name="f358" fmla="*/ 699 1 f329"/>
                  <a:gd name="f359" fmla="*/ 216 1 f330"/>
                  <a:gd name="f360" fmla="*/ 749 1 f329"/>
                  <a:gd name="f361" fmla="*/ 249 1 f330"/>
                  <a:gd name="f362" fmla="*/ 743 1 f329"/>
                  <a:gd name="f363" fmla="*/ 270 1 f330"/>
                  <a:gd name="f364" fmla="*/ 703 1 f329"/>
                  <a:gd name="f365" fmla="*/ 294 1 f330"/>
                  <a:gd name="f366" fmla="*/ 691 1 f329"/>
                  <a:gd name="f367" fmla="*/ 316 1 f330"/>
                  <a:gd name="f368" fmla="*/ 664 1 f329"/>
                  <a:gd name="f369" fmla="*/ 280 1 f330"/>
                  <a:gd name="f370" fmla="*/ 656 1 f329"/>
                  <a:gd name="f371" fmla="*/ 258 1 f330"/>
                  <a:gd name="f372" fmla="*/ 644 1 f329"/>
                  <a:gd name="f373" fmla="*/ 240 1 f330"/>
                  <a:gd name="f374" fmla="*/ 605 1 f329"/>
                  <a:gd name="f375" fmla="*/ 248 1 f330"/>
                  <a:gd name="f376" fmla="*/ 259 1 f330"/>
                  <a:gd name="f377" fmla="*/ 618 1 f329"/>
                  <a:gd name="f378" fmla="*/ 274 1 f330"/>
                  <a:gd name="f379" fmla="*/ 612 1 f329"/>
                  <a:gd name="f380" fmla="*/ 305 1 f330"/>
                  <a:gd name="f381" fmla="*/ 591 1 f329"/>
                  <a:gd name="f382" fmla="*/ 322 1 f330"/>
                  <a:gd name="f383" fmla="*/ 572 1 f329"/>
                  <a:gd name="f384" fmla="*/ 327 1 f330"/>
                  <a:gd name="f385" fmla="*/ 525 1 f329"/>
                  <a:gd name="f386" fmla="*/ 309 1 f330"/>
                  <a:gd name="f387" fmla="*/ 490 1 f329"/>
                  <a:gd name="f388" fmla="*/ 298 1 f330"/>
                  <a:gd name="f389" fmla="*/ 472 1 f329"/>
                  <a:gd name="f390" fmla="*/ 272 1 f330"/>
                  <a:gd name="f391" fmla="*/ 445 1 f329"/>
                  <a:gd name="f392" fmla="*/ 301 1 f330"/>
                  <a:gd name="f393" fmla="*/ 399 1 f329"/>
                  <a:gd name="f394" fmla="*/ 340 1 f329"/>
                  <a:gd name="f395" fmla="*/ 297 1 f330"/>
                  <a:gd name="f396" fmla="*/ 326 1 f329"/>
                  <a:gd name="f397" fmla="*/ 352 1 f329"/>
                  <a:gd name="f398" fmla="*/ 367 1 f330"/>
                  <a:gd name="f399" fmla="*/ 322 1 f329"/>
                  <a:gd name="f400" fmla="*/ 391 1 f330"/>
                  <a:gd name="f401" fmla="*/ 297 1 f329"/>
                  <a:gd name="f402" fmla="*/ 406 1 f330"/>
                  <a:gd name="f403" fmla="*/ 278 1 f329"/>
                  <a:gd name="f404" fmla="*/ 444 1 f330"/>
                  <a:gd name="f405" fmla="*/ 246 1 f329"/>
                  <a:gd name="f406" fmla="*/ 459 1 f330"/>
                  <a:gd name="f407" fmla="*/ 229 1 f329"/>
                  <a:gd name="f408" fmla="*/ 435 1 f330"/>
                  <a:gd name="f409" fmla="*/ 220 1 f329"/>
                  <a:gd name="f410" fmla="*/ 423 1 f330"/>
                  <a:gd name="f411" fmla="*/ 235 1 f329"/>
                  <a:gd name="f412" fmla="*/ 383 1 f330"/>
                  <a:gd name="f413" fmla="*/ 217 1 f329"/>
                  <a:gd name="f414" fmla="*/ 369 1 f330"/>
                  <a:gd name="f415" fmla="*/ 206 1 f329"/>
                  <a:gd name="f416" fmla="*/ 342 1 f330"/>
                  <a:gd name="f417" fmla="*/ 200 1 f329"/>
                  <a:gd name="f418" fmla="*/ 312 1 f330"/>
                  <a:gd name="f419" fmla="*/ 210 1 f329"/>
                  <a:gd name="f420" fmla="*/ 266 1 f330"/>
                  <a:gd name="f421" fmla="*/ 191 1 f329"/>
                  <a:gd name="f422" fmla="*/ 241 1 f330"/>
                  <a:gd name="f423" fmla="*/ 149 1 f329"/>
                  <a:gd name="f424" fmla="*/ 215 1 f330"/>
                  <a:gd name="f425" fmla="*/ 156 1 f329"/>
                  <a:gd name="f426" fmla="*/ 181 1 f330"/>
                  <a:gd name="f427" fmla="*/ 134 1 f329"/>
                  <a:gd name="f428" fmla="*/ 91 1 f329"/>
                  <a:gd name="f429" fmla="*/ 156 1 f330"/>
                  <a:gd name="f430" fmla="*/ 59 1 f329"/>
                  <a:gd name="f431" fmla="*/ 126 1 f330"/>
                  <a:gd name="f432" fmla="*/ 75 1 f329"/>
                  <a:gd name="f433" fmla="*/ 115 1 f330"/>
                  <a:gd name="f434" fmla="*/ 112 1 f329"/>
                  <a:gd name="f435" fmla="*/ 130 1 f330"/>
                  <a:gd name="f436" fmla="*/ 133 1 f329"/>
                  <a:gd name="f437" fmla="*/ 107 1 f330"/>
                  <a:gd name="f438" fmla="*/ 139 1 f329"/>
                  <a:gd name="f439" fmla="*/ 68 1 f330"/>
                  <a:gd name="f440" fmla="*/ 109 1 f329"/>
                  <a:gd name="f441" fmla="*/ 44 1 f330"/>
                  <a:gd name="f442" fmla="*/ 77 1 f329"/>
                  <a:gd name="f443" fmla="*/ 77 1 f330"/>
                  <a:gd name="f444" fmla="*/ 26 1 f329"/>
                  <a:gd name="f445" fmla="*/ 80 1 f330"/>
                  <a:gd name="f446" fmla="*/ 3 1 f329"/>
                  <a:gd name="f447" fmla="*/ 32 1 f330"/>
                  <a:gd name="f448" fmla="*/ 39 1 f329"/>
                  <a:gd name="f449" fmla="*/ 5 1 f330"/>
                  <a:gd name="f450" fmla="*/ 0 1 f329"/>
                  <a:gd name="f451" fmla="*/ f7 1 f329"/>
                  <a:gd name="f452" fmla="*/ 0 1 f330"/>
                  <a:gd name="f453" fmla="*/ f8 1 f330"/>
                  <a:gd name="f454" fmla="+- f331 0 f1"/>
                  <a:gd name="f455" fmla="*/ f450 f324 1"/>
                  <a:gd name="f456" fmla="*/ f451 f324 1"/>
                  <a:gd name="f457" fmla="*/ f453 f325 1"/>
                  <a:gd name="f458" fmla="*/ f452 f325 1"/>
                  <a:gd name="f459" fmla="*/ f332 f324 1"/>
                  <a:gd name="f460" fmla="*/ f333 f325 1"/>
                  <a:gd name="f461" fmla="*/ f334 f324 1"/>
                  <a:gd name="f462" fmla="*/ f335 f325 1"/>
                  <a:gd name="f463" fmla="*/ f336 f324 1"/>
                  <a:gd name="f464" fmla="*/ f337 f325 1"/>
                  <a:gd name="f465" fmla="*/ f338 f324 1"/>
                  <a:gd name="f466" fmla="*/ f339 f325 1"/>
                  <a:gd name="f467" fmla="*/ f340 f324 1"/>
                  <a:gd name="f468" fmla="*/ f341 f325 1"/>
                  <a:gd name="f469" fmla="*/ f342 f324 1"/>
                  <a:gd name="f470" fmla="*/ f343 f325 1"/>
                  <a:gd name="f471" fmla="*/ f344 f324 1"/>
                  <a:gd name="f472" fmla="*/ f345 f325 1"/>
                  <a:gd name="f473" fmla="*/ f346 f324 1"/>
                  <a:gd name="f474" fmla="*/ f347 f325 1"/>
                  <a:gd name="f475" fmla="*/ f348 f324 1"/>
                  <a:gd name="f476" fmla="*/ f349 f325 1"/>
                  <a:gd name="f477" fmla="*/ f350 f324 1"/>
                  <a:gd name="f478" fmla="*/ f351 f325 1"/>
                  <a:gd name="f479" fmla="*/ f352 f324 1"/>
                  <a:gd name="f480" fmla="*/ f353 f325 1"/>
                  <a:gd name="f481" fmla="*/ f354 f324 1"/>
                  <a:gd name="f482" fmla="*/ f355 f325 1"/>
                  <a:gd name="f483" fmla="*/ f356 f324 1"/>
                  <a:gd name="f484" fmla="*/ f357 f325 1"/>
                  <a:gd name="f485" fmla="*/ f358 f324 1"/>
                  <a:gd name="f486" fmla="*/ f359 f325 1"/>
                  <a:gd name="f487" fmla="*/ f360 f324 1"/>
                  <a:gd name="f488" fmla="*/ f361 f325 1"/>
                  <a:gd name="f489" fmla="*/ f362 f324 1"/>
                  <a:gd name="f490" fmla="*/ f363 f325 1"/>
                  <a:gd name="f491" fmla="*/ f364 f324 1"/>
                  <a:gd name="f492" fmla="*/ f365 f325 1"/>
                  <a:gd name="f493" fmla="*/ f366 f324 1"/>
                  <a:gd name="f494" fmla="*/ f367 f325 1"/>
                  <a:gd name="f495" fmla="*/ f368 f324 1"/>
                  <a:gd name="f496" fmla="*/ f369 f325 1"/>
                  <a:gd name="f497" fmla="*/ f370 f324 1"/>
                  <a:gd name="f498" fmla="*/ f371 f325 1"/>
                  <a:gd name="f499" fmla="*/ f372 f324 1"/>
                  <a:gd name="f500" fmla="*/ f373 f325 1"/>
                  <a:gd name="f501" fmla="*/ f374 f324 1"/>
                  <a:gd name="f502" fmla="*/ f375 f325 1"/>
                  <a:gd name="f503" fmla="*/ f376 f325 1"/>
                  <a:gd name="f504" fmla="*/ f377 f324 1"/>
                  <a:gd name="f505" fmla="*/ f378 f325 1"/>
                  <a:gd name="f506" fmla="*/ f379 f324 1"/>
                  <a:gd name="f507" fmla="*/ f380 f325 1"/>
                  <a:gd name="f508" fmla="*/ f381 f324 1"/>
                  <a:gd name="f509" fmla="*/ f382 f325 1"/>
                  <a:gd name="f510" fmla="*/ f383 f324 1"/>
                  <a:gd name="f511" fmla="*/ f384 f325 1"/>
                  <a:gd name="f512" fmla="*/ f385 f324 1"/>
                  <a:gd name="f513" fmla="*/ f386 f325 1"/>
                  <a:gd name="f514" fmla="*/ f387 f324 1"/>
                  <a:gd name="f515" fmla="*/ f388 f325 1"/>
                  <a:gd name="f516" fmla="*/ f389 f324 1"/>
                  <a:gd name="f517" fmla="*/ f390 f325 1"/>
                  <a:gd name="f518" fmla="*/ f391 f324 1"/>
                  <a:gd name="f519" fmla="*/ f392 f325 1"/>
                  <a:gd name="f520" fmla="*/ f393 f324 1"/>
                  <a:gd name="f521" fmla="*/ f394 f324 1"/>
                  <a:gd name="f522" fmla="*/ f395 f325 1"/>
                  <a:gd name="f523" fmla="*/ f396 f324 1"/>
                  <a:gd name="f524" fmla="*/ f397 f324 1"/>
                  <a:gd name="f525" fmla="*/ f398 f325 1"/>
                  <a:gd name="f526" fmla="*/ f399 f324 1"/>
                  <a:gd name="f527" fmla="*/ f400 f325 1"/>
                  <a:gd name="f528" fmla="*/ f401 f324 1"/>
                  <a:gd name="f529" fmla="*/ f402 f325 1"/>
                  <a:gd name="f530" fmla="*/ f403 f324 1"/>
                  <a:gd name="f531" fmla="*/ f404 f325 1"/>
                  <a:gd name="f532" fmla="*/ f405 f324 1"/>
                  <a:gd name="f533" fmla="*/ f406 f325 1"/>
                  <a:gd name="f534" fmla="*/ f407 f324 1"/>
                  <a:gd name="f535" fmla="*/ f408 f325 1"/>
                  <a:gd name="f536" fmla="*/ f409 f324 1"/>
                  <a:gd name="f537" fmla="*/ f410 f325 1"/>
                  <a:gd name="f538" fmla="*/ f411 f324 1"/>
                  <a:gd name="f539" fmla="*/ f412 f325 1"/>
                  <a:gd name="f540" fmla="*/ f413 f324 1"/>
                  <a:gd name="f541" fmla="*/ f414 f325 1"/>
                  <a:gd name="f542" fmla="*/ f415 f324 1"/>
                  <a:gd name="f543" fmla="*/ f416 f325 1"/>
                  <a:gd name="f544" fmla="*/ f417 f324 1"/>
                  <a:gd name="f545" fmla="*/ f418 f325 1"/>
                  <a:gd name="f546" fmla="*/ f419 f324 1"/>
                  <a:gd name="f547" fmla="*/ f420 f325 1"/>
                  <a:gd name="f548" fmla="*/ f421 f324 1"/>
                  <a:gd name="f549" fmla="*/ f422 f325 1"/>
                  <a:gd name="f550" fmla="*/ f423 f324 1"/>
                  <a:gd name="f551" fmla="*/ f424 f325 1"/>
                  <a:gd name="f552" fmla="*/ f425 f324 1"/>
                  <a:gd name="f553" fmla="*/ f426 f325 1"/>
                  <a:gd name="f554" fmla="*/ f427 f324 1"/>
                  <a:gd name="f555" fmla="*/ f428 f324 1"/>
                  <a:gd name="f556" fmla="*/ f429 f325 1"/>
                  <a:gd name="f557" fmla="*/ f430 f324 1"/>
                  <a:gd name="f558" fmla="*/ f431 f325 1"/>
                  <a:gd name="f559" fmla="*/ f432 f324 1"/>
                  <a:gd name="f560" fmla="*/ f433 f325 1"/>
                  <a:gd name="f561" fmla="*/ f434 f324 1"/>
                  <a:gd name="f562" fmla="*/ f435 f325 1"/>
                  <a:gd name="f563" fmla="*/ f436 f324 1"/>
                  <a:gd name="f564" fmla="*/ f437 f325 1"/>
                  <a:gd name="f565" fmla="*/ f438 f324 1"/>
                  <a:gd name="f566" fmla="*/ f439 f325 1"/>
                  <a:gd name="f567" fmla="*/ f440 f324 1"/>
                  <a:gd name="f568" fmla="*/ f441 f325 1"/>
                  <a:gd name="f569" fmla="*/ f442 f324 1"/>
                  <a:gd name="f570" fmla="*/ f443 f325 1"/>
                  <a:gd name="f571" fmla="*/ f444 f324 1"/>
                  <a:gd name="f572" fmla="*/ f445 f325 1"/>
                  <a:gd name="f573" fmla="*/ f446 f324 1"/>
                  <a:gd name="f574" fmla="*/ f447 f325 1"/>
                  <a:gd name="f575" fmla="*/ f448 f324 1"/>
                  <a:gd name="f576" fmla="*/ f449 f32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54">
                    <a:pos x="f459" y="f460"/>
                  </a:cxn>
                  <a:cxn ang="f454">
                    <a:pos x="f461" y="f462"/>
                  </a:cxn>
                  <a:cxn ang="f454">
                    <a:pos x="f463" y="f464"/>
                  </a:cxn>
                  <a:cxn ang="f454">
                    <a:pos x="f465" y="f466"/>
                  </a:cxn>
                  <a:cxn ang="f454">
                    <a:pos x="f467" y="f468"/>
                  </a:cxn>
                  <a:cxn ang="f454">
                    <a:pos x="f469" y="f470"/>
                  </a:cxn>
                  <a:cxn ang="f454">
                    <a:pos x="f471" y="f472"/>
                  </a:cxn>
                  <a:cxn ang="f454">
                    <a:pos x="f473" y="f474"/>
                  </a:cxn>
                  <a:cxn ang="f454">
                    <a:pos x="f475" y="f476"/>
                  </a:cxn>
                  <a:cxn ang="f454">
                    <a:pos x="f477" y="f478"/>
                  </a:cxn>
                  <a:cxn ang="f454">
                    <a:pos x="f479" y="f480"/>
                  </a:cxn>
                  <a:cxn ang="f454">
                    <a:pos x="f481" y="f482"/>
                  </a:cxn>
                  <a:cxn ang="f454">
                    <a:pos x="f483" y="f484"/>
                  </a:cxn>
                  <a:cxn ang="f454">
                    <a:pos x="f485" y="f486"/>
                  </a:cxn>
                  <a:cxn ang="f454">
                    <a:pos x="f487" y="f488"/>
                  </a:cxn>
                  <a:cxn ang="f454">
                    <a:pos x="f489" y="f490"/>
                  </a:cxn>
                  <a:cxn ang="f454">
                    <a:pos x="f491" y="f492"/>
                  </a:cxn>
                  <a:cxn ang="f454">
                    <a:pos x="f493" y="f494"/>
                  </a:cxn>
                  <a:cxn ang="f454">
                    <a:pos x="f495" y="f496"/>
                  </a:cxn>
                  <a:cxn ang="f454">
                    <a:pos x="f497" y="f498"/>
                  </a:cxn>
                  <a:cxn ang="f454">
                    <a:pos x="f499" y="f500"/>
                  </a:cxn>
                  <a:cxn ang="f454">
                    <a:pos x="f501" y="f502"/>
                  </a:cxn>
                  <a:cxn ang="f454">
                    <a:pos x="f479" y="f503"/>
                  </a:cxn>
                  <a:cxn ang="f454">
                    <a:pos x="f504" y="f505"/>
                  </a:cxn>
                  <a:cxn ang="f454">
                    <a:pos x="f506" y="f507"/>
                  </a:cxn>
                  <a:cxn ang="f454">
                    <a:pos x="f508" y="f509"/>
                  </a:cxn>
                  <a:cxn ang="f454">
                    <a:pos x="f510" y="f511"/>
                  </a:cxn>
                  <a:cxn ang="f454">
                    <a:pos x="f512" y="f513"/>
                  </a:cxn>
                  <a:cxn ang="f454">
                    <a:pos x="f514" y="f515"/>
                  </a:cxn>
                  <a:cxn ang="f454">
                    <a:pos x="f516" y="f517"/>
                  </a:cxn>
                  <a:cxn ang="f454">
                    <a:pos x="f518" y="f519"/>
                  </a:cxn>
                  <a:cxn ang="f454">
                    <a:pos x="f520" y="f513"/>
                  </a:cxn>
                  <a:cxn ang="f454">
                    <a:pos x="f521" y="f522"/>
                  </a:cxn>
                  <a:cxn ang="f454">
                    <a:pos x="f523" y="f511"/>
                  </a:cxn>
                  <a:cxn ang="f454">
                    <a:pos x="f524" y="f525"/>
                  </a:cxn>
                  <a:cxn ang="f454">
                    <a:pos x="f526" y="f527"/>
                  </a:cxn>
                  <a:cxn ang="f454">
                    <a:pos x="f528" y="f529"/>
                  </a:cxn>
                  <a:cxn ang="f454">
                    <a:pos x="f530" y="f531"/>
                  </a:cxn>
                  <a:cxn ang="f454">
                    <a:pos x="f532" y="f533"/>
                  </a:cxn>
                  <a:cxn ang="f454">
                    <a:pos x="f534" y="f535"/>
                  </a:cxn>
                  <a:cxn ang="f454">
                    <a:pos x="f536" y="f537"/>
                  </a:cxn>
                  <a:cxn ang="f454">
                    <a:pos x="f538" y="f539"/>
                  </a:cxn>
                  <a:cxn ang="f454">
                    <a:pos x="f540" y="f541"/>
                  </a:cxn>
                  <a:cxn ang="f454">
                    <a:pos x="f542" y="f543"/>
                  </a:cxn>
                  <a:cxn ang="f454">
                    <a:pos x="f544" y="f545"/>
                  </a:cxn>
                  <a:cxn ang="f454">
                    <a:pos x="f546" y="f547"/>
                  </a:cxn>
                  <a:cxn ang="f454">
                    <a:pos x="f548" y="f549"/>
                  </a:cxn>
                  <a:cxn ang="f454">
                    <a:pos x="f550" y="f551"/>
                  </a:cxn>
                  <a:cxn ang="f454">
                    <a:pos x="f552" y="f553"/>
                  </a:cxn>
                  <a:cxn ang="f454">
                    <a:pos x="f554" y="f484"/>
                  </a:cxn>
                  <a:cxn ang="f454">
                    <a:pos x="f555" y="f556"/>
                  </a:cxn>
                  <a:cxn ang="f454">
                    <a:pos x="f557" y="f558"/>
                  </a:cxn>
                  <a:cxn ang="f454">
                    <a:pos x="f559" y="f560"/>
                  </a:cxn>
                  <a:cxn ang="f454">
                    <a:pos x="f561" y="f562"/>
                  </a:cxn>
                  <a:cxn ang="f454">
                    <a:pos x="f563" y="f564"/>
                  </a:cxn>
                  <a:cxn ang="f454">
                    <a:pos x="f565" y="f566"/>
                  </a:cxn>
                  <a:cxn ang="f454">
                    <a:pos x="f567" y="f568"/>
                  </a:cxn>
                  <a:cxn ang="f454">
                    <a:pos x="f569" y="f570"/>
                  </a:cxn>
                  <a:cxn ang="f454">
                    <a:pos x="f571" y="f572"/>
                  </a:cxn>
                  <a:cxn ang="f454">
                    <a:pos x="f573" y="f574"/>
                  </a:cxn>
                  <a:cxn ang="f454">
                    <a:pos x="f575" y="f576"/>
                  </a:cxn>
                </a:cxnLst>
                <a:rect l="f455" t="f458" r="f456" b="f457"/>
                <a:pathLst>
                  <a:path w="758" h="480">
                    <a:moveTo>
                      <a:pt x="f9" y="f6"/>
                    </a:move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3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9"/>
                    </a:lnTo>
                    <a:lnTo>
                      <a:pt x="f48" y="f49"/>
                    </a:lnTo>
                    <a:lnTo>
                      <a:pt x="f50" y="f51"/>
                    </a:lnTo>
                    <a:lnTo>
                      <a:pt x="f52" y="f3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6"/>
                    </a:lnTo>
                    <a:lnTo>
                      <a:pt x="f58" y="f59"/>
                    </a:lnTo>
                    <a:lnTo>
                      <a:pt x="f60" y="f56"/>
                    </a:lnTo>
                    <a:lnTo>
                      <a:pt x="f61" y="f54"/>
                    </a:lnTo>
                    <a:lnTo>
                      <a:pt x="f62" y="f49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7" y="f34"/>
                    </a:lnTo>
                    <a:lnTo>
                      <a:pt x="f68" y="f9"/>
                    </a:lnTo>
                    <a:lnTo>
                      <a:pt x="f69" y="f10"/>
                    </a:lnTo>
                    <a:lnTo>
                      <a:pt x="f70" y="f36"/>
                    </a:lnTo>
                    <a:lnTo>
                      <a:pt x="f71" y="f72"/>
                    </a:lnTo>
                    <a:lnTo>
                      <a:pt x="f73" y="f42"/>
                    </a:lnTo>
                    <a:lnTo>
                      <a:pt x="f74" y="f75"/>
                    </a:lnTo>
                    <a:lnTo>
                      <a:pt x="f76" y="f17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2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3"/>
                    </a:lnTo>
                    <a:lnTo>
                      <a:pt x="f99" y="f100"/>
                    </a:lnTo>
                    <a:lnTo>
                      <a:pt x="f99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7" y="f116"/>
                    </a:lnTo>
                    <a:lnTo>
                      <a:pt x="f117" y="f118"/>
                    </a:lnTo>
                    <a:lnTo>
                      <a:pt x="f119" y="f120"/>
                    </a:lnTo>
                    <a:lnTo>
                      <a:pt x="f121" y="f122"/>
                    </a:lnTo>
                    <a:lnTo>
                      <a:pt x="f123" y="f124"/>
                    </a:lnTo>
                    <a:lnTo>
                      <a:pt x="f125" y="f126"/>
                    </a:ln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lnTo>
                      <a:pt x="f98" y="f132"/>
                    </a:lnTo>
                    <a:lnTo>
                      <a:pt x="f133" y="f134"/>
                    </a:lnTo>
                    <a:lnTo>
                      <a:pt x="f135" y="f128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48" y="f150"/>
                    </a:lnTo>
                    <a:lnTo>
                      <a:pt x="f144" y="f151"/>
                    </a:lnTo>
                    <a:lnTo>
                      <a:pt x="f152" y="f43"/>
                    </a:lnTo>
                    <a:lnTo>
                      <a:pt x="f153" y="f43"/>
                    </a:lnTo>
                    <a:lnTo>
                      <a:pt x="f154" y="f109"/>
                    </a:lnTo>
                    <a:lnTo>
                      <a:pt x="f155" y="f156"/>
                    </a:lnTo>
                    <a:lnTo>
                      <a:pt x="f157" y="f158"/>
                    </a:lnTo>
                    <a:lnTo>
                      <a:pt x="f159" y="f149"/>
                    </a:lnTo>
                    <a:lnTo>
                      <a:pt x="f160" y="f113"/>
                    </a:lnTo>
                    <a:lnTo>
                      <a:pt x="f161" y="f147"/>
                    </a:lnTo>
                    <a:lnTo>
                      <a:pt x="f81" y="f115"/>
                    </a:lnTo>
                    <a:lnTo>
                      <a:pt x="f162" y="f163"/>
                    </a:lnTo>
                    <a:lnTo>
                      <a:pt x="f164" y="f145"/>
                    </a:lnTo>
                    <a:lnTo>
                      <a:pt x="f85" y="f165"/>
                    </a:lnTo>
                    <a:lnTo>
                      <a:pt x="f155" y="f141"/>
                    </a:lnTo>
                    <a:lnTo>
                      <a:pt x="f166" y="f122"/>
                    </a:lnTo>
                    <a:lnTo>
                      <a:pt x="f166" y="f167"/>
                    </a:lnTo>
                    <a:lnTo>
                      <a:pt x="f155" y="f168"/>
                    </a:lnTo>
                    <a:lnTo>
                      <a:pt x="f169" y="f170"/>
                    </a:lnTo>
                    <a:lnTo>
                      <a:pt x="f85" y="f171"/>
                    </a:lnTo>
                    <a:lnTo>
                      <a:pt x="f157" y="f52"/>
                    </a:lnTo>
                    <a:lnTo>
                      <a:pt x="f172" y="f173"/>
                    </a:lnTo>
                    <a:lnTo>
                      <a:pt x="f159" y="f173"/>
                    </a:lnTo>
                    <a:lnTo>
                      <a:pt x="f174" y="f175"/>
                    </a:lnTo>
                    <a:lnTo>
                      <a:pt x="f81" y="f176"/>
                    </a:lnTo>
                    <a:lnTo>
                      <a:pt x="f161" y="f177"/>
                    </a:lnTo>
                    <a:lnTo>
                      <a:pt x="f178" y="f176"/>
                    </a:lnTo>
                    <a:lnTo>
                      <a:pt x="f179" y="f180"/>
                    </a:lnTo>
                    <a:lnTo>
                      <a:pt x="f181" y="f182"/>
                    </a:lnTo>
                    <a:lnTo>
                      <a:pt x="f183" y="f130"/>
                    </a:lnTo>
                    <a:lnTo>
                      <a:pt x="f184" y="f130"/>
                    </a:lnTo>
                    <a:lnTo>
                      <a:pt x="f185" y="f186"/>
                    </a:lnTo>
                    <a:lnTo>
                      <a:pt x="f187" y="f188"/>
                    </a:lnTo>
                    <a:lnTo>
                      <a:pt x="f189" y="f128"/>
                    </a:lnTo>
                    <a:lnTo>
                      <a:pt x="f190" y="f168"/>
                    </a:lnTo>
                    <a:lnTo>
                      <a:pt x="f191" y="f167"/>
                    </a:lnTo>
                    <a:lnTo>
                      <a:pt x="f192" y="f193"/>
                    </a:lnTo>
                    <a:lnTo>
                      <a:pt x="f194" y="f195"/>
                    </a:lnTo>
                    <a:lnTo>
                      <a:pt x="f196" y="f47"/>
                    </a:lnTo>
                    <a:lnTo>
                      <a:pt x="f197" y="f141"/>
                    </a:lnTo>
                    <a:lnTo>
                      <a:pt x="f198" y="f122"/>
                    </a:lnTo>
                    <a:lnTo>
                      <a:pt x="f199" y="f167"/>
                    </a:lnTo>
                    <a:lnTo>
                      <a:pt x="f200" y="f128"/>
                    </a:lnTo>
                    <a:lnTo>
                      <a:pt x="f201" y="f130"/>
                    </a:lnTo>
                    <a:lnTo>
                      <a:pt x="f202" y="f203"/>
                    </a:lnTo>
                    <a:lnTo>
                      <a:pt x="f62" y="f203"/>
                    </a:lnTo>
                    <a:lnTo>
                      <a:pt x="f204" y="f130"/>
                    </a:lnTo>
                    <a:lnTo>
                      <a:pt x="f205" y="f168"/>
                    </a:lnTo>
                    <a:lnTo>
                      <a:pt x="f206" y="f207"/>
                    </a:lnTo>
                    <a:lnTo>
                      <a:pt x="f208" y="f126"/>
                    </a:lnTo>
                    <a:lnTo>
                      <a:pt x="f209" y="f210"/>
                    </a:lnTo>
                    <a:lnTo>
                      <a:pt x="f53" y="f188"/>
                    </a:lnTo>
                    <a:lnTo>
                      <a:pt x="f173" y="f134"/>
                    </a:lnTo>
                    <a:lnTo>
                      <a:pt x="f211" y="f52"/>
                    </a:lnTo>
                    <a:lnTo>
                      <a:pt x="f212" y="f176"/>
                    </a:lnTo>
                    <a:lnTo>
                      <a:pt x="f213" y="f213"/>
                    </a:lnTo>
                    <a:lnTo>
                      <a:pt x="f214" y="f214"/>
                    </a:lnTo>
                    <a:lnTo>
                      <a:pt x="f215" y="f216"/>
                    </a:lnTo>
                    <a:lnTo>
                      <a:pt x="f217" y="f218"/>
                    </a:lnTo>
                    <a:lnTo>
                      <a:pt x="f215" y="f219"/>
                    </a:lnTo>
                    <a:lnTo>
                      <a:pt x="f220" y="f221"/>
                    </a:lnTo>
                    <a:lnTo>
                      <a:pt x="f222" y="f223"/>
                    </a:lnTo>
                    <a:lnTo>
                      <a:pt x="f173" y="f224"/>
                    </a:lnTo>
                    <a:lnTo>
                      <a:pt x="f225" y="f60"/>
                    </a:lnTo>
                    <a:lnTo>
                      <a:pt x="f50" y="f226"/>
                    </a:lnTo>
                    <a:lnTo>
                      <a:pt x="f227" y="f204"/>
                    </a:lnTo>
                    <a:lnTo>
                      <a:pt x="f210" y="f228"/>
                    </a:lnTo>
                    <a:lnTo>
                      <a:pt x="f126" y="f229"/>
                    </a:lnTo>
                    <a:lnTo>
                      <a:pt x="f137" y="f230"/>
                    </a:lnTo>
                    <a:lnTo>
                      <a:pt x="f231" y="f63"/>
                    </a:lnTo>
                    <a:lnTo>
                      <a:pt x="f232" y="f233"/>
                    </a:lnTo>
                    <a:lnTo>
                      <a:pt x="f143" y="f234"/>
                    </a:lnTo>
                    <a:lnTo>
                      <a:pt x="f235" y="f8"/>
                    </a:lnTo>
                    <a:lnTo>
                      <a:pt x="f149" y="f236"/>
                    </a:lnTo>
                    <a:lnTo>
                      <a:pt x="f237" y="f67"/>
                    </a:lnTo>
                    <a:lnTo>
                      <a:pt x="f43" y="f238"/>
                    </a:lnTo>
                    <a:lnTo>
                      <a:pt x="f239" y="f65"/>
                    </a:lnTo>
                    <a:lnTo>
                      <a:pt x="f240" y="f241"/>
                    </a:lnTo>
                    <a:lnTo>
                      <a:pt x="f242" y="f201"/>
                    </a:lnTo>
                    <a:lnTo>
                      <a:pt x="f243" y="f63"/>
                    </a:lnTo>
                    <a:lnTo>
                      <a:pt x="f244" y="f245"/>
                    </a:lnTo>
                    <a:lnTo>
                      <a:pt x="f39" y="f246"/>
                    </a:lnTo>
                    <a:lnTo>
                      <a:pt x="f247" y="f248"/>
                    </a:lnTo>
                    <a:lnTo>
                      <a:pt x="f243" y="f249"/>
                    </a:lnTo>
                    <a:lnTo>
                      <a:pt x="f41" y="f250"/>
                    </a:lnTo>
                    <a:lnTo>
                      <a:pt x="f251" y="f224"/>
                    </a:lnTo>
                    <a:lnTo>
                      <a:pt x="f252" y="f253"/>
                    </a:lnTo>
                    <a:lnTo>
                      <a:pt x="f252" y="f254"/>
                    </a:lnTo>
                    <a:lnTo>
                      <a:pt x="f251" y="f255"/>
                    </a:lnTo>
                    <a:lnTo>
                      <a:pt x="f256" y="f257"/>
                    </a:lnTo>
                    <a:lnTo>
                      <a:pt x="f244" y="f258"/>
                    </a:lnTo>
                    <a:lnTo>
                      <a:pt x="f259" y="f260"/>
                    </a:lnTo>
                    <a:lnTo>
                      <a:pt x="f261" y="f2"/>
                    </a:lnTo>
                    <a:lnTo>
                      <a:pt x="f262" y="f217"/>
                    </a:lnTo>
                    <a:lnTo>
                      <a:pt x="f101" y="f263"/>
                    </a:lnTo>
                    <a:lnTo>
                      <a:pt x="f264" y="f222"/>
                    </a:lnTo>
                    <a:lnTo>
                      <a:pt x="f35" y="f180"/>
                    </a:lnTo>
                    <a:lnTo>
                      <a:pt x="f265" y="f132"/>
                    </a:lnTo>
                    <a:lnTo>
                      <a:pt x="f266" y="f203"/>
                    </a:lnTo>
                    <a:lnTo>
                      <a:pt x="f267" y="f186"/>
                    </a:lnTo>
                    <a:lnTo>
                      <a:pt x="f262" y="f126"/>
                    </a:lnTo>
                    <a:lnTo>
                      <a:pt x="f261" y="f139"/>
                    </a:lnTo>
                    <a:lnTo>
                      <a:pt x="f261" y="f268"/>
                    </a:lnTo>
                    <a:lnTo>
                      <a:pt x="f259" y="f45"/>
                    </a:lnTo>
                    <a:lnTo>
                      <a:pt x="f262" y="f111"/>
                    </a:lnTo>
                    <a:lnTo>
                      <a:pt x="f264" y="f269"/>
                    </a:lnTo>
                    <a:lnTo>
                      <a:pt x="f270" y="f109"/>
                    </a:lnTo>
                    <a:lnTo>
                      <a:pt x="f3" y="f43"/>
                    </a:lnTo>
                    <a:lnTo>
                      <a:pt x="f271" y="f240"/>
                    </a:lnTo>
                    <a:lnTo>
                      <a:pt x="f272" y="f273"/>
                    </a:lnTo>
                    <a:lnTo>
                      <a:pt x="f274" y="f39"/>
                    </a:lnTo>
                    <a:lnTo>
                      <a:pt x="f275" y="f101"/>
                    </a:lnTo>
                    <a:lnTo>
                      <a:pt x="f276" y="f265"/>
                    </a:lnTo>
                    <a:lnTo>
                      <a:pt x="f31" y="f270"/>
                    </a:lnTo>
                    <a:lnTo>
                      <a:pt x="f91" y="f277"/>
                    </a:lnTo>
                    <a:lnTo>
                      <a:pt x="f91" y="f97"/>
                    </a:lnTo>
                    <a:lnTo>
                      <a:pt x="f31" y="f278"/>
                    </a:lnTo>
                    <a:lnTo>
                      <a:pt x="f275" y="f97"/>
                    </a:lnTo>
                    <a:lnTo>
                      <a:pt x="f279" y="f97"/>
                    </a:lnTo>
                    <a:lnTo>
                      <a:pt x="f27" y="f280"/>
                    </a:lnTo>
                    <a:lnTo>
                      <a:pt x="f281" y="f93"/>
                    </a:lnTo>
                    <a:lnTo>
                      <a:pt x="f282" y="f283"/>
                    </a:lnTo>
                    <a:lnTo>
                      <a:pt x="f284" y="f91"/>
                    </a:lnTo>
                    <a:lnTo>
                      <a:pt x="f285" y="f286"/>
                    </a:lnTo>
                    <a:lnTo>
                      <a:pt x="f42" y="f287"/>
                    </a:lnTo>
                    <a:lnTo>
                      <a:pt x="f288" y="f289"/>
                    </a:lnTo>
                    <a:lnTo>
                      <a:pt x="f290" y="f291"/>
                    </a:lnTo>
                    <a:lnTo>
                      <a:pt x="f10" y="f25"/>
                    </a:lnTo>
                    <a:lnTo>
                      <a:pt x="f46" y="f292"/>
                    </a:lnTo>
                    <a:lnTo>
                      <a:pt x="f72" y="f23"/>
                    </a:lnTo>
                    <a:lnTo>
                      <a:pt x="f293" y="f294"/>
                    </a:lnTo>
                    <a:lnTo>
                      <a:pt x="f295" y="f294"/>
                    </a:lnTo>
                    <a:lnTo>
                      <a:pt x="f296" y="f23"/>
                    </a:lnTo>
                    <a:lnTo>
                      <a:pt x="f297" y="f298"/>
                    </a:lnTo>
                    <a:lnTo>
                      <a:pt x="f299" y="f300"/>
                    </a:lnTo>
                    <a:lnTo>
                      <a:pt x="f301" y="f87"/>
                    </a:lnTo>
                    <a:lnTo>
                      <a:pt x="f27" y="f302"/>
                    </a:lnTo>
                    <a:lnTo>
                      <a:pt x="f302" y="f292"/>
                    </a:lnTo>
                    <a:lnTo>
                      <a:pt x="f303" y="f304"/>
                    </a:lnTo>
                    <a:lnTo>
                      <a:pt x="f29" y="f305"/>
                    </a:lnTo>
                    <a:lnTo>
                      <a:pt x="f306" y="f307"/>
                    </a:lnTo>
                    <a:lnTo>
                      <a:pt x="f308" y="f15"/>
                    </a:lnTo>
                    <a:lnTo>
                      <a:pt x="f309" y="f44"/>
                    </a:lnTo>
                    <a:lnTo>
                      <a:pt x="f303" y="f10"/>
                    </a:lnTo>
                    <a:lnTo>
                      <a:pt x="f291" y="f64"/>
                    </a:lnTo>
                    <a:lnTo>
                      <a:pt x="f301" y="f310"/>
                    </a:lnTo>
                    <a:lnTo>
                      <a:pt x="f311" y="f310"/>
                    </a:lnTo>
                    <a:lnTo>
                      <a:pt x="f297" y="f64"/>
                    </a:lnTo>
                    <a:lnTo>
                      <a:pt x="f312" y="f72"/>
                    </a:lnTo>
                    <a:lnTo>
                      <a:pt x="f313" y="f40"/>
                    </a:lnTo>
                    <a:lnTo>
                      <a:pt x="f15" y="f15"/>
                    </a:lnTo>
                    <a:lnTo>
                      <a:pt x="f72" y="f314"/>
                    </a:lnTo>
                    <a:lnTo>
                      <a:pt x="f34" y="f315"/>
                    </a:lnTo>
                    <a:lnTo>
                      <a:pt x="f54" y="f315"/>
                    </a:lnTo>
                    <a:lnTo>
                      <a:pt x="f24" y="f285"/>
                    </a:lnTo>
                    <a:lnTo>
                      <a:pt x="f316" y="f293"/>
                    </a:lnTo>
                    <a:lnTo>
                      <a:pt x="f18" y="f12"/>
                    </a:lnTo>
                    <a:lnTo>
                      <a:pt x="f16" y="f317"/>
                    </a:lnTo>
                    <a:lnTo>
                      <a:pt x="f11" y="f318"/>
                    </a:lnTo>
                    <a:lnTo>
                      <a:pt x="f6" y="f319"/>
                    </a:lnTo>
                    <a:lnTo>
                      <a:pt x="f320" y="f18"/>
                    </a:lnTo>
                    <a:lnTo>
                      <a:pt x="f22" y="f321"/>
                    </a:lnTo>
                    <a:lnTo>
                      <a:pt x="f54" y="f322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79" name="Freeform 41">
                <a:extLst>
                  <a:ext uri="{FF2B5EF4-FFF2-40B4-BE49-F238E27FC236}">
                    <a16:creationId xmlns:a16="http://schemas.microsoft.com/office/drawing/2014/main" id="{D6CA61BF-1D4E-4411-A74A-3AC1CD525B39}"/>
                  </a:ext>
                </a:extLst>
              </p:cNvPr>
              <p:cNvSpPr/>
              <p:nvPr/>
            </p:nvSpPr>
            <p:spPr>
              <a:xfrm>
                <a:off x="4739033" y="2613730"/>
                <a:ext cx="7296" cy="878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4"/>
                  <a:gd name="f7" fmla="val 54"/>
                  <a:gd name="f8" fmla="val 24"/>
                  <a:gd name="f9" fmla="val 28"/>
                  <a:gd name="f10" fmla="val 2"/>
                  <a:gd name="f11" fmla="val 33"/>
                  <a:gd name="f12" fmla="val 6"/>
                  <a:gd name="f13" fmla="val 39"/>
                  <a:gd name="f14" fmla="val 13"/>
                  <a:gd name="f15" fmla="val 43"/>
                  <a:gd name="f16" fmla="val 20"/>
                  <a:gd name="f17" fmla="val 25"/>
                  <a:gd name="f18" fmla="val 36"/>
                  <a:gd name="f19" fmla="val 50"/>
                  <a:gd name="f20" fmla="val 11"/>
                  <a:gd name="f21" fmla="val 52"/>
                  <a:gd name="f22" fmla="val 3"/>
                  <a:gd name="f23" fmla="val 41"/>
                  <a:gd name="f24" fmla="val 7"/>
                  <a:gd name="f25" fmla="val 27"/>
                  <a:gd name="f26" fmla="val 14"/>
                  <a:gd name="f27" fmla="val 19"/>
                  <a:gd name="f28" fmla="val 4"/>
                  <a:gd name="f29" fmla="+- 0 0 -90"/>
                  <a:gd name="f30" fmla="*/ f3 1 44"/>
                  <a:gd name="f31" fmla="*/ f4 1 54"/>
                  <a:gd name="f32" fmla="+- f7 0 f5"/>
                  <a:gd name="f33" fmla="+- f6 0 f5"/>
                  <a:gd name="f34" fmla="*/ f29 f0 1"/>
                  <a:gd name="f35" fmla="*/ f33 1 44"/>
                  <a:gd name="f36" fmla="*/ f32 1 54"/>
                  <a:gd name="f37" fmla="*/ f34 1 f2"/>
                  <a:gd name="f38" fmla="*/ 24 1 f35"/>
                  <a:gd name="f39" fmla="*/ 0 1 f36"/>
                  <a:gd name="f40" fmla="*/ 28 1 f35"/>
                  <a:gd name="f41" fmla="*/ 2 1 f36"/>
                  <a:gd name="f42" fmla="*/ 33 1 f35"/>
                  <a:gd name="f43" fmla="*/ 6 1 f36"/>
                  <a:gd name="f44" fmla="*/ 39 1 f35"/>
                  <a:gd name="f45" fmla="*/ 13 1 f36"/>
                  <a:gd name="f46" fmla="*/ 43 1 f35"/>
                  <a:gd name="f47" fmla="*/ 20 1 f36"/>
                  <a:gd name="f48" fmla="*/ 44 1 f35"/>
                  <a:gd name="f49" fmla="*/ 25 1 f36"/>
                  <a:gd name="f50" fmla="*/ 36 1 f36"/>
                  <a:gd name="f51" fmla="*/ 50 1 f36"/>
                  <a:gd name="f52" fmla="*/ 25 1 f35"/>
                  <a:gd name="f53" fmla="*/ 11 1 f35"/>
                  <a:gd name="f54" fmla="*/ 52 1 f36"/>
                  <a:gd name="f55" fmla="*/ 0 1 f35"/>
                  <a:gd name="f56" fmla="*/ 54 1 f36"/>
                  <a:gd name="f57" fmla="*/ 3 1 f35"/>
                  <a:gd name="f58" fmla="*/ 41 1 f36"/>
                  <a:gd name="f59" fmla="*/ 7 1 f35"/>
                  <a:gd name="f60" fmla="*/ 27 1 f36"/>
                  <a:gd name="f61" fmla="*/ 14 1 f35"/>
                  <a:gd name="f62" fmla="*/ 14 1 f36"/>
                  <a:gd name="f63" fmla="*/ 19 1 f35"/>
                  <a:gd name="f64" fmla="*/ 4 1 f36"/>
                  <a:gd name="f65" fmla="*/ f6 1 f35"/>
                  <a:gd name="f66" fmla="*/ f7 1 f36"/>
                  <a:gd name="f67" fmla="+- f37 0 f1"/>
                  <a:gd name="f68" fmla="*/ f55 f30 1"/>
                  <a:gd name="f69" fmla="*/ f65 f30 1"/>
                  <a:gd name="f70" fmla="*/ f66 f31 1"/>
                  <a:gd name="f71" fmla="*/ f39 f31 1"/>
                  <a:gd name="f72" fmla="*/ f38 f30 1"/>
                  <a:gd name="f73" fmla="*/ f40 f30 1"/>
                  <a:gd name="f74" fmla="*/ f41 f31 1"/>
                  <a:gd name="f75" fmla="*/ f42 f30 1"/>
                  <a:gd name="f76" fmla="*/ f43 f31 1"/>
                  <a:gd name="f77" fmla="*/ f44 f30 1"/>
                  <a:gd name="f78" fmla="*/ f45 f31 1"/>
                  <a:gd name="f79" fmla="*/ f46 f30 1"/>
                  <a:gd name="f80" fmla="*/ f47 f31 1"/>
                  <a:gd name="f81" fmla="*/ f48 f30 1"/>
                  <a:gd name="f82" fmla="*/ f49 f31 1"/>
                  <a:gd name="f83" fmla="*/ f50 f31 1"/>
                  <a:gd name="f84" fmla="*/ f51 f31 1"/>
                  <a:gd name="f85" fmla="*/ f52 f30 1"/>
                  <a:gd name="f86" fmla="*/ f53 f30 1"/>
                  <a:gd name="f87" fmla="*/ f54 f31 1"/>
                  <a:gd name="f88" fmla="*/ f56 f31 1"/>
                  <a:gd name="f89" fmla="*/ f57 f30 1"/>
                  <a:gd name="f90" fmla="*/ f58 f31 1"/>
                  <a:gd name="f91" fmla="*/ f59 f30 1"/>
                  <a:gd name="f92" fmla="*/ f60 f31 1"/>
                  <a:gd name="f93" fmla="*/ f61 f30 1"/>
                  <a:gd name="f94" fmla="*/ f62 f31 1"/>
                  <a:gd name="f95" fmla="*/ f63 f30 1"/>
                  <a:gd name="f96" fmla="*/ f64 f3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7">
                    <a:pos x="f72" y="f71"/>
                  </a:cxn>
                  <a:cxn ang="f67">
                    <a:pos x="f73" y="f74"/>
                  </a:cxn>
                  <a:cxn ang="f67">
                    <a:pos x="f75" y="f76"/>
                  </a:cxn>
                  <a:cxn ang="f67">
                    <a:pos x="f77" y="f78"/>
                  </a:cxn>
                  <a:cxn ang="f67">
                    <a:pos x="f79" y="f80"/>
                  </a:cxn>
                  <a:cxn ang="f67">
                    <a:pos x="f81" y="f82"/>
                  </a:cxn>
                  <a:cxn ang="f67">
                    <a:pos x="f79" y="f83"/>
                  </a:cxn>
                  <a:cxn ang="f67">
                    <a:pos x="f77" y="f84"/>
                  </a:cxn>
                  <a:cxn ang="f67">
                    <a:pos x="f85" y="f84"/>
                  </a:cxn>
                  <a:cxn ang="f67">
                    <a:pos x="f86" y="f87"/>
                  </a:cxn>
                  <a:cxn ang="f67">
                    <a:pos x="f68" y="f88"/>
                  </a:cxn>
                  <a:cxn ang="f67">
                    <a:pos x="f89" y="f90"/>
                  </a:cxn>
                  <a:cxn ang="f67">
                    <a:pos x="f91" y="f92"/>
                  </a:cxn>
                  <a:cxn ang="f67">
                    <a:pos x="f93" y="f94"/>
                  </a:cxn>
                  <a:cxn ang="f67">
                    <a:pos x="f95" y="f96"/>
                  </a:cxn>
                  <a:cxn ang="f67">
                    <a:pos x="f72" y="f71"/>
                  </a:cxn>
                </a:cxnLst>
                <a:rect l="f68" t="f71" r="f69" b="f70"/>
                <a:pathLst>
                  <a:path w="44" h="54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6" y="f17"/>
                    </a:lnTo>
                    <a:lnTo>
                      <a:pt x="f15" y="f18"/>
                    </a:lnTo>
                    <a:lnTo>
                      <a:pt x="f13" y="f19"/>
                    </a:lnTo>
                    <a:lnTo>
                      <a:pt x="f17" y="f19"/>
                    </a:lnTo>
                    <a:lnTo>
                      <a:pt x="f20" y="f21"/>
                    </a:lnTo>
                    <a:lnTo>
                      <a:pt x="f5" y="f7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6"/>
                    </a:lnTo>
                    <a:lnTo>
                      <a:pt x="f27" y="f28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80" name="Freeform 42">
                <a:extLst>
                  <a:ext uri="{FF2B5EF4-FFF2-40B4-BE49-F238E27FC236}">
                    <a16:creationId xmlns:a16="http://schemas.microsoft.com/office/drawing/2014/main" id="{BD63A2E2-3581-4051-8CC7-77E425D49C66}"/>
                  </a:ext>
                </a:extLst>
              </p:cNvPr>
              <p:cNvSpPr/>
              <p:nvPr/>
            </p:nvSpPr>
            <p:spPr>
              <a:xfrm>
                <a:off x="4707687" y="2625772"/>
                <a:ext cx="29032" cy="34509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75"/>
                  <a:gd name="f7" fmla="val 212"/>
                  <a:gd name="f8" fmla="val 36"/>
                  <a:gd name="f9" fmla="val 43"/>
                  <a:gd name="f10" fmla="val 56"/>
                  <a:gd name="f11" fmla="val 1"/>
                  <a:gd name="f12" fmla="val 74"/>
                  <a:gd name="f13" fmla="val 5"/>
                  <a:gd name="f14" fmla="val 91"/>
                  <a:gd name="f15" fmla="val 10"/>
                  <a:gd name="f16" fmla="val 105"/>
                  <a:gd name="f17" fmla="val 15"/>
                  <a:gd name="f18" fmla="val 116"/>
                  <a:gd name="f19" fmla="val 23"/>
                  <a:gd name="f20" fmla="val 124"/>
                  <a:gd name="f21" fmla="val 33"/>
                  <a:gd name="f22" fmla="val 132"/>
                  <a:gd name="f23" fmla="val 39"/>
                  <a:gd name="f24" fmla="val 141"/>
                  <a:gd name="f25" fmla="val 152"/>
                  <a:gd name="f26" fmla="val 44"/>
                  <a:gd name="f27" fmla="val 161"/>
                  <a:gd name="f28" fmla="val 64"/>
                  <a:gd name="f29" fmla="val 172"/>
                  <a:gd name="f30" fmla="val 84"/>
                  <a:gd name="f31" fmla="val 170"/>
                  <a:gd name="f32" fmla="val 107"/>
                  <a:gd name="f33" fmla="val 164"/>
                  <a:gd name="f34" fmla="val 130"/>
                  <a:gd name="f35" fmla="val 157"/>
                  <a:gd name="f36" fmla="val 148"/>
                  <a:gd name="f37" fmla="val 150"/>
                  <a:gd name="f38" fmla="val 162"/>
                  <a:gd name="f39" fmla="val 142"/>
                  <a:gd name="f40" fmla="val 182"/>
                  <a:gd name="f41" fmla="val 117"/>
                  <a:gd name="f42" fmla="val 191"/>
                  <a:gd name="f43" fmla="val 102"/>
                  <a:gd name="f44" fmla="val 201"/>
                  <a:gd name="f45" fmla="val 90"/>
                  <a:gd name="f46" fmla="val 208"/>
                  <a:gd name="f47" fmla="val 77"/>
                  <a:gd name="f48" fmla="val 69"/>
                  <a:gd name="f49" fmla="val 54"/>
                  <a:gd name="f50" fmla="val 205"/>
                  <a:gd name="f51" fmla="val 200"/>
                  <a:gd name="f52" fmla="val 32"/>
                  <a:gd name="f53" fmla="val 198"/>
                  <a:gd name="f54" fmla="val 25"/>
                  <a:gd name="f55" fmla="val 26"/>
                  <a:gd name="f56" fmla="val 184"/>
                  <a:gd name="f57" fmla="val 173"/>
                  <a:gd name="f58" fmla="val 165"/>
                  <a:gd name="f59" fmla="val 21"/>
                  <a:gd name="f60" fmla="val 155"/>
                  <a:gd name="f61" fmla="val 143"/>
                  <a:gd name="f62" fmla="val 8"/>
                  <a:gd name="f63" fmla="val 3"/>
                  <a:gd name="f64" fmla="val 118"/>
                  <a:gd name="f65" fmla="val 109"/>
                  <a:gd name="f66" fmla="val 100"/>
                  <a:gd name="f67" fmla="val 89"/>
                  <a:gd name="f68" fmla="val 76"/>
                  <a:gd name="f69" fmla="val 7"/>
                  <a:gd name="f70" fmla="val 66"/>
                  <a:gd name="f71" fmla="val 14"/>
                  <a:gd name="f72" fmla="val 59"/>
                  <a:gd name="f73" fmla="val 53"/>
                  <a:gd name="f74" fmla="val 34"/>
                  <a:gd name="f75" fmla="val 41"/>
                  <a:gd name="f76" fmla="val 37"/>
                  <a:gd name="f77" fmla="val 30"/>
                  <a:gd name="f78" fmla="val 4"/>
                  <a:gd name="f79" fmla="+- 0 0 -90"/>
                  <a:gd name="f80" fmla="*/ f3 1 175"/>
                  <a:gd name="f81" fmla="*/ f4 1 212"/>
                  <a:gd name="f82" fmla="+- f7 0 f5"/>
                  <a:gd name="f83" fmla="+- f6 0 f5"/>
                  <a:gd name="f84" fmla="*/ f79 f0 1"/>
                  <a:gd name="f85" fmla="*/ f83 1 175"/>
                  <a:gd name="f86" fmla="*/ f82 1 212"/>
                  <a:gd name="f87" fmla="*/ f84 1 f2"/>
                  <a:gd name="f88" fmla="*/ 36 1 f85"/>
                  <a:gd name="f89" fmla="*/ 0 1 f86"/>
                  <a:gd name="f90" fmla="*/ 43 1 f85"/>
                  <a:gd name="f91" fmla="*/ 56 1 f85"/>
                  <a:gd name="f92" fmla="*/ 1 1 f86"/>
                  <a:gd name="f93" fmla="*/ 74 1 f85"/>
                  <a:gd name="f94" fmla="*/ 5 1 f86"/>
                  <a:gd name="f95" fmla="*/ 91 1 f85"/>
                  <a:gd name="f96" fmla="*/ 10 1 f86"/>
                  <a:gd name="f97" fmla="*/ 105 1 f85"/>
                  <a:gd name="f98" fmla="*/ 15 1 f86"/>
                  <a:gd name="f99" fmla="*/ 116 1 f85"/>
                  <a:gd name="f100" fmla="*/ 23 1 f86"/>
                  <a:gd name="f101" fmla="*/ 124 1 f85"/>
                  <a:gd name="f102" fmla="*/ 33 1 f86"/>
                  <a:gd name="f103" fmla="*/ 132 1 f85"/>
                  <a:gd name="f104" fmla="*/ 39 1 f86"/>
                  <a:gd name="f105" fmla="*/ 141 1 f85"/>
                  <a:gd name="f106" fmla="*/ 43 1 f86"/>
                  <a:gd name="f107" fmla="*/ 152 1 f85"/>
                  <a:gd name="f108" fmla="*/ 44 1 f86"/>
                  <a:gd name="f109" fmla="*/ 161 1 f85"/>
                  <a:gd name="f110" fmla="*/ 175 1 f85"/>
                  <a:gd name="f111" fmla="*/ 64 1 f86"/>
                  <a:gd name="f112" fmla="*/ 172 1 f85"/>
                  <a:gd name="f113" fmla="*/ 84 1 f86"/>
                  <a:gd name="f114" fmla="*/ 170 1 f85"/>
                  <a:gd name="f115" fmla="*/ 107 1 f86"/>
                  <a:gd name="f116" fmla="*/ 164 1 f85"/>
                  <a:gd name="f117" fmla="*/ 130 1 f86"/>
                  <a:gd name="f118" fmla="*/ 157 1 f85"/>
                  <a:gd name="f119" fmla="*/ 148 1 f86"/>
                  <a:gd name="f120" fmla="*/ 150 1 f85"/>
                  <a:gd name="f121" fmla="*/ 162 1 f86"/>
                  <a:gd name="f122" fmla="*/ 142 1 f85"/>
                  <a:gd name="f123" fmla="*/ 170 1 f86"/>
                  <a:gd name="f124" fmla="*/ 130 1 f85"/>
                  <a:gd name="f125" fmla="*/ 182 1 f86"/>
                  <a:gd name="f126" fmla="*/ 117 1 f85"/>
                  <a:gd name="f127" fmla="*/ 191 1 f86"/>
                  <a:gd name="f128" fmla="*/ 102 1 f85"/>
                  <a:gd name="f129" fmla="*/ 201 1 f86"/>
                  <a:gd name="f130" fmla="*/ 90 1 f85"/>
                  <a:gd name="f131" fmla="*/ 208 1 f86"/>
                  <a:gd name="f132" fmla="*/ 77 1 f85"/>
                  <a:gd name="f133" fmla="*/ 212 1 f86"/>
                  <a:gd name="f134" fmla="*/ 69 1 f85"/>
                  <a:gd name="f135" fmla="*/ 54 1 f85"/>
                  <a:gd name="f136" fmla="*/ 205 1 f86"/>
                  <a:gd name="f137" fmla="*/ 200 1 f86"/>
                  <a:gd name="f138" fmla="*/ 32 1 f85"/>
                  <a:gd name="f139" fmla="*/ 198 1 f86"/>
                  <a:gd name="f140" fmla="*/ 25 1 f85"/>
                  <a:gd name="f141" fmla="*/ 26 1 f85"/>
                  <a:gd name="f142" fmla="*/ 184 1 f86"/>
                  <a:gd name="f143" fmla="*/ 173 1 f86"/>
                  <a:gd name="f144" fmla="*/ 165 1 f86"/>
                  <a:gd name="f145" fmla="*/ 21 1 f85"/>
                  <a:gd name="f146" fmla="*/ 155 1 f86"/>
                  <a:gd name="f147" fmla="*/ 15 1 f85"/>
                  <a:gd name="f148" fmla="*/ 143 1 f86"/>
                  <a:gd name="f149" fmla="*/ 8 1 f85"/>
                  <a:gd name="f150" fmla="*/ 3 1 f85"/>
                  <a:gd name="f151" fmla="*/ 118 1 f86"/>
                  <a:gd name="f152" fmla="*/ 0 1 f85"/>
                  <a:gd name="f153" fmla="*/ 109 1 f86"/>
                  <a:gd name="f154" fmla="*/ 100 1 f86"/>
                  <a:gd name="f155" fmla="*/ 1 1 f85"/>
                  <a:gd name="f156" fmla="*/ 89 1 f86"/>
                  <a:gd name="f157" fmla="*/ 76 1 f86"/>
                  <a:gd name="f158" fmla="*/ 7 1 f85"/>
                  <a:gd name="f159" fmla="*/ 66 1 f86"/>
                  <a:gd name="f160" fmla="*/ 14 1 f85"/>
                  <a:gd name="f161" fmla="*/ 59 1 f86"/>
                  <a:gd name="f162" fmla="*/ 53 1 f86"/>
                  <a:gd name="f163" fmla="*/ 34 1 f85"/>
                  <a:gd name="f164" fmla="*/ 41 1 f86"/>
                  <a:gd name="f165" fmla="*/ 37 1 f85"/>
                  <a:gd name="f166" fmla="*/ 30 1 f86"/>
                  <a:gd name="f167" fmla="*/ 33 1 f85"/>
                  <a:gd name="f168" fmla="*/ 4 1 f86"/>
                  <a:gd name="f169" fmla="*/ f6 1 f85"/>
                  <a:gd name="f170" fmla="*/ f7 1 f86"/>
                  <a:gd name="f171" fmla="+- f87 0 f1"/>
                  <a:gd name="f172" fmla="*/ f152 f80 1"/>
                  <a:gd name="f173" fmla="*/ f169 f80 1"/>
                  <a:gd name="f174" fmla="*/ f170 f81 1"/>
                  <a:gd name="f175" fmla="*/ f89 f81 1"/>
                  <a:gd name="f176" fmla="*/ f88 f80 1"/>
                  <a:gd name="f177" fmla="*/ f90 f80 1"/>
                  <a:gd name="f178" fmla="*/ f91 f80 1"/>
                  <a:gd name="f179" fmla="*/ f92 f81 1"/>
                  <a:gd name="f180" fmla="*/ f93 f80 1"/>
                  <a:gd name="f181" fmla="*/ f94 f81 1"/>
                  <a:gd name="f182" fmla="*/ f95 f80 1"/>
                  <a:gd name="f183" fmla="*/ f96 f81 1"/>
                  <a:gd name="f184" fmla="*/ f97 f80 1"/>
                  <a:gd name="f185" fmla="*/ f98 f81 1"/>
                  <a:gd name="f186" fmla="*/ f99 f80 1"/>
                  <a:gd name="f187" fmla="*/ f100 f81 1"/>
                  <a:gd name="f188" fmla="*/ f101 f80 1"/>
                  <a:gd name="f189" fmla="*/ f102 f81 1"/>
                  <a:gd name="f190" fmla="*/ f103 f80 1"/>
                  <a:gd name="f191" fmla="*/ f104 f81 1"/>
                  <a:gd name="f192" fmla="*/ f105 f80 1"/>
                  <a:gd name="f193" fmla="*/ f106 f81 1"/>
                  <a:gd name="f194" fmla="*/ f107 f80 1"/>
                  <a:gd name="f195" fmla="*/ f108 f81 1"/>
                  <a:gd name="f196" fmla="*/ f109 f80 1"/>
                  <a:gd name="f197" fmla="*/ f110 f80 1"/>
                  <a:gd name="f198" fmla="*/ f111 f81 1"/>
                  <a:gd name="f199" fmla="*/ f112 f80 1"/>
                  <a:gd name="f200" fmla="*/ f113 f81 1"/>
                  <a:gd name="f201" fmla="*/ f114 f80 1"/>
                  <a:gd name="f202" fmla="*/ f115 f81 1"/>
                  <a:gd name="f203" fmla="*/ f116 f80 1"/>
                  <a:gd name="f204" fmla="*/ f117 f81 1"/>
                  <a:gd name="f205" fmla="*/ f118 f80 1"/>
                  <a:gd name="f206" fmla="*/ f119 f81 1"/>
                  <a:gd name="f207" fmla="*/ f120 f80 1"/>
                  <a:gd name="f208" fmla="*/ f121 f81 1"/>
                  <a:gd name="f209" fmla="*/ f122 f80 1"/>
                  <a:gd name="f210" fmla="*/ f123 f81 1"/>
                  <a:gd name="f211" fmla="*/ f124 f80 1"/>
                  <a:gd name="f212" fmla="*/ f125 f81 1"/>
                  <a:gd name="f213" fmla="*/ f126 f80 1"/>
                  <a:gd name="f214" fmla="*/ f127 f81 1"/>
                  <a:gd name="f215" fmla="*/ f128 f80 1"/>
                  <a:gd name="f216" fmla="*/ f129 f81 1"/>
                  <a:gd name="f217" fmla="*/ f130 f80 1"/>
                  <a:gd name="f218" fmla="*/ f131 f81 1"/>
                  <a:gd name="f219" fmla="*/ f132 f80 1"/>
                  <a:gd name="f220" fmla="*/ f133 f81 1"/>
                  <a:gd name="f221" fmla="*/ f134 f80 1"/>
                  <a:gd name="f222" fmla="*/ f135 f80 1"/>
                  <a:gd name="f223" fmla="*/ f136 f81 1"/>
                  <a:gd name="f224" fmla="*/ f137 f81 1"/>
                  <a:gd name="f225" fmla="*/ f138 f80 1"/>
                  <a:gd name="f226" fmla="*/ f139 f81 1"/>
                  <a:gd name="f227" fmla="*/ f140 f80 1"/>
                  <a:gd name="f228" fmla="*/ f141 f80 1"/>
                  <a:gd name="f229" fmla="*/ f142 f81 1"/>
                  <a:gd name="f230" fmla="*/ f143 f81 1"/>
                  <a:gd name="f231" fmla="*/ f144 f81 1"/>
                  <a:gd name="f232" fmla="*/ f145 f80 1"/>
                  <a:gd name="f233" fmla="*/ f146 f81 1"/>
                  <a:gd name="f234" fmla="*/ f147 f80 1"/>
                  <a:gd name="f235" fmla="*/ f148 f81 1"/>
                  <a:gd name="f236" fmla="*/ f149 f80 1"/>
                  <a:gd name="f237" fmla="*/ f150 f80 1"/>
                  <a:gd name="f238" fmla="*/ f151 f81 1"/>
                  <a:gd name="f239" fmla="*/ f153 f81 1"/>
                  <a:gd name="f240" fmla="*/ f154 f81 1"/>
                  <a:gd name="f241" fmla="*/ f155 f80 1"/>
                  <a:gd name="f242" fmla="*/ f156 f81 1"/>
                  <a:gd name="f243" fmla="*/ f157 f81 1"/>
                  <a:gd name="f244" fmla="*/ f158 f80 1"/>
                  <a:gd name="f245" fmla="*/ f159 f81 1"/>
                  <a:gd name="f246" fmla="*/ f160 f80 1"/>
                  <a:gd name="f247" fmla="*/ f161 f81 1"/>
                  <a:gd name="f248" fmla="*/ f162 f81 1"/>
                  <a:gd name="f249" fmla="*/ f163 f80 1"/>
                  <a:gd name="f250" fmla="*/ f164 f81 1"/>
                  <a:gd name="f251" fmla="*/ f165 f80 1"/>
                  <a:gd name="f252" fmla="*/ f166 f81 1"/>
                  <a:gd name="f253" fmla="*/ f167 f80 1"/>
                  <a:gd name="f254" fmla="*/ f168 f8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71">
                    <a:pos x="f176" y="f175"/>
                  </a:cxn>
                  <a:cxn ang="f171">
                    <a:pos x="f177" y="f175"/>
                  </a:cxn>
                  <a:cxn ang="f171">
                    <a:pos x="f178" y="f179"/>
                  </a:cxn>
                  <a:cxn ang="f171">
                    <a:pos x="f180" y="f181"/>
                  </a:cxn>
                  <a:cxn ang="f171">
                    <a:pos x="f182" y="f183"/>
                  </a:cxn>
                  <a:cxn ang="f171">
                    <a:pos x="f184" y="f185"/>
                  </a:cxn>
                  <a:cxn ang="f171">
                    <a:pos x="f186" y="f187"/>
                  </a:cxn>
                  <a:cxn ang="f171">
                    <a:pos x="f188" y="f189"/>
                  </a:cxn>
                  <a:cxn ang="f171">
                    <a:pos x="f190" y="f191"/>
                  </a:cxn>
                  <a:cxn ang="f171">
                    <a:pos x="f192" y="f193"/>
                  </a:cxn>
                  <a:cxn ang="f171">
                    <a:pos x="f194" y="f195"/>
                  </a:cxn>
                  <a:cxn ang="f171">
                    <a:pos x="f196" y="f195"/>
                  </a:cxn>
                  <a:cxn ang="f171">
                    <a:pos x="f197" y="f193"/>
                  </a:cxn>
                  <a:cxn ang="f171">
                    <a:pos x="f197" y="f198"/>
                  </a:cxn>
                  <a:cxn ang="f171">
                    <a:pos x="f199" y="f200"/>
                  </a:cxn>
                  <a:cxn ang="f171">
                    <a:pos x="f201" y="f202"/>
                  </a:cxn>
                  <a:cxn ang="f171">
                    <a:pos x="f203" y="f204"/>
                  </a:cxn>
                  <a:cxn ang="f171">
                    <a:pos x="f205" y="f206"/>
                  </a:cxn>
                  <a:cxn ang="f171">
                    <a:pos x="f207" y="f208"/>
                  </a:cxn>
                  <a:cxn ang="f171">
                    <a:pos x="f209" y="f210"/>
                  </a:cxn>
                  <a:cxn ang="f171">
                    <a:pos x="f211" y="f212"/>
                  </a:cxn>
                  <a:cxn ang="f171">
                    <a:pos x="f213" y="f214"/>
                  </a:cxn>
                  <a:cxn ang="f171">
                    <a:pos x="f215" y="f216"/>
                  </a:cxn>
                  <a:cxn ang="f171">
                    <a:pos x="f217" y="f218"/>
                  </a:cxn>
                  <a:cxn ang="f171">
                    <a:pos x="f219" y="f220"/>
                  </a:cxn>
                  <a:cxn ang="f171">
                    <a:pos x="f221" y="f220"/>
                  </a:cxn>
                  <a:cxn ang="f171">
                    <a:pos x="f222" y="f223"/>
                  </a:cxn>
                  <a:cxn ang="f171">
                    <a:pos x="f177" y="f224"/>
                  </a:cxn>
                  <a:cxn ang="f171">
                    <a:pos x="f225" y="f226"/>
                  </a:cxn>
                  <a:cxn ang="f171">
                    <a:pos x="f227" y="f226"/>
                  </a:cxn>
                  <a:cxn ang="f171">
                    <a:pos x="f228" y="f229"/>
                  </a:cxn>
                  <a:cxn ang="f171">
                    <a:pos x="f228" y="f230"/>
                  </a:cxn>
                  <a:cxn ang="f171">
                    <a:pos x="f227" y="f231"/>
                  </a:cxn>
                  <a:cxn ang="f171">
                    <a:pos x="f232" y="f233"/>
                  </a:cxn>
                  <a:cxn ang="f171">
                    <a:pos x="f234" y="f235"/>
                  </a:cxn>
                  <a:cxn ang="f171">
                    <a:pos x="f236" y="f204"/>
                  </a:cxn>
                  <a:cxn ang="f171">
                    <a:pos x="f237" y="f238"/>
                  </a:cxn>
                  <a:cxn ang="f171">
                    <a:pos x="f172" y="f239"/>
                  </a:cxn>
                  <a:cxn ang="f171">
                    <a:pos x="f172" y="f240"/>
                  </a:cxn>
                  <a:cxn ang="f171">
                    <a:pos x="f241" y="f242"/>
                  </a:cxn>
                  <a:cxn ang="f171">
                    <a:pos x="f237" y="f243"/>
                  </a:cxn>
                  <a:cxn ang="f171">
                    <a:pos x="f244" y="f245"/>
                  </a:cxn>
                  <a:cxn ang="f171">
                    <a:pos x="f246" y="f247"/>
                  </a:cxn>
                  <a:cxn ang="f171">
                    <a:pos x="f228" y="f248"/>
                  </a:cxn>
                  <a:cxn ang="f171">
                    <a:pos x="f249" y="f250"/>
                  </a:cxn>
                  <a:cxn ang="f171">
                    <a:pos x="f251" y="f252"/>
                  </a:cxn>
                  <a:cxn ang="f171">
                    <a:pos x="f253" y="f183"/>
                  </a:cxn>
                  <a:cxn ang="f171">
                    <a:pos x="f253" y="f254"/>
                  </a:cxn>
                  <a:cxn ang="f171">
                    <a:pos x="f176" y="f175"/>
                  </a:cxn>
                </a:cxnLst>
                <a:rect l="f172" t="f175" r="f173" b="f174"/>
                <a:pathLst>
                  <a:path w="175" h="212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9"/>
                    </a:lnTo>
                    <a:lnTo>
                      <a:pt x="f25" y="f26"/>
                    </a:lnTo>
                    <a:lnTo>
                      <a:pt x="f27" y="f26"/>
                    </a:lnTo>
                    <a:lnTo>
                      <a:pt x="f6" y="f9"/>
                    </a:lnTo>
                    <a:lnTo>
                      <a:pt x="f6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31"/>
                    </a:lnTo>
                    <a:lnTo>
                      <a:pt x="f34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7"/>
                    </a:lnTo>
                    <a:lnTo>
                      <a:pt x="f48" y="f7"/>
                    </a:lnTo>
                    <a:lnTo>
                      <a:pt x="f49" y="f50"/>
                    </a:lnTo>
                    <a:lnTo>
                      <a:pt x="f9" y="f51"/>
                    </a:lnTo>
                    <a:lnTo>
                      <a:pt x="f52" y="f53"/>
                    </a:lnTo>
                    <a:lnTo>
                      <a:pt x="f54" y="f53"/>
                    </a:lnTo>
                    <a:lnTo>
                      <a:pt x="f55" y="f56"/>
                    </a:lnTo>
                    <a:lnTo>
                      <a:pt x="f55" y="f57"/>
                    </a:lnTo>
                    <a:lnTo>
                      <a:pt x="f54" y="f58"/>
                    </a:lnTo>
                    <a:lnTo>
                      <a:pt x="f59" y="f60"/>
                    </a:lnTo>
                    <a:lnTo>
                      <a:pt x="f17" y="f61"/>
                    </a:lnTo>
                    <a:lnTo>
                      <a:pt x="f62" y="f34"/>
                    </a:lnTo>
                    <a:lnTo>
                      <a:pt x="f63" y="f64"/>
                    </a:lnTo>
                    <a:lnTo>
                      <a:pt x="f5" y="f65"/>
                    </a:lnTo>
                    <a:lnTo>
                      <a:pt x="f5" y="f66"/>
                    </a:lnTo>
                    <a:lnTo>
                      <a:pt x="f11" y="f67"/>
                    </a:lnTo>
                    <a:lnTo>
                      <a:pt x="f63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55" y="f73"/>
                    </a:lnTo>
                    <a:lnTo>
                      <a:pt x="f74" y="f75"/>
                    </a:lnTo>
                    <a:lnTo>
                      <a:pt x="f76" y="f77"/>
                    </a:lnTo>
                    <a:lnTo>
                      <a:pt x="f21" y="f15"/>
                    </a:lnTo>
                    <a:lnTo>
                      <a:pt x="f21" y="f78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81" name="Freeform 43">
                <a:extLst>
                  <a:ext uri="{FF2B5EF4-FFF2-40B4-BE49-F238E27FC236}">
                    <a16:creationId xmlns:a16="http://schemas.microsoft.com/office/drawing/2014/main" id="{48D84F10-FC6E-44B8-A098-2AFB65129D10}"/>
                  </a:ext>
                </a:extLst>
              </p:cNvPr>
              <p:cNvSpPr/>
              <p:nvPr/>
            </p:nvSpPr>
            <p:spPr>
              <a:xfrm>
                <a:off x="4686620" y="2606076"/>
                <a:ext cx="68515" cy="52248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413"/>
                  <a:gd name="f8" fmla="val 321"/>
                  <a:gd name="f9" fmla="val 346"/>
                  <a:gd name="f10" fmla="val 353"/>
                  <a:gd name="f11" fmla="val 2"/>
                  <a:gd name="f12" fmla="val 366"/>
                  <a:gd name="f13" fmla="val 4"/>
                  <a:gd name="f14" fmla="val 381"/>
                  <a:gd name="f15" fmla="val 7"/>
                  <a:gd name="f16" fmla="val 396"/>
                  <a:gd name="f17" fmla="val 11"/>
                  <a:gd name="f18" fmla="val 407"/>
                  <a:gd name="f19" fmla="val 17"/>
                  <a:gd name="f20" fmla="val 21"/>
                  <a:gd name="f21" fmla="val 398"/>
                  <a:gd name="f22" fmla="val 22"/>
                  <a:gd name="f23" fmla="val 384"/>
                  <a:gd name="f24" fmla="val 25"/>
                  <a:gd name="f25" fmla="val 375"/>
                  <a:gd name="f26" fmla="val 32"/>
                  <a:gd name="f27" fmla="val 374"/>
                  <a:gd name="f28" fmla="val 38"/>
                  <a:gd name="f29" fmla="val 378"/>
                  <a:gd name="f30" fmla="val 43"/>
                  <a:gd name="f31" fmla="val 387"/>
                  <a:gd name="f32" fmla="val 49"/>
                  <a:gd name="f33" fmla="val 54"/>
                  <a:gd name="f34" fmla="val 64"/>
                  <a:gd name="f35" fmla="val 393"/>
                  <a:gd name="f36" fmla="val 75"/>
                  <a:gd name="f37" fmla="val 86"/>
                  <a:gd name="f38" fmla="val 94"/>
                  <a:gd name="f39" fmla="val 370"/>
                  <a:gd name="f40" fmla="val 97"/>
                  <a:gd name="f41" fmla="val 355"/>
                  <a:gd name="f42" fmla="val 359"/>
                  <a:gd name="f43" fmla="val 83"/>
                  <a:gd name="f44" fmla="val 72"/>
                  <a:gd name="f45" fmla="val 67"/>
                  <a:gd name="f46" fmla="val 60"/>
                  <a:gd name="f47" fmla="val 349"/>
                  <a:gd name="f48" fmla="val 53"/>
                  <a:gd name="f49" fmla="val 344"/>
                  <a:gd name="f50" fmla="val 340"/>
                  <a:gd name="f51" fmla="val 47"/>
                  <a:gd name="f52" fmla="val 335"/>
                  <a:gd name="f53" fmla="val 51"/>
                  <a:gd name="f54" fmla="val 330"/>
                  <a:gd name="f55" fmla="val 61"/>
                  <a:gd name="f56" fmla="val 323"/>
                  <a:gd name="f57" fmla="val 74"/>
                  <a:gd name="f58" fmla="val 319"/>
                  <a:gd name="f59" fmla="val 88"/>
                  <a:gd name="f60" fmla="val 316"/>
                  <a:gd name="f61" fmla="val 101"/>
                  <a:gd name="f62" fmla="val 313"/>
                  <a:gd name="f63" fmla="val 104"/>
                  <a:gd name="f64" fmla="val 308"/>
                  <a:gd name="f65" fmla="val 113"/>
                  <a:gd name="f66" fmla="val 304"/>
                  <a:gd name="f67" fmla="val 128"/>
                  <a:gd name="f68" fmla="val 302"/>
                  <a:gd name="f69" fmla="val 146"/>
                  <a:gd name="f70" fmla="val 164"/>
                  <a:gd name="f71" fmla="val 288"/>
                  <a:gd name="f72" fmla="val 165"/>
                  <a:gd name="f73" fmla="val 279"/>
                  <a:gd name="f74" fmla="val 268"/>
                  <a:gd name="f75" fmla="val 259"/>
                  <a:gd name="f76" fmla="val 160"/>
                  <a:gd name="f77" fmla="val 251"/>
                  <a:gd name="f78" fmla="val 154"/>
                  <a:gd name="f79" fmla="val 243"/>
                  <a:gd name="f80" fmla="val 144"/>
                  <a:gd name="f81" fmla="val 232"/>
                  <a:gd name="f82" fmla="val 136"/>
                  <a:gd name="f83" fmla="val 218"/>
                  <a:gd name="f84" fmla="val 131"/>
                  <a:gd name="f85" fmla="val 201"/>
                  <a:gd name="f86" fmla="val 126"/>
                  <a:gd name="f87" fmla="val 183"/>
                  <a:gd name="f88" fmla="val 122"/>
                  <a:gd name="f89" fmla="val 170"/>
                  <a:gd name="f90" fmla="val 121"/>
                  <a:gd name="f91" fmla="val 163"/>
                  <a:gd name="f92" fmla="val 125"/>
                  <a:gd name="f93" fmla="val 151"/>
                  <a:gd name="f94" fmla="val 161"/>
                  <a:gd name="f95" fmla="val 162"/>
                  <a:gd name="f96" fmla="val 153"/>
                  <a:gd name="f97" fmla="val 174"/>
                  <a:gd name="f98" fmla="val 141"/>
                  <a:gd name="f99" fmla="val 134"/>
                  <a:gd name="f100" fmla="val 187"/>
                  <a:gd name="f101" fmla="val 130"/>
                  <a:gd name="f102" fmla="val 197"/>
                  <a:gd name="f103" fmla="val 210"/>
                  <a:gd name="f104" fmla="val 127"/>
                  <a:gd name="f105" fmla="val 221"/>
                  <a:gd name="f106" fmla="val 230"/>
                  <a:gd name="f107" fmla="val 239"/>
                  <a:gd name="f108" fmla="val 135"/>
                  <a:gd name="f109" fmla="val 142"/>
                  <a:gd name="f110" fmla="val 264"/>
                  <a:gd name="f111" fmla="val 148"/>
                  <a:gd name="f112" fmla="val 276"/>
                  <a:gd name="f113" fmla="val 152"/>
                  <a:gd name="f114" fmla="val 286"/>
                  <a:gd name="f115" fmla="val 294"/>
                  <a:gd name="f116" fmla="val 305"/>
                  <a:gd name="f117" fmla="val 318"/>
                  <a:gd name="f118" fmla="val 124"/>
                  <a:gd name="f119" fmla="val 312"/>
                  <a:gd name="f120" fmla="val 112"/>
                  <a:gd name="f121" fmla="val 303"/>
                  <a:gd name="f122" fmla="val 103"/>
                  <a:gd name="f123" fmla="val 296"/>
                  <a:gd name="f124" fmla="val 95"/>
                  <a:gd name="f125" fmla="val 291"/>
                  <a:gd name="f126" fmla="val 85"/>
                  <a:gd name="f127" fmla="val 289"/>
                  <a:gd name="f128" fmla="val 76"/>
                  <a:gd name="f129" fmla="val 62"/>
                  <a:gd name="f130" fmla="val 287"/>
                  <a:gd name="f131" fmla="val 31"/>
                  <a:gd name="f132" fmla="val 283"/>
                  <a:gd name="f133" fmla="val 20"/>
                  <a:gd name="f134" fmla="val 280"/>
                  <a:gd name="f135" fmla="val 14"/>
                  <a:gd name="f136" fmla="val 275"/>
                  <a:gd name="f137" fmla="val 12"/>
                  <a:gd name="f138" fmla="val 272"/>
                  <a:gd name="f139" fmla="val 269"/>
                  <a:gd name="f140" fmla="val 15"/>
                  <a:gd name="f141" fmla="val 16"/>
                  <a:gd name="f142" fmla="val 19"/>
                  <a:gd name="f143" fmla="val 266"/>
                  <a:gd name="f144" fmla="val 26"/>
                  <a:gd name="f145" fmla="val 29"/>
                  <a:gd name="f146" fmla="val 265"/>
                  <a:gd name="f147" fmla="val 262"/>
                  <a:gd name="f148" fmla="val 33"/>
                  <a:gd name="f149" fmla="val 260"/>
                  <a:gd name="f150" fmla="val 27"/>
                  <a:gd name="f151" fmla="val 23"/>
                  <a:gd name="f152" fmla="val 233"/>
                  <a:gd name="f153" fmla="val 223"/>
                  <a:gd name="f154" fmla="val 215"/>
                  <a:gd name="f155" fmla="val 207"/>
                  <a:gd name="f156" fmla="val 44"/>
                  <a:gd name="f157" fmla="val 203"/>
                  <a:gd name="f158" fmla="val 45"/>
                  <a:gd name="f159" fmla="val 190"/>
                  <a:gd name="f160" fmla="val 37"/>
                  <a:gd name="f161" fmla="val 185"/>
                  <a:gd name="f162" fmla="val 30"/>
                  <a:gd name="f163" fmla="val 18"/>
                  <a:gd name="f164" fmla="val 186"/>
                  <a:gd name="f165" fmla="val 8"/>
                  <a:gd name="f166" fmla="val 178"/>
                  <a:gd name="f167" fmla="val 171"/>
                  <a:gd name="f168" fmla="val 1"/>
                  <a:gd name="f169" fmla="val 5"/>
                  <a:gd name="f170" fmla="val 157"/>
                  <a:gd name="f171" fmla="val 129"/>
                  <a:gd name="f172" fmla="val 41"/>
                  <a:gd name="f173" fmla="val 52"/>
                  <a:gd name="f174" fmla="val 73"/>
                  <a:gd name="f175" fmla="val 96"/>
                  <a:gd name="f176" fmla="val 90"/>
                  <a:gd name="f177" fmla="val 99"/>
                  <a:gd name="f178" fmla="val 106"/>
                  <a:gd name="f179" fmla="val 100"/>
                  <a:gd name="f180" fmla="val 119"/>
                  <a:gd name="f181" fmla="val 138"/>
                  <a:gd name="f182" fmla="val 150"/>
                  <a:gd name="f183" fmla="val 89"/>
                  <a:gd name="f184" fmla="val 82"/>
                  <a:gd name="f185" fmla="val 177"/>
                  <a:gd name="f186" fmla="val 78"/>
                  <a:gd name="f187" fmla="val 188"/>
                  <a:gd name="f188" fmla="val 79"/>
                  <a:gd name="f189" fmla="val 208"/>
                  <a:gd name="f190" fmla="val 226"/>
                  <a:gd name="f191" fmla="val 237"/>
                  <a:gd name="f192" fmla="val 81"/>
                  <a:gd name="f193" fmla="val 71"/>
                  <a:gd name="f194" fmla="val 236"/>
                  <a:gd name="f195" fmla="val 40"/>
                  <a:gd name="f196" fmla="val 255"/>
                  <a:gd name="f197" fmla="val 273"/>
                  <a:gd name="f198" fmla="val 28"/>
                  <a:gd name="f199" fmla="val 317"/>
                  <a:gd name="f200" fmla="val 327"/>
                  <a:gd name="f201" fmla="val 337"/>
                  <a:gd name="f202" fmla="+- 0 0 -90"/>
                  <a:gd name="f203" fmla="*/ f4 1 413"/>
                  <a:gd name="f204" fmla="*/ f5 1 321"/>
                  <a:gd name="f205" fmla="+- f8 0 f6"/>
                  <a:gd name="f206" fmla="+- f7 0 f6"/>
                  <a:gd name="f207" fmla="*/ f202 f0 1"/>
                  <a:gd name="f208" fmla="*/ f206 1 413"/>
                  <a:gd name="f209" fmla="*/ f205 1 321"/>
                  <a:gd name="f210" fmla="*/ f207 1 f3"/>
                  <a:gd name="f211" fmla="*/ 366 1 f208"/>
                  <a:gd name="f212" fmla="*/ 4 1 f209"/>
                  <a:gd name="f213" fmla="*/ 407 1 f208"/>
                  <a:gd name="f214" fmla="*/ 17 1 f209"/>
                  <a:gd name="f215" fmla="*/ 384 1 f208"/>
                  <a:gd name="f216" fmla="*/ 25 1 f209"/>
                  <a:gd name="f217" fmla="*/ 378 1 f208"/>
                  <a:gd name="f218" fmla="*/ 43 1 f209"/>
                  <a:gd name="f219" fmla="*/ 398 1 f208"/>
                  <a:gd name="f220" fmla="*/ 64 1 f209"/>
                  <a:gd name="f221" fmla="*/ 375 1 f208"/>
                  <a:gd name="f222" fmla="*/ 94 1 f209"/>
                  <a:gd name="f223" fmla="*/ 359 1 f208"/>
                  <a:gd name="f224" fmla="*/ 83 1 f209"/>
                  <a:gd name="f225" fmla="*/ 355 1 f208"/>
                  <a:gd name="f226" fmla="*/ 60 1 f209"/>
                  <a:gd name="f227" fmla="*/ 340 1 f208"/>
                  <a:gd name="f228" fmla="*/ 47 1 f209"/>
                  <a:gd name="f229" fmla="*/ 323 1 f208"/>
                  <a:gd name="f230" fmla="*/ 74 1 f209"/>
                  <a:gd name="f231" fmla="*/ 313 1 f208"/>
                  <a:gd name="f232" fmla="*/ 104 1 f209"/>
                  <a:gd name="f233" fmla="*/ 302 1 f208"/>
                  <a:gd name="f234" fmla="*/ 146 1 f209"/>
                  <a:gd name="f235" fmla="*/ 279 1 f208"/>
                  <a:gd name="f236" fmla="*/ 165 1 f209"/>
                  <a:gd name="f237" fmla="*/ 251 1 f208"/>
                  <a:gd name="f238" fmla="*/ 154 1 f209"/>
                  <a:gd name="f239" fmla="*/ 218 1 f208"/>
                  <a:gd name="f240" fmla="*/ 131 1 f209"/>
                  <a:gd name="f241" fmla="*/ 170 1 f208"/>
                  <a:gd name="f242" fmla="*/ 121 1 f209"/>
                  <a:gd name="f243" fmla="*/ 160 1 f208"/>
                  <a:gd name="f244" fmla="*/ 153 1 f208"/>
                  <a:gd name="f245" fmla="*/ 174 1 f209"/>
                  <a:gd name="f246" fmla="*/ 130 1 f208"/>
                  <a:gd name="f247" fmla="*/ 197 1 f209"/>
                  <a:gd name="f248" fmla="*/ 127 1 f208"/>
                  <a:gd name="f249" fmla="*/ 230 1 f209"/>
                  <a:gd name="f250" fmla="*/ 142 1 f208"/>
                  <a:gd name="f251" fmla="*/ 264 1 f209"/>
                  <a:gd name="f252" fmla="*/ 294 1 f209"/>
                  <a:gd name="f253" fmla="*/ 146 1 f208"/>
                  <a:gd name="f254" fmla="*/ 321 1 f209"/>
                  <a:gd name="f255" fmla="*/ 124 1 f208"/>
                  <a:gd name="f256" fmla="*/ 312 1 f209"/>
                  <a:gd name="f257" fmla="*/ 95 1 f208"/>
                  <a:gd name="f258" fmla="*/ 291 1 f209"/>
                  <a:gd name="f259" fmla="*/ 62 1 f208"/>
                  <a:gd name="f260" fmla="*/ 287 1 f209"/>
                  <a:gd name="f261" fmla="*/ 20 1 f208"/>
                  <a:gd name="f262" fmla="*/ 280 1 f209"/>
                  <a:gd name="f263" fmla="*/ 14 1 f208"/>
                  <a:gd name="f264" fmla="*/ 269 1 f209"/>
                  <a:gd name="f265" fmla="*/ 19 1 f208"/>
                  <a:gd name="f266" fmla="*/ 266 1 f209"/>
                  <a:gd name="f267" fmla="*/ 31 1 f208"/>
                  <a:gd name="f268" fmla="*/ 262 1 f209"/>
                  <a:gd name="f269" fmla="*/ 23 1 f208"/>
                  <a:gd name="f270" fmla="*/ 233 1 f209"/>
                  <a:gd name="f271" fmla="*/ 210 1 f209"/>
                  <a:gd name="f272" fmla="*/ 45 1 f208"/>
                  <a:gd name="f273" fmla="*/ 30 1 f208"/>
                  <a:gd name="f274" fmla="*/ 183 1 f209"/>
                  <a:gd name="f275" fmla="*/ 12 1 f208"/>
                  <a:gd name="f276" fmla="*/ 185 1 f209"/>
                  <a:gd name="f277" fmla="*/ 0 1 f208"/>
                  <a:gd name="f278" fmla="*/ 151 1 f209"/>
                  <a:gd name="f279" fmla="*/ 41 1 f208"/>
                  <a:gd name="f280" fmla="*/ 122 1 f209"/>
                  <a:gd name="f281" fmla="*/ 52 1 f208"/>
                  <a:gd name="f282" fmla="*/ 97 1 f209"/>
                  <a:gd name="f283" fmla="*/ 90 1 f208"/>
                  <a:gd name="f284" fmla="*/ 99 1 f209"/>
                  <a:gd name="f285" fmla="*/ 100 1 f209"/>
                  <a:gd name="f286" fmla="*/ 163 1 f208"/>
                  <a:gd name="f287" fmla="*/ 82 1 f209"/>
                  <a:gd name="f288" fmla="*/ 197 1 f208"/>
                  <a:gd name="f289" fmla="*/ 79 1 f209"/>
                  <a:gd name="f290" fmla="*/ 226 1 f208"/>
                  <a:gd name="f291" fmla="*/ 89 1 f209"/>
                  <a:gd name="f292" fmla="*/ 239 1 f208"/>
                  <a:gd name="f293" fmla="*/ 71 1 f209"/>
                  <a:gd name="f294" fmla="*/ 237 1 f208"/>
                  <a:gd name="f295" fmla="*/ 273 1 f208"/>
                  <a:gd name="f296" fmla="*/ 33 1 f209"/>
                  <a:gd name="f297" fmla="*/ 317 1 f208"/>
                  <a:gd name="f298" fmla="*/ 346 1 f208"/>
                  <a:gd name="f299" fmla="*/ 0 1 f209"/>
                  <a:gd name="f300" fmla="*/ f7 1 f208"/>
                  <a:gd name="f301" fmla="*/ f8 1 f209"/>
                  <a:gd name="f302" fmla="+- f210 0 f1"/>
                  <a:gd name="f303" fmla="*/ f277 f203 1"/>
                  <a:gd name="f304" fmla="*/ f300 f203 1"/>
                  <a:gd name="f305" fmla="*/ f301 f204 1"/>
                  <a:gd name="f306" fmla="*/ f299 f204 1"/>
                  <a:gd name="f307" fmla="*/ f211 f203 1"/>
                  <a:gd name="f308" fmla="*/ f212 f204 1"/>
                  <a:gd name="f309" fmla="*/ f213 f203 1"/>
                  <a:gd name="f310" fmla="*/ f214 f204 1"/>
                  <a:gd name="f311" fmla="*/ f215 f203 1"/>
                  <a:gd name="f312" fmla="*/ f216 f204 1"/>
                  <a:gd name="f313" fmla="*/ f217 f203 1"/>
                  <a:gd name="f314" fmla="*/ f218 f204 1"/>
                  <a:gd name="f315" fmla="*/ f219 f203 1"/>
                  <a:gd name="f316" fmla="*/ f220 f204 1"/>
                  <a:gd name="f317" fmla="*/ f221 f203 1"/>
                  <a:gd name="f318" fmla="*/ f222 f204 1"/>
                  <a:gd name="f319" fmla="*/ f223 f203 1"/>
                  <a:gd name="f320" fmla="*/ f224 f204 1"/>
                  <a:gd name="f321" fmla="*/ f225 f203 1"/>
                  <a:gd name="f322" fmla="*/ f226 f204 1"/>
                  <a:gd name="f323" fmla="*/ f227 f203 1"/>
                  <a:gd name="f324" fmla="*/ f228 f204 1"/>
                  <a:gd name="f325" fmla="*/ f229 f203 1"/>
                  <a:gd name="f326" fmla="*/ f230 f204 1"/>
                  <a:gd name="f327" fmla="*/ f231 f203 1"/>
                  <a:gd name="f328" fmla="*/ f232 f204 1"/>
                  <a:gd name="f329" fmla="*/ f233 f203 1"/>
                  <a:gd name="f330" fmla="*/ f234 f204 1"/>
                  <a:gd name="f331" fmla="*/ f235 f203 1"/>
                  <a:gd name="f332" fmla="*/ f236 f204 1"/>
                  <a:gd name="f333" fmla="*/ f237 f203 1"/>
                  <a:gd name="f334" fmla="*/ f238 f204 1"/>
                  <a:gd name="f335" fmla="*/ f239 f203 1"/>
                  <a:gd name="f336" fmla="*/ f240 f204 1"/>
                  <a:gd name="f337" fmla="*/ f241 f203 1"/>
                  <a:gd name="f338" fmla="*/ f242 f204 1"/>
                  <a:gd name="f339" fmla="*/ f243 f203 1"/>
                  <a:gd name="f340" fmla="*/ f244 f203 1"/>
                  <a:gd name="f341" fmla="*/ f245 f204 1"/>
                  <a:gd name="f342" fmla="*/ f246 f203 1"/>
                  <a:gd name="f343" fmla="*/ f247 f204 1"/>
                  <a:gd name="f344" fmla="*/ f248 f203 1"/>
                  <a:gd name="f345" fmla="*/ f249 f204 1"/>
                  <a:gd name="f346" fmla="*/ f250 f203 1"/>
                  <a:gd name="f347" fmla="*/ f251 f204 1"/>
                  <a:gd name="f348" fmla="*/ f252 f204 1"/>
                  <a:gd name="f349" fmla="*/ f253 f203 1"/>
                  <a:gd name="f350" fmla="*/ f254 f204 1"/>
                  <a:gd name="f351" fmla="*/ f255 f203 1"/>
                  <a:gd name="f352" fmla="*/ f256 f204 1"/>
                  <a:gd name="f353" fmla="*/ f257 f203 1"/>
                  <a:gd name="f354" fmla="*/ f258 f204 1"/>
                  <a:gd name="f355" fmla="*/ f259 f203 1"/>
                  <a:gd name="f356" fmla="*/ f260 f204 1"/>
                  <a:gd name="f357" fmla="*/ f261 f203 1"/>
                  <a:gd name="f358" fmla="*/ f262 f204 1"/>
                  <a:gd name="f359" fmla="*/ f263 f203 1"/>
                  <a:gd name="f360" fmla="*/ f264 f204 1"/>
                  <a:gd name="f361" fmla="*/ f265 f203 1"/>
                  <a:gd name="f362" fmla="*/ f266 f204 1"/>
                  <a:gd name="f363" fmla="*/ f267 f203 1"/>
                  <a:gd name="f364" fmla="*/ f268 f204 1"/>
                  <a:gd name="f365" fmla="*/ f269 f203 1"/>
                  <a:gd name="f366" fmla="*/ f270 f204 1"/>
                  <a:gd name="f367" fmla="*/ f271 f204 1"/>
                  <a:gd name="f368" fmla="*/ f272 f203 1"/>
                  <a:gd name="f369" fmla="*/ f273 f203 1"/>
                  <a:gd name="f370" fmla="*/ f274 f204 1"/>
                  <a:gd name="f371" fmla="*/ f275 f203 1"/>
                  <a:gd name="f372" fmla="*/ f276 f204 1"/>
                  <a:gd name="f373" fmla="*/ f278 f204 1"/>
                  <a:gd name="f374" fmla="*/ f279 f203 1"/>
                  <a:gd name="f375" fmla="*/ f280 f204 1"/>
                  <a:gd name="f376" fmla="*/ f281 f203 1"/>
                  <a:gd name="f377" fmla="*/ f282 f204 1"/>
                  <a:gd name="f378" fmla="*/ f283 f203 1"/>
                  <a:gd name="f379" fmla="*/ f284 f204 1"/>
                  <a:gd name="f380" fmla="*/ f285 f204 1"/>
                  <a:gd name="f381" fmla="*/ f286 f203 1"/>
                  <a:gd name="f382" fmla="*/ f287 f204 1"/>
                  <a:gd name="f383" fmla="*/ f288 f203 1"/>
                  <a:gd name="f384" fmla="*/ f289 f204 1"/>
                  <a:gd name="f385" fmla="*/ f290 f203 1"/>
                  <a:gd name="f386" fmla="*/ f291 f204 1"/>
                  <a:gd name="f387" fmla="*/ f292 f203 1"/>
                  <a:gd name="f388" fmla="*/ f293 f204 1"/>
                  <a:gd name="f389" fmla="*/ f294 f203 1"/>
                  <a:gd name="f390" fmla="*/ f295 f203 1"/>
                  <a:gd name="f391" fmla="*/ f296 f204 1"/>
                  <a:gd name="f392" fmla="*/ f297 f203 1"/>
                  <a:gd name="f393" fmla="*/ f298 f203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02">
                    <a:pos x="f307" y="f308"/>
                  </a:cxn>
                  <a:cxn ang="f302">
                    <a:pos x="f309" y="f310"/>
                  </a:cxn>
                  <a:cxn ang="f302">
                    <a:pos x="f311" y="f312"/>
                  </a:cxn>
                  <a:cxn ang="f302">
                    <a:pos x="f313" y="f314"/>
                  </a:cxn>
                  <a:cxn ang="f302">
                    <a:pos x="f315" y="f316"/>
                  </a:cxn>
                  <a:cxn ang="f302">
                    <a:pos x="f317" y="f318"/>
                  </a:cxn>
                  <a:cxn ang="f302">
                    <a:pos x="f319" y="f320"/>
                  </a:cxn>
                  <a:cxn ang="f302">
                    <a:pos x="f321" y="f322"/>
                  </a:cxn>
                  <a:cxn ang="f302">
                    <a:pos x="f323" y="f324"/>
                  </a:cxn>
                  <a:cxn ang="f302">
                    <a:pos x="f325" y="f326"/>
                  </a:cxn>
                  <a:cxn ang="f302">
                    <a:pos x="f327" y="f328"/>
                  </a:cxn>
                  <a:cxn ang="f302">
                    <a:pos x="f329" y="f330"/>
                  </a:cxn>
                  <a:cxn ang="f302">
                    <a:pos x="f331" y="f332"/>
                  </a:cxn>
                  <a:cxn ang="f302">
                    <a:pos x="f333" y="f334"/>
                  </a:cxn>
                  <a:cxn ang="f302">
                    <a:pos x="f335" y="f336"/>
                  </a:cxn>
                  <a:cxn ang="f302">
                    <a:pos x="f337" y="f338"/>
                  </a:cxn>
                  <a:cxn ang="f302">
                    <a:pos x="f339" y="f336"/>
                  </a:cxn>
                  <a:cxn ang="f302">
                    <a:pos x="f340" y="f341"/>
                  </a:cxn>
                  <a:cxn ang="f302">
                    <a:pos x="f342" y="f343"/>
                  </a:cxn>
                  <a:cxn ang="f302">
                    <a:pos x="f344" y="f345"/>
                  </a:cxn>
                  <a:cxn ang="f302">
                    <a:pos x="f346" y="f347"/>
                  </a:cxn>
                  <a:cxn ang="f302">
                    <a:pos x="f340" y="f348"/>
                  </a:cxn>
                  <a:cxn ang="f302">
                    <a:pos x="f349" y="f350"/>
                  </a:cxn>
                  <a:cxn ang="f302">
                    <a:pos x="f351" y="f352"/>
                  </a:cxn>
                  <a:cxn ang="f302">
                    <a:pos x="f353" y="f354"/>
                  </a:cxn>
                  <a:cxn ang="f302">
                    <a:pos x="f355" y="f356"/>
                  </a:cxn>
                  <a:cxn ang="f302">
                    <a:pos x="f357" y="f358"/>
                  </a:cxn>
                  <a:cxn ang="f302">
                    <a:pos x="f359" y="f360"/>
                  </a:cxn>
                  <a:cxn ang="f302">
                    <a:pos x="f361" y="f362"/>
                  </a:cxn>
                  <a:cxn ang="f302">
                    <a:pos x="f363" y="f364"/>
                  </a:cxn>
                  <a:cxn ang="f302">
                    <a:pos x="f365" y="f366"/>
                  </a:cxn>
                  <a:cxn ang="f302">
                    <a:pos x="f363" y="f367"/>
                  </a:cxn>
                  <a:cxn ang="f302">
                    <a:pos x="f368" y="f343"/>
                  </a:cxn>
                  <a:cxn ang="f302">
                    <a:pos x="f369" y="f370"/>
                  </a:cxn>
                  <a:cxn ang="f302">
                    <a:pos x="f371" y="f372"/>
                  </a:cxn>
                  <a:cxn ang="f302">
                    <a:pos x="f303" y="f332"/>
                  </a:cxn>
                  <a:cxn ang="f302">
                    <a:pos x="f359" y="f373"/>
                  </a:cxn>
                  <a:cxn ang="f302">
                    <a:pos x="f374" y="f375"/>
                  </a:cxn>
                  <a:cxn ang="f302">
                    <a:pos x="f376" y="f377"/>
                  </a:cxn>
                  <a:cxn ang="f302">
                    <a:pos x="f378" y="f379"/>
                  </a:cxn>
                  <a:cxn ang="f302">
                    <a:pos x="f344" y="f380"/>
                  </a:cxn>
                  <a:cxn ang="f302">
                    <a:pos x="f381" y="f382"/>
                  </a:cxn>
                  <a:cxn ang="f302">
                    <a:pos x="f383" y="f384"/>
                  </a:cxn>
                  <a:cxn ang="f302">
                    <a:pos x="f385" y="f386"/>
                  </a:cxn>
                  <a:cxn ang="f302">
                    <a:pos x="f387" y="f388"/>
                  </a:cxn>
                  <a:cxn ang="f302">
                    <a:pos x="f389" y="f314"/>
                  </a:cxn>
                  <a:cxn ang="f302">
                    <a:pos x="f390" y="f391"/>
                  </a:cxn>
                  <a:cxn ang="f302">
                    <a:pos x="f392" y="f310"/>
                  </a:cxn>
                  <a:cxn ang="f302">
                    <a:pos x="f393" y="f306"/>
                  </a:cxn>
                </a:cxnLst>
                <a:rect l="f303" t="f306" r="f304" b="f305"/>
                <a:pathLst>
                  <a:path w="413" h="321">
                    <a:moveTo>
                      <a:pt x="f9" y="f6"/>
                    </a:move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7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21" y="f33"/>
                    </a:lnTo>
                    <a:lnTo>
                      <a:pt x="f21" y="f34"/>
                    </a:lnTo>
                    <a:lnTo>
                      <a:pt x="f35" y="f36"/>
                    </a:lnTo>
                    <a:lnTo>
                      <a:pt x="f31" y="f37"/>
                    </a:lnTo>
                    <a:lnTo>
                      <a:pt x="f25" y="f38"/>
                    </a:lnTo>
                    <a:lnTo>
                      <a:pt x="f39" y="f40"/>
                    </a:lnTo>
                    <a:lnTo>
                      <a:pt x="f41" y="f40"/>
                    </a:lnTo>
                    <a:lnTo>
                      <a:pt x="f42" y="f43"/>
                    </a:lnTo>
                    <a:lnTo>
                      <a:pt x="f2" y="f44"/>
                    </a:lnTo>
                    <a:lnTo>
                      <a:pt x="f42" y="f45"/>
                    </a:lnTo>
                    <a:lnTo>
                      <a:pt x="f41" y="f46"/>
                    </a:lnTo>
                    <a:lnTo>
                      <a:pt x="f47" y="f48"/>
                    </a:lnTo>
                    <a:lnTo>
                      <a:pt x="f49" y="f32"/>
                    </a:lnTo>
                    <a:lnTo>
                      <a:pt x="f50" y="f51"/>
                    </a:lnTo>
                    <a:lnTo>
                      <a:pt x="f52" y="f53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69"/>
                    </a:lnTo>
                    <a:lnTo>
                      <a:pt x="f68" y="f70"/>
                    </a:lnTo>
                    <a:lnTo>
                      <a:pt x="f71" y="f72"/>
                    </a:lnTo>
                    <a:lnTo>
                      <a:pt x="f73" y="f72"/>
                    </a:lnTo>
                    <a:lnTo>
                      <a:pt x="f74" y="f70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91" y="f90"/>
                    </a:lnTo>
                    <a:lnTo>
                      <a:pt x="f76" y="f92"/>
                    </a:lnTo>
                    <a:lnTo>
                      <a:pt x="f76" y="f84"/>
                    </a:lnTo>
                    <a:lnTo>
                      <a:pt x="f70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3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67" y="f103"/>
                    </a:lnTo>
                    <a:lnTo>
                      <a:pt x="f104" y="f105"/>
                    </a:lnTo>
                    <a:lnTo>
                      <a:pt x="f104" y="f106"/>
                    </a:lnTo>
                    <a:lnTo>
                      <a:pt x="f101" y="f107"/>
                    </a:lnTo>
                    <a:lnTo>
                      <a:pt x="f108" y="f77"/>
                    </a:lnTo>
                    <a:lnTo>
                      <a:pt x="f109" y="f110"/>
                    </a:lnTo>
                    <a:lnTo>
                      <a:pt x="f111" y="f112"/>
                    </a:lnTo>
                    <a:lnTo>
                      <a:pt x="f113" y="f114"/>
                    </a:lnTo>
                    <a:lnTo>
                      <a:pt x="f96" y="f115"/>
                    </a:lnTo>
                    <a:lnTo>
                      <a:pt x="f96" y="f116"/>
                    </a:lnTo>
                    <a:lnTo>
                      <a:pt x="f113" y="f58"/>
                    </a:lnTo>
                    <a:lnTo>
                      <a:pt x="f69" y="f8"/>
                    </a:lnTo>
                    <a:lnTo>
                      <a:pt x="f109" y="f58"/>
                    </a:lnTo>
                    <a:lnTo>
                      <a:pt x="f99" y="f117"/>
                    </a:lnTo>
                    <a:lnTo>
                      <a:pt x="f118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128" y="f127"/>
                    </a:lnTo>
                    <a:lnTo>
                      <a:pt x="f129" y="f130"/>
                    </a:lnTo>
                    <a:lnTo>
                      <a:pt x="f51" y="f114"/>
                    </a:ln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5" y="f139"/>
                    </a:lnTo>
                    <a:lnTo>
                      <a:pt x="f140" y="f74"/>
                    </a:lnTo>
                    <a:lnTo>
                      <a:pt x="f141" y="f74"/>
                    </a:lnTo>
                    <a:lnTo>
                      <a:pt x="f142" y="f143"/>
                    </a:lnTo>
                    <a:lnTo>
                      <a:pt x="f144" y="f143"/>
                    </a:lnTo>
                    <a:lnTo>
                      <a:pt x="f145" y="f146"/>
                    </a:lnTo>
                    <a:lnTo>
                      <a:pt x="f131" y="f147"/>
                    </a:lnTo>
                    <a:lnTo>
                      <a:pt x="f148" y="f149"/>
                    </a:lnTo>
                    <a:lnTo>
                      <a:pt x="f150" y="f79"/>
                    </a:lnTo>
                    <a:lnTo>
                      <a:pt x="f151" y="f152"/>
                    </a:lnTo>
                    <a:lnTo>
                      <a:pt x="f151" y="f153"/>
                    </a:lnTo>
                    <a:lnTo>
                      <a:pt x="f144" y="f154"/>
                    </a:lnTo>
                    <a:lnTo>
                      <a:pt x="f131" y="f103"/>
                    </a:lnTo>
                    <a:lnTo>
                      <a:pt x="f28" y="f155"/>
                    </a:lnTo>
                    <a:lnTo>
                      <a:pt x="f156" y="f157"/>
                    </a:lnTo>
                    <a:lnTo>
                      <a:pt x="f158" y="f102"/>
                    </a:lnTo>
                    <a:lnTo>
                      <a:pt x="f30" y="f159"/>
                    </a:lnTo>
                    <a:lnTo>
                      <a:pt x="f160" y="f161"/>
                    </a:lnTo>
                    <a:lnTo>
                      <a:pt x="f162" y="f87"/>
                    </a:lnTo>
                    <a:lnTo>
                      <a:pt x="f151" y="f161"/>
                    </a:lnTo>
                    <a:lnTo>
                      <a:pt x="f163" y="f164"/>
                    </a:lnTo>
                    <a:lnTo>
                      <a:pt x="f137" y="f161"/>
                    </a:lnTo>
                    <a:lnTo>
                      <a:pt x="f165" y="f166"/>
                    </a:lnTo>
                    <a:lnTo>
                      <a:pt x="f11" y="f167"/>
                    </a:lnTo>
                    <a:lnTo>
                      <a:pt x="f6" y="f72"/>
                    </a:lnTo>
                    <a:lnTo>
                      <a:pt x="f168" y="f94"/>
                    </a:lnTo>
                    <a:lnTo>
                      <a:pt x="f169" y="f170"/>
                    </a:lnTo>
                    <a:lnTo>
                      <a:pt x="f135" y="f93"/>
                    </a:lnTo>
                    <a:lnTo>
                      <a:pt x="f151" y="f80"/>
                    </a:lnTo>
                    <a:lnTo>
                      <a:pt x="f28" y="f171"/>
                    </a:lnTo>
                    <a:lnTo>
                      <a:pt x="f172" y="f88"/>
                    </a:lnTo>
                    <a:lnTo>
                      <a:pt x="f30" y="f65"/>
                    </a:lnTo>
                    <a:lnTo>
                      <a:pt x="f158" y="f63"/>
                    </a:lnTo>
                    <a:lnTo>
                      <a:pt x="f173" y="f40"/>
                    </a:lnTo>
                    <a:lnTo>
                      <a:pt x="f46" y="f38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lnTo>
                      <a:pt x="f180" y="f61"/>
                    </a:lnTo>
                    <a:lnTo>
                      <a:pt x="f104" y="f179"/>
                    </a:lnTo>
                    <a:lnTo>
                      <a:pt x="f181" y="f38"/>
                    </a:lnTo>
                    <a:lnTo>
                      <a:pt x="f182" y="f183"/>
                    </a:lnTo>
                    <a:lnTo>
                      <a:pt x="f91" y="f184"/>
                    </a:lnTo>
                    <a:lnTo>
                      <a:pt x="f185" y="f186"/>
                    </a:lnTo>
                    <a:lnTo>
                      <a:pt x="f187" y="f128"/>
                    </a:lnTo>
                    <a:lnTo>
                      <a:pt x="f102" y="f188"/>
                    </a:lnTo>
                    <a:lnTo>
                      <a:pt x="f189" y="f43"/>
                    </a:lnTo>
                    <a:lnTo>
                      <a:pt x="f83" y="f37"/>
                    </a:lnTo>
                    <a:lnTo>
                      <a:pt x="f190" y="f183"/>
                    </a:lnTo>
                    <a:lnTo>
                      <a:pt x="f152" y="f59"/>
                    </a:lnTo>
                    <a:lnTo>
                      <a:pt x="f191" y="f192"/>
                    </a:lnTo>
                    <a:lnTo>
                      <a:pt x="f107" y="f193"/>
                    </a:lnTo>
                    <a:lnTo>
                      <a:pt x="f194" y="f33"/>
                    </a:lnTo>
                    <a:lnTo>
                      <a:pt x="f194" y="f51"/>
                    </a:lnTo>
                    <a:lnTo>
                      <a:pt x="f191" y="f30"/>
                    </a:lnTo>
                    <a:lnTo>
                      <a:pt x="f79" y="f195"/>
                    </a:lnTo>
                    <a:lnTo>
                      <a:pt x="f196" y="f28"/>
                    </a:lnTo>
                    <a:lnTo>
                      <a:pt x="f197" y="f148"/>
                    </a:lnTo>
                    <a:lnTo>
                      <a:pt x="f125" y="f198"/>
                    </a:lnTo>
                    <a:lnTo>
                      <a:pt x="f64" y="f22"/>
                    </a:lnTo>
                    <a:lnTo>
                      <a:pt x="f199" y="f19"/>
                    </a:lnTo>
                    <a:lnTo>
                      <a:pt x="f200" y="f15"/>
                    </a:lnTo>
                    <a:lnTo>
                      <a:pt x="f201" y="f11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82" name="Freeform 44">
                <a:extLst>
                  <a:ext uri="{FF2B5EF4-FFF2-40B4-BE49-F238E27FC236}">
                    <a16:creationId xmlns:a16="http://schemas.microsoft.com/office/drawing/2014/main" id="{E95649BB-ABB2-4F2B-90F0-8B4CFD0302B2}"/>
                  </a:ext>
                </a:extLst>
              </p:cNvPr>
              <p:cNvSpPr/>
              <p:nvPr/>
            </p:nvSpPr>
            <p:spPr>
              <a:xfrm>
                <a:off x="4748662" y="2609496"/>
                <a:ext cx="6473" cy="536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39"/>
                  <a:gd name="f7" fmla="val 33"/>
                  <a:gd name="f8" fmla="val 1"/>
                  <a:gd name="f9" fmla="val 36"/>
                  <a:gd name="f10" fmla="val 7"/>
                  <a:gd name="f11" fmla="val 26"/>
                  <a:gd name="f12" fmla="val 17"/>
                  <a:gd name="f13" fmla="val 24"/>
                  <a:gd name="f14" fmla="val 21"/>
                  <a:gd name="f15" fmla="val 13"/>
                  <a:gd name="f16" fmla="val 28"/>
                  <a:gd name="f17" fmla="val 4"/>
                  <a:gd name="f18" fmla="val 22"/>
                  <a:gd name="f19" fmla="val 11"/>
                  <a:gd name="f20" fmla="val 10"/>
                  <a:gd name="f21" fmla="+- 0 0 -90"/>
                  <a:gd name="f22" fmla="*/ f3 1 39"/>
                  <a:gd name="f23" fmla="*/ f4 1 33"/>
                  <a:gd name="f24" fmla="+- f7 0 f5"/>
                  <a:gd name="f25" fmla="+- f6 0 f5"/>
                  <a:gd name="f26" fmla="*/ f21 f0 1"/>
                  <a:gd name="f27" fmla="*/ f25 1 39"/>
                  <a:gd name="f28" fmla="*/ f24 1 33"/>
                  <a:gd name="f29" fmla="*/ f26 1 f2"/>
                  <a:gd name="f30" fmla="*/ 39 1 f27"/>
                  <a:gd name="f31" fmla="*/ 0 1 f28"/>
                  <a:gd name="f32" fmla="*/ 1 1 f28"/>
                  <a:gd name="f33" fmla="*/ 36 1 f27"/>
                  <a:gd name="f34" fmla="*/ 7 1 f28"/>
                  <a:gd name="f35" fmla="*/ 26 1 f27"/>
                  <a:gd name="f36" fmla="*/ 17 1 f28"/>
                  <a:gd name="f37" fmla="*/ 24 1 f27"/>
                  <a:gd name="f38" fmla="*/ 21 1 f28"/>
                  <a:gd name="f39" fmla="*/ 33 1 f28"/>
                  <a:gd name="f40" fmla="*/ 13 1 f27"/>
                  <a:gd name="f41" fmla="*/ 28 1 f28"/>
                  <a:gd name="f42" fmla="*/ 4 1 f27"/>
                  <a:gd name="f43" fmla="*/ 22 1 f28"/>
                  <a:gd name="f44" fmla="*/ 0 1 f27"/>
                  <a:gd name="f45" fmla="*/ 1 1 f27"/>
                  <a:gd name="f46" fmla="*/ 11 1 f28"/>
                  <a:gd name="f47" fmla="*/ 10 1 f27"/>
                  <a:gd name="f48" fmla="*/ 4 1 f28"/>
                  <a:gd name="f49" fmla="*/ f6 1 f27"/>
                  <a:gd name="f50" fmla="*/ f7 1 f28"/>
                  <a:gd name="f51" fmla="+- f29 0 f1"/>
                  <a:gd name="f52" fmla="*/ f44 f22 1"/>
                  <a:gd name="f53" fmla="*/ f49 f22 1"/>
                  <a:gd name="f54" fmla="*/ f50 f23 1"/>
                  <a:gd name="f55" fmla="*/ f31 f23 1"/>
                  <a:gd name="f56" fmla="*/ f30 f22 1"/>
                  <a:gd name="f57" fmla="*/ f32 f23 1"/>
                  <a:gd name="f58" fmla="*/ f33 f22 1"/>
                  <a:gd name="f59" fmla="*/ f34 f23 1"/>
                  <a:gd name="f60" fmla="*/ f35 f22 1"/>
                  <a:gd name="f61" fmla="*/ f36 f23 1"/>
                  <a:gd name="f62" fmla="*/ f37 f22 1"/>
                  <a:gd name="f63" fmla="*/ f38 f23 1"/>
                  <a:gd name="f64" fmla="*/ f39 f23 1"/>
                  <a:gd name="f65" fmla="*/ f40 f22 1"/>
                  <a:gd name="f66" fmla="*/ f41 f23 1"/>
                  <a:gd name="f67" fmla="*/ f42 f22 1"/>
                  <a:gd name="f68" fmla="*/ f43 f23 1"/>
                  <a:gd name="f69" fmla="*/ f45 f22 1"/>
                  <a:gd name="f70" fmla="*/ f46 f23 1"/>
                  <a:gd name="f71" fmla="*/ f47 f22 1"/>
                  <a:gd name="f72" fmla="*/ f48 f23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1">
                    <a:pos x="f56" y="f55"/>
                  </a:cxn>
                  <a:cxn ang="f51">
                    <a:pos x="f56" y="f57"/>
                  </a:cxn>
                  <a:cxn ang="f51">
                    <a:pos x="f58" y="f59"/>
                  </a:cxn>
                  <a:cxn ang="f51">
                    <a:pos x="f60" y="f61"/>
                  </a:cxn>
                  <a:cxn ang="f51">
                    <a:pos x="f62" y="f63"/>
                  </a:cxn>
                  <a:cxn ang="f51">
                    <a:pos x="f62" y="f64"/>
                  </a:cxn>
                  <a:cxn ang="f51">
                    <a:pos x="f65" y="f66"/>
                  </a:cxn>
                  <a:cxn ang="f51">
                    <a:pos x="f67" y="f68"/>
                  </a:cxn>
                  <a:cxn ang="f51">
                    <a:pos x="f52" y="f61"/>
                  </a:cxn>
                  <a:cxn ang="f51">
                    <a:pos x="f69" y="f70"/>
                  </a:cxn>
                  <a:cxn ang="f51">
                    <a:pos x="f71" y="f72"/>
                  </a:cxn>
                  <a:cxn ang="f51">
                    <a:pos x="f62" y="f57"/>
                  </a:cxn>
                  <a:cxn ang="f51">
                    <a:pos x="f56" y="f55"/>
                  </a:cxn>
                </a:cxnLst>
                <a:rect l="f52" t="f55" r="f53" b="f54"/>
                <a:pathLst>
                  <a:path w="39" h="33">
                    <a:moveTo>
                      <a:pt x="f6" y="f5"/>
                    </a:moveTo>
                    <a:lnTo>
                      <a:pt x="f6" y="f8"/>
                    </a:ln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3" y="f7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5" y="f12"/>
                    </a:lnTo>
                    <a:lnTo>
                      <a:pt x="f8" y="f19"/>
                    </a:lnTo>
                    <a:lnTo>
                      <a:pt x="f20" y="f17"/>
                    </a:lnTo>
                    <a:lnTo>
                      <a:pt x="f13" y="f8"/>
                    </a:lnTo>
                    <a:lnTo>
                      <a:pt x="f6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83" name="Freeform 45">
                <a:extLst>
                  <a:ext uri="{FF2B5EF4-FFF2-40B4-BE49-F238E27FC236}">
                    <a16:creationId xmlns:a16="http://schemas.microsoft.com/office/drawing/2014/main" id="{223BBC46-BB92-428D-BB1F-7876E4E15FA9}"/>
                  </a:ext>
                </a:extLst>
              </p:cNvPr>
              <p:cNvSpPr/>
              <p:nvPr/>
            </p:nvSpPr>
            <p:spPr>
              <a:xfrm>
                <a:off x="4383368" y="2613565"/>
                <a:ext cx="9619" cy="6025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8"/>
                  <a:gd name="f7" fmla="val 37"/>
                  <a:gd name="f8" fmla="val 15"/>
                  <a:gd name="f9" fmla="val 3"/>
                  <a:gd name="f10" fmla="val 33"/>
                  <a:gd name="f11" fmla="val 4"/>
                  <a:gd name="f12" fmla="val 48"/>
                  <a:gd name="f13" fmla="val 5"/>
                  <a:gd name="f14" fmla="val 52"/>
                  <a:gd name="f15" fmla="val 24"/>
                  <a:gd name="f16" fmla="val 44"/>
                  <a:gd name="f17" fmla="val 36"/>
                  <a:gd name="f18" fmla="val 34"/>
                  <a:gd name="f19" fmla="val 35"/>
                  <a:gd name="f20" fmla="val 23"/>
                  <a:gd name="f21" fmla="val 30"/>
                  <a:gd name="f22" fmla="val 12"/>
                  <a:gd name="f23" fmla="val 18"/>
                  <a:gd name="f24" fmla="+- 0 0 -90"/>
                  <a:gd name="f25" fmla="*/ f3 1 58"/>
                  <a:gd name="f26" fmla="*/ f4 1 37"/>
                  <a:gd name="f27" fmla="+- f7 0 f5"/>
                  <a:gd name="f28" fmla="+- f6 0 f5"/>
                  <a:gd name="f29" fmla="*/ f24 f0 1"/>
                  <a:gd name="f30" fmla="*/ f28 1 58"/>
                  <a:gd name="f31" fmla="*/ f27 1 37"/>
                  <a:gd name="f32" fmla="*/ f29 1 f2"/>
                  <a:gd name="f33" fmla="*/ 0 1 f30"/>
                  <a:gd name="f34" fmla="*/ 0 1 f31"/>
                  <a:gd name="f35" fmla="*/ 15 1 f30"/>
                  <a:gd name="f36" fmla="*/ 3 1 f31"/>
                  <a:gd name="f37" fmla="*/ 33 1 f30"/>
                  <a:gd name="f38" fmla="*/ 4 1 f31"/>
                  <a:gd name="f39" fmla="*/ 48 1 f30"/>
                  <a:gd name="f40" fmla="*/ 5 1 f31"/>
                  <a:gd name="f41" fmla="*/ 52 1 f30"/>
                  <a:gd name="f42" fmla="*/ 24 1 f31"/>
                  <a:gd name="f43" fmla="*/ 58 1 f30"/>
                  <a:gd name="f44" fmla="*/ 37 1 f31"/>
                  <a:gd name="f45" fmla="*/ 44 1 f30"/>
                  <a:gd name="f46" fmla="*/ 36 1 f31"/>
                  <a:gd name="f47" fmla="*/ 34 1 f30"/>
                  <a:gd name="f48" fmla="*/ 35 1 f31"/>
                  <a:gd name="f49" fmla="*/ 23 1 f30"/>
                  <a:gd name="f50" fmla="*/ 30 1 f31"/>
                  <a:gd name="f51" fmla="*/ 12 1 f30"/>
                  <a:gd name="f52" fmla="*/ 18 1 f31"/>
                  <a:gd name="f53" fmla="*/ f6 1 f30"/>
                  <a:gd name="f54" fmla="*/ f7 1 f31"/>
                  <a:gd name="f55" fmla="+- f32 0 f1"/>
                  <a:gd name="f56" fmla="*/ f33 f25 1"/>
                  <a:gd name="f57" fmla="*/ f53 f25 1"/>
                  <a:gd name="f58" fmla="*/ f54 f26 1"/>
                  <a:gd name="f59" fmla="*/ f34 f26 1"/>
                  <a:gd name="f60" fmla="*/ f35 f25 1"/>
                  <a:gd name="f61" fmla="*/ f36 f26 1"/>
                  <a:gd name="f62" fmla="*/ f37 f25 1"/>
                  <a:gd name="f63" fmla="*/ f38 f26 1"/>
                  <a:gd name="f64" fmla="*/ f39 f25 1"/>
                  <a:gd name="f65" fmla="*/ f40 f26 1"/>
                  <a:gd name="f66" fmla="*/ f41 f25 1"/>
                  <a:gd name="f67" fmla="*/ f42 f26 1"/>
                  <a:gd name="f68" fmla="*/ f43 f25 1"/>
                  <a:gd name="f69" fmla="*/ f44 f26 1"/>
                  <a:gd name="f70" fmla="*/ f45 f25 1"/>
                  <a:gd name="f71" fmla="*/ f46 f26 1"/>
                  <a:gd name="f72" fmla="*/ f47 f25 1"/>
                  <a:gd name="f73" fmla="*/ f48 f26 1"/>
                  <a:gd name="f74" fmla="*/ f49 f25 1"/>
                  <a:gd name="f75" fmla="*/ f50 f26 1"/>
                  <a:gd name="f76" fmla="*/ f51 f25 1"/>
                  <a:gd name="f77" fmla="*/ f52 f2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5">
                    <a:pos x="f56" y="f59"/>
                  </a:cxn>
                  <a:cxn ang="f55">
                    <a:pos x="f60" y="f61"/>
                  </a:cxn>
                  <a:cxn ang="f55">
                    <a:pos x="f62" y="f63"/>
                  </a:cxn>
                  <a:cxn ang="f55">
                    <a:pos x="f64" y="f65"/>
                  </a:cxn>
                  <a:cxn ang="f55">
                    <a:pos x="f66" y="f67"/>
                  </a:cxn>
                  <a:cxn ang="f55">
                    <a:pos x="f68" y="f69"/>
                  </a:cxn>
                  <a:cxn ang="f55">
                    <a:pos x="f70" y="f71"/>
                  </a:cxn>
                  <a:cxn ang="f55">
                    <a:pos x="f72" y="f73"/>
                  </a:cxn>
                  <a:cxn ang="f55">
                    <a:pos x="f74" y="f75"/>
                  </a:cxn>
                  <a:cxn ang="f55">
                    <a:pos x="f76" y="f77"/>
                  </a:cxn>
                  <a:cxn ang="f55">
                    <a:pos x="f56" y="f59"/>
                  </a:cxn>
                </a:cxnLst>
                <a:rect l="f56" t="f59" r="f57" b="f58"/>
                <a:pathLst>
                  <a:path w="58" h="37">
                    <a:moveTo>
                      <a:pt x="f5" y="f5"/>
                    </a:moveTo>
                    <a:lnTo>
                      <a:pt x="f8" y="f9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6" y="f7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5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84" name="Freeform 46">
                <a:extLst>
                  <a:ext uri="{FF2B5EF4-FFF2-40B4-BE49-F238E27FC236}">
                    <a16:creationId xmlns:a16="http://schemas.microsoft.com/office/drawing/2014/main" id="{C22C323A-385A-4E9F-A865-AECFE3D483BA}"/>
                  </a:ext>
                </a:extLst>
              </p:cNvPr>
              <p:cNvSpPr/>
              <p:nvPr/>
            </p:nvSpPr>
            <p:spPr>
              <a:xfrm>
                <a:off x="4391332" y="2609011"/>
                <a:ext cx="12444" cy="10908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75"/>
                  <a:gd name="f7" fmla="val 67"/>
                  <a:gd name="f8" fmla="val 42"/>
                  <a:gd name="f9" fmla="val 54"/>
                  <a:gd name="f10" fmla="val 14"/>
                  <a:gd name="f11" fmla="val 64"/>
                  <a:gd name="f12" fmla="val 28"/>
                  <a:gd name="f13" fmla="val 72"/>
                  <a:gd name="f14" fmla="val 43"/>
                  <a:gd name="f15" fmla="val 57"/>
                  <a:gd name="f16" fmla="val 63"/>
                  <a:gd name="f17" fmla="val 65"/>
                  <a:gd name="f18" fmla="val 53"/>
                  <a:gd name="f19" fmla="val 24"/>
                  <a:gd name="f20" fmla="val 10"/>
                  <a:gd name="f21" fmla="val 4"/>
                  <a:gd name="f22" fmla="val 52"/>
                  <a:gd name="f23" fmla="val 33"/>
                  <a:gd name="f24" fmla="val 32"/>
                  <a:gd name="f25" fmla="val 9"/>
                  <a:gd name="f26" fmla="val 29"/>
                  <a:gd name="f27" fmla="val 22"/>
                  <a:gd name="f28" fmla="val 11"/>
                  <a:gd name="f29" fmla="+- 0 0 -90"/>
                  <a:gd name="f30" fmla="*/ f3 1 75"/>
                  <a:gd name="f31" fmla="*/ f4 1 67"/>
                  <a:gd name="f32" fmla="+- f7 0 f5"/>
                  <a:gd name="f33" fmla="+- f6 0 f5"/>
                  <a:gd name="f34" fmla="*/ f29 f0 1"/>
                  <a:gd name="f35" fmla="*/ f33 1 75"/>
                  <a:gd name="f36" fmla="*/ f32 1 67"/>
                  <a:gd name="f37" fmla="*/ f34 1 f2"/>
                  <a:gd name="f38" fmla="*/ 42 1 f35"/>
                  <a:gd name="f39" fmla="*/ 0 1 f36"/>
                  <a:gd name="f40" fmla="*/ 54 1 f35"/>
                  <a:gd name="f41" fmla="*/ 14 1 f36"/>
                  <a:gd name="f42" fmla="*/ 64 1 f35"/>
                  <a:gd name="f43" fmla="*/ 28 1 f36"/>
                  <a:gd name="f44" fmla="*/ 72 1 f35"/>
                  <a:gd name="f45" fmla="*/ 43 1 f36"/>
                  <a:gd name="f46" fmla="*/ 75 1 f35"/>
                  <a:gd name="f47" fmla="*/ 57 1 f36"/>
                  <a:gd name="f48" fmla="*/ 63 1 f36"/>
                  <a:gd name="f49" fmla="*/ 65 1 f36"/>
                  <a:gd name="f50" fmla="*/ 53 1 f35"/>
                  <a:gd name="f51" fmla="*/ 67 1 f36"/>
                  <a:gd name="f52" fmla="*/ 24 1 f35"/>
                  <a:gd name="f53" fmla="*/ 10 1 f35"/>
                  <a:gd name="f54" fmla="*/ 4 1 f35"/>
                  <a:gd name="f55" fmla="*/ 52 1 f36"/>
                  <a:gd name="f56" fmla="*/ 0 1 f35"/>
                  <a:gd name="f57" fmla="*/ 33 1 f36"/>
                  <a:gd name="f58" fmla="*/ 32 1 f36"/>
                  <a:gd name="f59" fmla="*/ 9 1 f35"/>
                  <a:gd name="f60" fmla="*/ 14 1 f35"/>
                  <a:gd name="f61" fmla="*/ 29 1 f36"/>
                  <a:gd name="f62" fmla="*/ 22 1 f36"/>
                  <a:gd name="f63" fmla="*/ 32 1 f35"/>
                  <a:gd name="f64" fmla="*/ 11 1 f36"/>
                  <a:gd name="f65" fmla="*/ f6 1 f35"/>
                  <a:gd name="f66" fmla="*/ f7 1 f36"/>
                  <a:gd name="f67" fmla="+- f37 0 f1"/>
                  <a:gd name="f68" fmla="*/ f56 f30 1"/>
                  <a:gd name="f69" fmla="*/ f65 f30 1"/>
                  <a:gd name="f70" fmla="*/ f66 f31 1"/>
                  <a:gd name="f71" fmla="*/ f39 f31 1"/>
                  <a:gd name="f72" fmla="*/ f38 f30 1"/>
                  <a:gd name="f73" fmla="*/ f40 f30 1"/>
                  <a:gd name="f74" fmla="*/ f41 f31 1"/>
                  <a:gd name="f75" fmla="*/ f42 f30 1"/>
                  <a:gd name="f76" fmla="*/ f43 f31 1"/>
                  <a:gd name="f77" fmla="*/ f44 f30 1"/>
                  <a:gd name="f78" fmla="*/ f45 f31 1"/>
                  <a:gd name="f79" fmla="*/ f46 f30 1"/>
                  <a:gd name="f80" fmla="*/ f47 f31 1"/>
                  <a:gd name="f81" fmla="*/ f48 f31 1"/>
                  <a:gd name="f82" fmla="*/ f49 f31 1"/>
                  <a:gd name="f83" fmla="*/ f50 f30 1"/>
                  <a:gd name="f84" fmla="*/ f51 f31 1"/>
                  <a:gd name="f85" fmla="*/ f52 f30 1"/>
                  <a:gd name="f86" fmla="*/ f53 f30 1"/>
                  <a:gd name="f87" fmla="*/ f54 f30 1"/>
                  <a:gd name="f88" fmla="*/ f55 f31 1"/>
                  <a:gd name="f89" fmla="*/ f57 f31 1"/>
                  <a:gd name="f90" fmla="*/ f58 f31 1"/>
                  <a:gd name="f91" fmla="*/ f59 f30 1"/>
                  <a:gd name="f92" fmla="*/ f60 f30 1"/>
                  <a:gd name="f93" fmla="*/ f61 f31 1"/>
                  <a:gd name="f94" fmla="*/ f62 f31 1"/>
                  <a:gd name="f95" fmla="*/ f63 f30 1"/>
                  <a:gd name="f96" fmla="*/ f64 f3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7">
                    <a:pos x="f72" y="f71"/>
                  </a:cxn>
                  <a:cxn ang="f67">
                    <a:pos x="f73" y="f74"/>
                  </a:cxn>
                  <a:cxn ang="f67">
                    <a:pos x="f75" y="f76"/>
                  </a:cxn>
                  <a:cxn ang="f67">
                    <a:pos x="f77" y="f78"/>
                  </a:cxn>
                  <a:cxn ang="f67">
                    <a:pos x="f79" y="f80"/>
                  </a:cxn>
                  <a:cxn ang="f67">
                    <a:pos x="f77" y="f81"/>
                  </a:cxn>
                  <a:cxn ang="f67">
                    <a:pos x="f75" y="f82"/>
                  </a:cxn>
                  <a:cxn ang="f67">
                    <a:pos x="f83" y="f84"/>
                  </a:cxn>
                  <a:cxn ang="f67">
                    <a:pos x="f85" y="f84"/>
                  </a:cxn>
                  <a:cxn ang="f67">
                    <a:pos x="f86" y="f82"/>
                  </a:cxn>
                  <a:cxn ang="f67">
                    <a:pos x="f87" y="f88"/>
                  </a:cxn>
                  <a:cxn ang="f67">
                    <a:pos x="f68" y="f89"/>
                  </a:cxn>
                  <a:cxn ang="f67">
                    <a:pos x="f87" y="f90"/>
                  </a:cxn>
                  <a:cxn ang="f67">
                    <a:pos x="f91" y="f90"/>
                  </a:cxn>
                  <a:cxn ang="f67">
                    <a:pos x="f92" y="f93"/>
                  </a:cxn>
                  <a:cxn ang="f67">
                    <a:pos x="f85" y="f94"/>
                  </a:cxn>
                  <a:cxn ang="f67">
                    <a:pos x="f95" y="f96"/>
                  </a:cxn>
                  <a:cxn ang="f67">
                    <a:pos x="f72" y="f71"/>
                  </a:cxn>
                </a:cxnLst>
                <a:rect l="f68" t="f71" r="f69" b="f70"/>
                <a:pathLst>
                  <a:path w="75" h="67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6" y="f15"/>
                    </a:lnTo>
                    <a:lnTo>
                      <a:pt x="f13" y="f16"/>
                    </a:lnTo>
                    <a:lnTo>
                      <a:pt x="f11" y="f17"/>
                    </a:lnTo>
                    <a:lnTo>
                      <a:pt x="f18" y="f7"/>
                    </a:lnTo>
                    <a:lnTo>
                      <a:pt x="f19" y="f7"/>
                    </a:lnTo>
                    <a:lnTo>
                      <a:pt x="f20" y="f17"/>
                    </a:lnTo>
                    <a:lnTo>
                      <a:pt x="f21" y="f22"/>
                    </a:lnTo>
                    <a:lnTo>
                      <a:pt x="f5" y="f23"/>
                    </a:lnTo>
                    <a:lnTo>
                      <a:pt x="f21" y="f24"/>
                    </a:lnTo>
                    <a:lnTo>
                      <a:pt x="f25" y="f24"/>
                    </a:lnTo>
                    <a:lnTo>
                      <a:pt x="f10" y="f26"/>
                    </a:lnTo>
                    <a:lnTo>
                      <a:pt x="f19" y="f27"/>
                    </a:lnTo>
                    <a:lnTo>
                      <a:pt x="f24" y="f28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70A0FF"/>
                  </a:gs>
                  <a:gs pos="100000">
                    <a:srgbClr val="0037A4"/>
                  </a:gs>
                </a:gsLst>
                <a:lin ang="162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</p:grpSp>
        <p:grpSp>
          <p:nvGrpSpPr>
            <p:cNvPr id="85" name="Group 79">
              <a:extLst>
                <a:ext uri="{FF2B5EF4-FFF2-40B4-BE49-F238E27FC236}">
                  <a16:creationId xmlns:a16="http://schemas.microsoft.com/office/drawing/2014/main" id="{C2239E63-C468-4DA8-AEFA-E4EBA6BA9269}"/>
                </a:ext>
              </a:extLst>
            </p:cNvPr>
            <p:cNvGrpSpPr/>
            <p:nvPr/>
          </p:nvGrpSpPr>
          <p:grpSpPr>
            <a:xfrm>
              <a:off x="3499600" y="1683858"/>
              <a:ext cx="768681" cy="564879"/>
              <a:chOff x="3499600" y="1683858"/>
              <a:chExt cx="768681" cy="564879"/>
            </a:xfrm>
          </p:grpSpPr>
          <p:sp>
            <p:nvSpPr>
              <p:cNvPr id="86" name="Freeform 6">
                <a:extLst>
                  <a:ext uri="{FF2B5EF4-FFF2-40B4-BE49-F238E27FC236}">
                    <a16:creationId xmlns:a16="http://schemas.microsoft.com/office/drawing/2014/main" id="{2F20B3FB-CECE-4C90-9A27-32CDC970FFC7}"/>
                  </a:ext>
                </a:extLst>
              </p:cNvPr>
              <p:cNvSpPr/>
              <p:nvPr/>
            </p:nvSpPr>
            <p:spPr>
              <a:xfrm>
                <a:off x="4138290" y="1887696"/>
                <a:ext cx="29132" cy="19046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34"/>
                  <a:gd name="f7" fmla="val 98"/>
                  <a:gd name="f8" fmla="val 4"/>
                  <a:gd name="f9" fmla="val 9"/>
                  <a:gd name="f10" fmla="val 17"/>
                  <a:gd name="f11" fmla="val 6"/>
                  <a:gd name="f12" fmla="val 28"/>
                  <a:gd name="f13" fmla="val 15"/>
                  <a:gd name="f14" fmla="val 39"/>
                  <a:gd name="f15" fmla="val 24"/>
                  <a:gd name="f16" fmla="val 48"/>
                  <a:gd name="f17" fmla="val 57"/>
                  <a:gd name="f18" fmla="val 27"/>
                  <a:gd name="f19" fmla="val 68"/>
                  <a:gd name="f20" fmla="val 21"/>
                  <a:gd name="f21" fmla="val 72"/>
                  <a:gd name="f22" fmla="val 18"/>
                  <a:gd name="f23" fmla="val 79"/>
                  <a:gd name="f24" fmla="val 19"/>
                  <a:gd name="f25" fmla="val 87"/>
                  <a:gd name="f26" fmla="val 23"/>
                  <a:gd name="f27" fmla="val 93"/>
                  <a:gd name="f28" fmla="val 25"/>
                  <a:gd name="f29" fmla="val 105"/>
                  <a:gd name="f30" fmla="val 20"/>
                  <a:gd name="f31" fmla="val 120"/>
                  <a:gd name="f32" fmla="val 13"/>
                  <a:gd name="f33" fmla="val 122"/>
                  <a:gd name="f34" fmla="val 125"/>
                  <a:gd name="f35" fmla="val 14"/>
                  <a:gd name="f36" fmla="val 126"/>
                  <a:gd name="f37" fmla="val 127"/>
                  <a:gd name="f38" fmla="val 128"/>
                  <a:gd name="f39" fmla="val 29"/>
                  <a:gd name="f40" fmla="val 34"/>
                  <a:gd name="f41" fmla="val 37"/>
                  <a:gd name="f42" fmla="val 117"/>
                  <a:gd name="f43" fmla="val 40"/>
                  <a:gd name="f44" fmla="val 43"/>
                  <a:gd name="f45" fmla="val 119"/>
                  <a:gd name="f46" fmla="val 49"/>
                  <a:gd name="f47" fmla="val 59"/>
                  <a:gd name="f48" fmla="val 132"/>
                  <a:gd name="f49" fmla="val 66"/>
                  <a:gd name="f50" fmla="val 73"/>
                  <a:gd name="f51" fmla="val 131"/>
                  <a:gd name="f52" fmla="val 80"/>
                  <a:gd name="f53" fmla="val 123"/>
                  <a:gd name="f54" fmla="val 86"/>
                  <a:gd name="f55" fmla="val 113"/>
                  <a:gd name="f56" fmla="val 94"/>
                  <a:gd name="f57" fmla="val 103"/>
                  <a:gd name="f58" fmla="val 97"/>
                  <a:gd name="f59" fmla="val 90"/>
                  <a:gd name="f60" fmla="val 75"/>
                  <a:gd name="f61" fmla="val 61"/>
                  <a:gd name="f62" fmla="val 95"/>
                  <a:gd name="f63" fmla="val 51"/>
                  <a:gd name="f64" fmla="val 92"/>
                  <a:gd name="f65" fmla="val 38"/>
                  <a:gd name="f66" fmla="val 84"/>
                  <a:gd name="f67" fmla="val 31"/>
                  <a:gd name="f68" fmla="val 64"/>
                  <a:gd name="f69" fmla="val 16"/>
                  <a:gd name="f70" fmla="val 52"/>
                  <a:gd name="f71" fmla="val 47"/>
                  <a:gd name="f72" fmla="val 12"/>
                  <a:gd name="f73" fmla="val 41"/>
                  <a:gd name="f74" fmla="val 10"/>
                  <a:gd name="f75" fmla="val 5"/>
                  <a:gd name="f76" fmla="+- 0 0 -90"/>
                  <a:gd name="f77" fmla="*/ f3 1 134"/>
                  <a:gd name="f78" fmla="*/ f4 1 98"/>
                  <a:gd name="f79" fmla="+- f7 0 f5"/>
                  <a:gd name="f80" fmla="+- f6 0 f5"/>
                  <a:gd name="f81" fmla="*/ f76 f0 1"/>
                  <a:gd name="f82" fmla="*/ f80 1 134"/>
                  <a:gd name="f83" fmla="*/ f79 1 98"/>
                  <a:gd name="f84" fmla="*/ f81 1 f2"/>
                  <a:gd name="f85" fmla="*/ 4 1 f82"/>
                  <a:gd name="f86" fmla="*/ 0 1 f83"/>
                  <a:gd name="f87" fmla="*/ 9 1 f82"/>
                  <a:gd name="f88" fmla="*/ 17 1 f82"/>
                  <a:gd name="f89" fmla="*/ 6 1 f83"/>
                  <a:gd name="f90" fmla="*/ 28 1 f82"/>
                  <a:gd name="f91" fmla="*/ 15 1 f83"/>
                  <a:gd name="f92" fmla="*/ 39 1 f82"/>
                  <a:gd name="f93" fmla="*/ 24 1 f83"/>
                  <a:gd name="f94" fmla="*/ 48 1 f82"/>
                  <a:gd name="f95" fmla="*/ 28 1 f83"/>
                  <a:gd name="f96" fmla="*/ 57 1 f82"/>
                  <a:gd name="f97" fmla="*/ 27 1 f83"/>
                  <a:gd name="f98" fmla="*/ 68 1 f82"/>
                  <a:gd name="f99" fmla="*/ 21 1 f83"/>
                  <a:gd name="f100" fmla="*/ 72 1 f82"/>
                  <a:gd name="f101" fmla="*/ 18 1 f83"/>
                  <a:gd name="f102" fmla="*/ 79 1 f82"/>
                  <a:gd name="f103" fmla="*/ 19 1 f83"/>
                  <a:gd name="f104" fmla="*/ 87 1 f82"/>
                  <a:gd name="f105" fmla="*/ 23 1 f83"/>
                  <a:gd name="f106" fmla="*/ 93 1 f82"/>
                  <a:gd name="f107" fmla="*/ 25 1 f83"/>
                  <a:gd name="f108" fmla="*/ 98 1 f82"/>
                  <a:gd name="f109" fmla="*/ 105 1 f82"/>
                  <a:gd name="f110" fmla="*/ 20 1 f83"/>
                  <a:gd name="f111" fmla="*/ 120 1 f82"/>
                  <a:gd name="f112" fmla="*/ 13 1 f83"/>
                  <a:gd name="f113" fmla="*/ 122 1 f82"/>
                  <a:gd name="f114" fmla="*/ 125 1 f82"/>
                  <a:gd name="f115" fmla="*/ 14 1 f83"/>
                  <a:gd name="f116" fmla="*/ 126 1 f82"/>
                  <a:gd name="f117" fmla="*/ 127 1 f82"/>
                  <a:gd name="f118" fmla="*/ 128 1 f82"/>
                  <a:gd name="f119" fmla="*/ 29 1 f83"/>
                  <a:gd name="f120" fmla="*/ 34 1 f83"/>
                  <a:gd name="f121" fmla="*/ 37 1 f83"/>
                  <a:gd name="f122" fmla="*/ 117 1 f82"/>
                  <a:gd name="f123" fmla="*/ 40 1 f83"/>
                  <a:gd name="f124" fmla="*/ 43 1 f83"/>
                  <a:gd name="f125" fmla="*/ 119 1 f82"/>
                  <a:gd name="f126" fmla="*/ 49 1 f83"/>
                  <a:gd name="f127" fmla="*/ 59 1 f83"/>
                  <a:gd name="f128" fmla="*/ 132 1 f82"/>
                  <a:gd name="f129" fmla="*/ 66 1 f83"/>
                  <a:gd name="f130" fmla="*/ 134 1 f82"/>
                  <a:gd name="f131" fmla="*/ 73 1 f83"/>
                  <a:gd name="f132" fmla="*/ 131 1 f82"/>
                  <a:gd name="f133" fmla="*/ 80 1 f83"/>
                  <a:gd name="f134" fmla="*/ 123 1 f82"/>
                  <a:gd name="f135" fmla="*/ 86 1 f83"/>
                  <a:gd name="f136" fmla="*/ 113 1 f82"/>
                  <a:gd name="f137" fmla="*/ 94 1 f83"/>
                  <a:gd name="f138" fmla="*/ 103 1 f82"/>
                  <a:gd name="f139" fmla="*/ 97 1 f83"/>
                  <a:gd name="f140" fmla="*/ 90 1 f82"/>
                  <a:gd name="f141" fmla="*/ 98 1 f83"/>
                  <a:gd name="f142" fmla="*/ 75 1 f82"/>
                  <a:gd name="f143" fmla="*/ 61 1 f82"/>
                  <a:gd name="f144" fmla="*/ 95 1 f83"/>
                  <a:gd name="f145" fmla="*/ 51 1 f82"/>
                  <a:gd name="f146" fmla="*/ 92 1 f83"/>
                  <a:gd name="f147" fmla="*/ 43 1 f82"/>
                  <a:gd name="f148" fmla="*/ 90 1 f83"/>
                  <a:gd name="f149" fmla="*/ 38 1 f82"/>
                  <a:gd name="f150" fmla="*/ 84 1 f83"/>
                  <a:gd name="f151" fmla="*/ 31 1 f82"/>
                  <a:gd name="f152" fmla="*/ 75 1 f83"/>
                  <a:gd name="f153" fmla="*/ 25 1 f82"/>
                  <a:gd name="f154" fmla="*/ 64 1 f83"/>
                  <a:gd name="f155" fmla="*/ 16 1 f82"/>
                  <a:gd name="f156" fmla="*/ 52 1 f83"/>
                  <a:gd name="f157" fmla="*/ 13 1 f82"/>
                  <a:gd name="f158" fmla="*/ 47 1 f83"/>
                  <a:gd name="f159" fmla="*/ 12 1 f82"/>
                  <a:gd name="f160" fmla="*/ 14 1 f82"/>
                  <a:gd name="f161" fmla="*/ 41 1 f83"/>
                  <a:gd name="f162" fmla="*/ 20 1 f82"/>
                  <a:gd name="f163" fmla="*/ 38 1 f83"/>
                  <a:gd name="f164" fmla="*/ 24 1 f82"/>
                  <a:gd name="f165" fmla="*/ 23 1 f82"/>
                  <a:gd name="f166" fmla="*/ 10 1 f82"/>
                  <a:gd name="f167" fmla="*/ 0 1 f82"/>
                  <a:gd name="f168" fmla="*/ 5 1 f83"/>
                  <a:gd name="f169" fmla="*/ f6 1 f82"/>
                  <a:gd name="f170" fmla="*/ f7 1 f83"/>
                  <a:gd name="f171" fmla="+- f84 0 f1"/>
                  <a:gd name="f172" fmla="*/ f167 f77 1"/>
                  <a:gd name="f173" fmla="*/ f169 f77 1"/>
                  <a:gd name="f174" fmla="*/ f170 f78 1"/>
                  <a:gd name="f175" fmla="*/ f86 f78 1"/>
                  <a:gd name="f176" fmla="*/ f85 f77 1"/>
                  <a:gd name="f177" fmla="*/ f87 f77 1"/>
                  <a:gd name="f178" fmla="*/ f88 f77 1"/>
                  <a:gd name="f179" fmla="*/ f89 f78 1"/>
                  <a:gd name="f180" fmla="*/ f90 f77 1"/>
                  <a:gd name="f181" fmla="*/ f91 f78 1"/>
                  <a:gd name="f182" fmla="*/ f92 f77 1"/>
                  <a:gd name="f183" fmla="*/ f93 f78 1"/>
                  <a:gd name="f184" fmla="*/ f94 f77 1"/>
                  <a:gd name="f185" fmla="*/ f95 f78 1"/>
                  <a:gd name="f186" fmla="*/ f96 f77 1"/>
                  <a:gd name="f187" fmla="*/ f97 f78 1"/>
                  <a:gd name="f188" fmla="*/ f98 f77 1"/>
                  <a:gd name="f189" fmla="*/ f99 f78 1"/>
                  <a:gd name="f190" fmla="*/ f100 f77 1"/>
                  <a:gd name="f191" fmla="*/ f101 f78 1"/>
                  <a:gd name="f192" fmla="*/ f102 f77 1"/>
                  <a:gd name="f193" fmla="*/ f103 f78 1"/>
                  <a:gd name="f194" fmla="*/ f104 f77 1"/>
                  <a:gd name="f195" fmla="*/ f105 f78 1"/>
                  <a:gd name="f196" fmla="*/ f106 f77 1"/>
                  <a:gd name="f197" fmla="*/ f107 f78 1"/>
                  <a:gd name="f198" fmla="*/ f108 f77 1"/>
                  <a:gd name="f199" fmla="*/ f109 f77 1"/>
                  <a:gd name="f200" fmla="*/ f110 f78 1"/>
                  <a:gd name="f201" fmla="*/ f111 f77 1"/>
                  <a:gd name="f202" fmla="*/ f112 f78 1"/>
                  <a:gd name="f203" fmla="*/ f113 f77 1"/>
                  <a:gd name="f204" fmla="*/ f114 f77 1"/>
                  <a:gd name="f205" fmla="*/ f115 f78 1"/>
                  <a:gd name="f206" fmla="*/ f116 f77 1"/>
                  <a:gd name="f207" fmla="*/ f117 f77 1"/>
                  <a:gd name="f208" fmla="*/ f118 f77 1"/>
                  <a:gd name="f209" fmla="*/ f119 f78 1"/>
                  <a:gd name="f210" fmla="*/ f120 f78 1"/>
                  <a:gd name="f211" fmla="*/ f121 f78 1"/>
                  <a:gd name="f212" fmla="*/ f122 f77 1"/>
                  <a:gd name="f213" fmla="*/ f123 f78 1"/>
                  <a:gd name="f214" fmla="*/ f124 f78 1"/>
                  <a:gd name="f215" fmla="*/ f125 f77 1"/>
                  <a:gd name="f216" fmla="*/ f126 f78 1"/>
                  <a:gd name="f217" fmla="*/ f127 f78 1"/>
                  <a:gd name="f218" fmla="*/ f128 f77 1"/>
                  <a:gd name="f219" fmla="*/ f129 f78 1"/>
                  <a:gd name="f220" fmla="*/ f130 f77 1"/>
                  <a:gd name="f221" fmla="*/ f131 f78 1"/>
                  <a:gd name="f222" fmla="*/ f132 f77 1"/>
                  <a:gd name="f223" fmla="*/ f133 f78 1"/>
                  <a:gd name="f224" fmla="*/ f134 f77 1"/>
                  <a:gd name="f225" fmla="*/ f135 f78 1"/>
                  <a:gd name="f226" fmla="*/ f136 f77 1"/>
                  <a:gd name="f227" fmla="*/ f137 f78 1"/>
                  <a:gd name="f228" fmla="*/ f138 f77 1"/>
                  <a:gd name="f229" fmla="*/ f139 f78 1"/>
                  <a:gd name="f230" fmla="*/ f140 f77 1"/>
                  <a:gd name="f231" fmla="*/ f141 f78 1"/>
                  <a:gd name="f232" fmla="*/ f142 f77 1"/>
                  <a:gd name="f233" fmla="*/ f143 f77 1"/>
                  <a:gd name="f234" fmla="*/ f144 f78 1"/>
                  <a:gd name="f235" fmla="*/ f145 f77 1"/>
                  <a:gd name="f236" fmla="*/ f146 f78 1"/>
                  <a:gd name="f237" fmla="*/ f147 f77 1"/>
                  <a:gd name="f238" fmla="*/ f148 f78 1"/>
                  <a:gd name="f239" fmla="*/ f149 f77 1"/>
                  <a:gd name="f240" fmla="*/ f150 f78 1"/>
                  <a:gd name="f241" fmla="*/ f151 f77 1"/>
                  <a:gd name="f242" fmla="*/ f152 f78 1"/>
                  <a:gd name="f243" fmla="*/ f153 f77 1"/>
                  <a:gd name="f244" fmla="*/ f154 f78 1"/>
                  <a:gd name="f245" fmla="*/ f155 f77 1"/>
                  <a:gd name="f246" fmla="*/ f156 f78 1"/>
                  <a:gd name="f247" fmla="*/ f157 f77 1"/>
                  <a:gd name="f248" fmla="*/ f158 f78 1"/>
                  <a:gd name="f249" fmla="*/ f159 f77 1"/>
                  <a:gd name="f250" fmla="*/ f160 f77 1"/>
                  <a:gd name="f251" fmla="*/ f161 f78 1"/>
                  <a:gd name="f252" fmla="*/ f162 f77 1"/>
                  <a:gd name="f253" fmla="*/ f163 f78 1"/>
                  <a:gd name="f254" fmla="*/ f164 f77 1"/>
                  <a:gd name="f255" fmla="*/ f165 f77 1"/>
                  <a:gd name="f256" fmla="*/ f166 f77 1"/>
                  <a:gd name="f257" fmla="*/ f168 f7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71">
                    <a:pos x="f176" y="f175"/>
                  </a:cxn>
                  <a:cxn ang="f171">
                    <a:pos x="f177" y="f175"/>
                  </a:cxn>
                  <a:cxn ang="f171">
                    <a:pos x="f178" y="f179"/>
                  </a:cxn>
                  <a:cxn ang="f171">
                    <a:pos x="f180" y="f181"/>
                  </a:cxn>
                  <a:cxn ang="f171">
                    <a:pos x="f182" y="f183"/>
                  </a:cxn>
                  <a:cxn ang="f171">
                    <a:pos x="f184" y="f185"/>
                  </a:cxn>
                  <a:cxn ang="f171">
                    <a:pos x="f186" y="f187"/>
                  </a:cxn>
                  <a:cxn ang="f171">
                    <a:pos x="f188" y="f189"/>
                  </a:cxn>
                  <a:cxn ang="f171">
                    <a:pos x="f190" y="f191"/>
                  </a:cxn>
                  <a:cxn ang="f171">
                    <a:pos x="f192" y="f193"/>
                  </a:cxn>
                  <a:cxn ang="f171">
                    <a:pos x="f194" y="f195"/>
                  </a:cxn>
                  <a:cxn ang="f171">
                    <a:pos x="f196" y="f197"/>
                  </a:cxn>
                  <a:cxn ang="f171">
                    <a:pos x="f198" y="f183"/>
                  </a:cxn>
                  <a:cxn ang="f171">
                    <a:pos x="f199" y="f200"/>
                  </a:cxn>
                  <a:cxn ang="f171">
                    <a:pos x="f201" y="f202"/>
                  </a:cxn>
                  <a:cxn ang="f171">
                    <a:pos x="f203" y="f202"/>
                  </a:cxn>
                  <a:cxn ang="f171">
                    <a:pos x="f204" y="f205"/>
                  </a:cxn>
                  <a:cxn ang="f171">
                    <a:pos x="f206" y="f181"/>
                  </a:cxn>
                  <a:cxn ang="f171">
                    <a:pos x="f207" y="f191"/>
                  </a:cxn>
                  <a:cxn ang="f171">
                    <a:pos x="f207" y="f200"/>
                  </a:cxn>
                  <a:cxn ang="f171">
                    <a:pos x="f208" y="f195"/>
                  </a:cxn>
                  <a:cxn ang="f171">
                    <a:pos x="f208" y="f197"/>
                  </a:cxn>
                  <a:cxn ang="f171">
                    <a:pos x="f204" y="f209"/>
                  </a:cxn>
                  <a:cxn ang="f171">
                    <a:pos x="f203" y="f210"/>
                  </a:cxn>
                  <a:cxn ang="f171">
                    <a:pos x="f201" y="f211"/>
                  </a:cxn>
                  <a:cxn ang="f171">
                    <a:pos x="f212" y="f213"/>
                  </a:cxn>
                  <a:cxn ang="f171">
                    <a:pos x="f212" y="f214"/>
                  </a:cxn>
                  <a:cxn ang="f171">
                    <a:pos x="f215" y="f216"/>
                  </a:cxn>
                  <a:cxn ang="f171">
                    <a:pos x="f208" y="f217"/>
                  </a:cxn>
                  <a:cxn ang="f171">
                    <a:pos x="f218" y="f219"/>
                  </a:cxn>
                  <a:cxn ang="f171">
                    <a:pos x="f220" y="f221"/>
                  </a:cxn>
                  <a:cxn ang="f171">
                    <a:pos x="f222" y="f223"/>
                  </a:cxn>
                  <a:cxn ang="f171">
                    <a:pos x="f224" y="f225"/>
                  </a:cxn>
                  <a:cxn ang="f171">
                    <a:pos x="f226" y="f227"/>
                  </a:cxn>
                  <a:cxn ang="f171">
                    <a:pos x="f228" y="f229"/>
                  </a:cxn>
                  <a:cxn ang="f171">
                    <a:pos x="f230" y="f231"/>
                  </a:cxn>
                  <a:cxn ang="f171">
                    <a:pos x="f232" y="f229"/>
                  </a:cxn>
                  <a:cxn ang="f171">
                    <a:pos x="f233" y="f234"/>
                  </a:cxn>
                  <a:cxn ang="f171">
                    <a:pos x="f235" y="f236"/>
                  </a:cxn>
                  <a:cxn ang="f171">
                    <a:pos x="f237" y="f238"/>
                  </a:cxn>
                  <a:cxn ang="f171">
                    <a:pos x="f239" y="f240"/>
                  </a:cxn>
                  <a:cxn ang="f171">
                    <a:pos x="f241" y="f242"/>
                  </a:cxn>
                  <a:cxn ang="f171">
                    <a:pos x="f243" y="f244"/>
                  </a:cxn>
                  <a:cxn ang="f171">
                    <a:pos x="f245" y="f246"/>
                  </a:cxn>
                  <a:cxn ang="f171">
                    <a:pos x="f247" y="f248"/>
                  </a:cxn>
                  <a:cxn ang="f171">
                    <a:pos x="f249" y="f214"/>
                  </a:cxn>
                  <a:cxn ang="f171">
                    <a:pos x="f250" y="f251"/>
                  </a:cxn>
                  <a:cxn ang="f171">
                    <a:pos x="f178" y="f213"/>
                  </a:cxn>
                  <a:cxn ang="f171">
                    <a:pos x="f252" y="f253"/>
                  </a:cxn>
                  <a:cxn ang="f171">
                    <a:pos x="f254" y="f210"/>
                  </a:cxn>
                  <a:cxn ang="f171">
                    <a:pos x="f255" y="f185"/>
                  </a:cxn>
                  <a:cxn ang="f171">
                    <a:pos x="f178" y="f189"/>
                  </a:cxn>
                  <a:cxn ang="f171">
                    <a:pos x="f256" y="f202"/>
                  </a:cxn>
                  <a:cxn ang="f171">
                    <a:pos x="f172" y="f257"/>
                  </a:cxn>
                  <a:cxn ang="f171">
                    <a:pos x="f176" y="f175"/>
                  </a:cxn>
                </a:cxnLst>
                <a:rect l="f172" t="f175" r="f173" b="f174"/>
                <a:pathLst>
                  <a:path w="134" h="98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2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7" y="f15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2"/>
                    </a:lnTo>
                    <a:lnTo>
                      <a:pt x="f34" y="f35"/>
                    </a:lnTo>
                    <a:lnTo>
                      <a:pt x="f36" y="f13"/>
                    </a:lnTo>
                    <a:lnTo>
                      <a:pt x="f37" y="f22"/>
                    </a:lnTo>
                    <a:lnTo>
                      <a:pt x="f37" y="f30"/>
                    </a:lnTo>
                    <a:lnTo>
                      <a:pt x="f38" y="f26"/>
                    </a:lnTo>
                    <a:lnTo>
                      <a:pt x="f38" y="f28"/>
                    </a:lnTo>
                    <a:lnTo>
                      <a:pt x="f34" y="f39"/>
                    </a:lnTo>
                    <a:lnTo>
                      <a:pt x="f33" y="f40"/>
                    </a:lnTo>
                    <a:lnTo>
                      <a:pt x="f31" y="f41"/>
                    </a:lnTo>
                    <a:lnTo>
                      <a:pt x="f42" y="f43"/>
                    </a:lnTo>
                    <a:lnTo>
                      <a:pt x="f42" y="f44"/>
                    </a:lnTo>
                    <a:lnTo>
                      <a:pt x="f45" y="f46"/>
                    </a:lnTo>
                    <a:lnTo>
                      <a:pt x="f38" y="f47"/>
                    </a:lnTo>
                    <a:lnTo>
                      <a:pt x="f48" y="f49"/>
                    </a:lnTo>
                    <a:lnTo>
                      <a:pt x="f6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7"/>
                    </a:lnTo>
                    <a:lnTo>
                      <a:pt x="f60" y="f58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44" y="f59"/>
                    </a:lnTo>
                    <a:lnTo>
                      <a:pt x="f65" y="f66"/>
                    </a:lnTo>
                    <a:lnTo>
                      <a:pt x="f67" y="f60"/>
                    </a:lnTo>
                    <a:lnTo>
                      <a:pt x="f28" y="f68"/>
                    </a:lnTo>
                    <a:lnTo>
                      <a:pt x="f69" y="f70"/>
                    </a:lnTo>
                    <a:lnTo>
                      <a:pt x="f32" y="f71"/>
                    </a:lnTo>
                    <a:lnTo>
                      <a:pt x="f72" y="f44"/>
                    </a:lnTo>
                    <a:lnTo>
                      <a:pt x="f35" y="f73"/>
                    </a:lnTo>
                    <a:lnTo>
                      <a:pt x="f10" y="f43"/>
                    </a:lnTo>
                    <a:lnTo>
                      <a:pt x="f30" y="f65"/>
                    </a:lnTo>
                    <a:lnTo>
                      <a:pt x="f15" y="f40"/>
                    </a:lnTo>
                    <a:lnTo>
                      <a:pt x="f26" y="f12"/>
                    </a:lnTo>
                    <a:lnTo>
                      <a:pt x="f10" y="f20"/>
                    </a:lnTo>
                    <a:lnTo>
                      <a:pt x="f74" y="f32"/>
                    </a:lnTo>
                    <a:lnTo>
                      <a:pt x="f5" y="f75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87" name="Freeform 7">
                <a:extLst>
                  <a:ext uri="{FF2B5EF4-FFF2-40B4-BE49-F238E27FC236}">
                    <a16:creationId xmlns:a16="http://schemas.microsoft.com/office/drawing/2014/main" id="{BA449032-26FF-40F8-9D33-2C3EF8E5CD0C}"/>
                  </a:ext>
                </a:extLst>
              </p:cNvPr>
              <p:cNvSpPr/>
              <p:nvPr/>
            </p:nvSpPr>
            <p:spPr>
              <a:xfrm>
                <a:off x="3499600" y="1719611"/>
                <a:ext cx="190652" cy="186345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877"/>
                  <a:gd name="f7" fmla="val 959"/>
                  <a:gd name="f8" fmla="val 753"/>
                  <a:gd name="f9" fmla="val 757"/>
                  <a:gd name="f10" fmla="val 15"/>
                  <a:gd name="f11" fmla="val 760"/>
                  <a:gd name="f12" fmla="val 29"/>
                  <a:gd name="f13" fmla="val 761"/>
                  <a:gd name="f14" fmla="val 40"/>
                  <a:gd name="f15" fmla="val 762"/>
                  <a:gd name="f16" fmla="val 47"/>
                  <a:gd name="f17" fmla="val 56"/>
                  <a:gd name="f18" fmla="val 62"/>
                  <a:gd name="f19" fmla="val 752"/>
                  <a:gd name="f20" fmla="val 65"/>
                  <a:gd name="f21" fmla="val 749"/>
                  <a:gd name="f22" fmla="val 69"/>
                  <a:gd name="f23" fmla="val 747"/>
                  <a:gd name="f24" fmla="val 72"/>
                  <a:gd name="f25" fmla="val 75"/>
                  <a:gd name="f26" fmla="val 750"/>
                  <a:gd name="f27" fmla="val 83"/>
                  <a:gd name="f28" fmla="val 96"/>
                  <a:gd name="f29" fmla="val 113"/>
                  <a:gd name="f30" fmla="val 130"/>
                  <a:gd name="f31" fmla="val 765"/>
                  <a:gd name="f32" fmla="val 141"/>
                  <a:gd name="f33" fmla="val 769"/>
                  <a:gd name="f34" fmla="val 146"/>
                  <a:gd name="f35" fmla="val 770"/>
                  <a:gd name="f36" fmla="val 160"/>
                  <a:gd name="f37" fmla="val 773"/>
                  <a:gd name="f38" fmla="val 173"/>
                  <a:gd name="f39" fmla="val 774"/>
                  <a:gd name="f40" fmla="val 184"/>
                  <a:gd name="f41" fmla="val 775"/>
                  <a:gd name="f42" fmla="val 190"/>
                  <a:gd name="f43" fmla="val 198"/>
                  <a:gd name="f44" fmla="val 768"/>
                  <a:gd name="f45" fmla="val 204"/>
                  <a:gd name="f46" fmla="val 212"/>
                  <a:gd name="f47" fmla="val 222"/>
                  <a:gd name="f48" fmla="val 231"/>
                  <a:gd name="f49" fmla="val 759"/>
                  <a:gd name="f50" fmla="val 243"/>
                  <a:gd name="f51" fmla="val 763"/>
                  <a:gd name="f52" fmla="val 257"/>
                  <a:gd name="f53" fmla="val 272"/>
                  <a:gd name="f54" fmla="val 287"/>
                  <a:gd name="f55" fmla="val 779"/>
                  <a:gd name="f56" fmla="val 302"/>
                  <a:gd name="f57" fmla="val 782"/>
                  <a:gd name="f58" fmla="val 315"/>
                  <a:gd name="f59" fmla="val 780"/>
                  <a:gd name="f60" fmla="val 327"/>
                  <a:gd name="f61" fmla="val 340"/>
                  <a:gd name="f62" fmla="val 353"/>
                  <a:gd name="f63" fmla="val 729"/>
                  <a:gd name="f64" fmla="val 387"/>
                  <a:gd name="f65" fmla="val 722"/>
                  <a:gd name="f66" fmla="val 397"/>
                  <a:gd name="f67" fmla="val 404"/>
                  <a:gd name="f68" fmla="val 728"/>
                  <a:gd name="f69" fmla="val 412"/>
                  <a:gd name="f70" fmla="val 737"/>
                  <a:gd name="f71" fmla="val 420"/>
                  <a:gd name="f72" fmla="val 429"/>
                  <a:gd name="f73" fmla="val 777"/>
                  <a:gd name="f74" fmla="val 446"/>
                  <a:gd name="f75" fmla="val 791"/>
                  <a:gd name="f76" fmla="val 454"/>
                  <a:gd name="f77" fmla="val 804"/>
                  <a:gd name="f78" fmla="val 460"/>
                  <a:gd name="f79" fmla="val 812"/>
                  <a:gd name="f80" fmla="val 465"/>
                  <a:gd name="f81" fmla="val 818"/>
                  <a:gd name="f82" fmla="val 470"/>
                  <a:gd name="f83" fmla="val 820"/>
                  <a:gd name="f84" fmla="val 474"/>
                  <a:gd name="f85" fmla="val 477"/>
                  <a:gd name="f86" fmla="val 814"/>
                  <a:gd name="f87" fmla="val 480"/>
                  <a:gd name="f88" fmla="val 809"/>
                  <a:gd name="f89" fmla="val 484"/>
                  <a:gd name="f90" fmla="val 806"/>
                  <a:gd name="f91" fmla="val 487"/>
                  <a:gd name="f92" fmla="val 805"/>
                  <a:gd name="f93" fmla="val 492"/>
                  <a:gd name="f94" fmla="val 808"/>
                  <a:gd name="f95" fmla="val 501"/>
                  <a:gd name="f96" fmla="val 511"/>
                  <a:gd name="f97" fmla="val 816"/>
                  <a:gd name="f98" fmla="val 520"/>
                  <a:gd name="f99" fmla="val 533"/>
                  <a:gd name="f100" fmla="val 817"/>
                  <a:gd name="f101" fmla="val 542"/>
                  <a:gd name="f102" fmla="val 558"/>
                  <a:gd name="f103" fmla="val 802"/>
                  <a:gd name="f104" fmla="val 564"/>
                  <a:gd name="f105" fmla="val 803"/>
                  <a:gd name="f106" fmla="val 573"/>
                  <a:gd name="f107" fmla="val 583"/>
                  <a:gd name="f108" fmla="val 588"/>
                  <a:gd name="f109" fmla="val 592"/>
                  <a:gd name="f110" fmla="val 595"/>
                  <a:gd name="f111" fmla="val 798"/>
                  <a:gd name="f112" fmla="val 600"/>
                  <a:gd name="f113" fmla="val 795"/>
                  <a:gd name="f114" fmla="val 606"/>
                  <a:gd name="f115" fmla="val 794"/>
                  <a:gd name="f116" fmla="val 612"/>
                  <a:gd name="f117" fmla="val 614"/>
                  <a:gd name="f118" fmla="val 615"/>
                  <a:gd name="f119" fmla="val 616"/>
                  <a:gd name="f120" fmla="val 821"/>
                  <a:gd name="f121" fmla="val 619"/>
                  <a:gd name="f122" fmla="val 827"/>
                  <a:gd name="f123" fmla="val 623"/>
                  <a:gd name="f124" fmla="val 829"/>
                  <a:gd name="f125" fmla="val 628"/>
                  <a:gd name="f126" fmla="val 826"/>
                  <a:gd name="f127" fmla="val 630"/>
                  <a:gd name="f128" fmla="val 822"/>
                  <a:gd name="f129" fmla="val 633"/>
                  <a:gd name="f130" fmla="val 813"/>
                  <a:gd name="f131" fmla="val 637"/>
                  <a:gd name="f132" fmla="val 643"/>
                  <a:gd name="f133" fmla="val 651"/>
                  <a:gd name="f134" fmla="val 796"/>
                  <a:gd name="f135" fmla="val 662"/>
                  <a:gd name="f136" fmla="val 674"/>
                  <a:gd name="f137" fmla="val 788"/>
                  <a:gd name="f138" fmla="val 684"/>
                  <a:gd name="f139" fmla="val 789"/>
                  <a:gd name="f140" fmla="val 688"/>
                  <a:gd name="f141" fmla="val 793"/>
                  <a:gd name="f142" fmla="val 689"/>
                  <a:gd name="f143" fmla="val 799"/>
                  <a:gd name="f144" fmla="val 807"/>
                  <a:gd name="f145" fmla="val 687"/>
                  <a:gd name="f146" fmla="val 686"/>
                  <a:gd name="f147" fmla="val 828"/>
                  <a:gd name="f148" fmla="val 834"/>
                  <a:gd name="f149" fmla="val 697"/>
                  <a:gd name="f150" fmla="val 836"/>
                  <a:gd name="f151" fmla="val 707"/>
                  <a:gd name="f152" fmla="val 718"/>
                  <a:gd name="f153" fmla="val 746"/>
                  <a:gd name="f154" fmla="val 842"/>
                  <a:gd name="f155" fmla="val 758"/>
                  <a:gd name="f156" fmla="val 852"/>
                  <a:gd name="f157" fmla="val 861"/>
                  <a:gd name="f158" fmla="val 771"/>
                  <a:gd name="f159" fmla="val 868"/>
                  <a:gd name="f160" fmla="val 872"/>
                  <a:gd name="f161" fmla="val 871"/>
                  <a:gd name="f162" fmla="val 797"/>
                  <a:gd name="f163" fmla="val 870"/>
                  <a:gd name="f164" fmla="val 875"/>
                  <a:gd name="f165" fmla="val 831"/>
                  <a:gd name="f166" fmla="val 838"/>
                  <a:gd name="f167" fmla="val 843"/>
                  <a:gd name="f168" fmla="val 866"/>
                  <a:gd name="f169" fmla="val 844"/>
                  <a:gd name="f170" fmla="val 860"/>
                  <a:gd name="f171" fmla="val 846"/>
                  <a:gd name="f172" fmla="val 848"/>
                  <a:gd name="f173" fmla="val 853"/>
                  <a:gd name="f174" fmla="val 862"/>
                  <a:gd name="f175" fmla="val 819"/>
                  <a:gd name="f176" fmla="val 884"/>
                  <a:gd name="f177" fmla="val 907"/>
                  <a:gd name="f178" fmla="val 790"/>
                  <a:gd name="f179" fmla="val 912"/>
                  <a:gd name="f180" fmla="val 914"/>
                  <a:gd name="f181" fmla="val 917"/>
                  <a:gd name="f182" fmla="val 923"/>
                  <a:gd name="f183" fmla="val 932"/>
                  <a:gd name="f184" fmla="val 938"/>
                  <a:gd name="f185" fmla="val 745"/>
                  <a:gd name="f186" fmla="val 946"/>
                  <a:gd name="f187" fmla="val 738"/>
                  <a:gd name="f188" fmla="val 953"/>
                  <a:gd name="f189" fmla="val 732"/>
                  <a:gd name="f190" fmla="val 725"/>
                  <a:gd name="f191" fmla="val 717"/>
                  <a:gd name="f192" fmla="val 956"/>
                  <a:gd name="f193" fmla="val 949"/>
                  <a:gd name="f194" fmla="val 700"/>
                  <a:gd name="f195" fmla="val 940"/>
                  <a:gd name="f196" fmla="val 694"/>
                  <a:gd name="f197" fmla="val 928"/>
                  <a:gd name="f198" fmla="val 690"/>
                  <a:gd name="f199" fmla="val 916"/>
                  <a:gd name="f200" fmla="val 905"/>
                  <a:gd name="f201" fmla="val 681"/>
                  <a:gd name="f202" fmla="val 899"/>
                  <a:gd name="f203" fmla="val 675"/>
                  <a:gd name="f204" fmla="val 898"/>
                  <a:gd name="f205" fmla="val 670"/>
                  <a:gd name="f206" fmla="val 902"/>
                  <a:gd name="f207" fmla="val 655"/>
                  <a:gd name="f208" fmla="val 903"/>
                  <a:gd name="f209" fmla="val 648"/>
                  <a:gd name="f210" fmla="val 638"/>
                  <a:gd name="f211" fmla="val 629"/>
                  <a:gd name="f212" fmla="val 892"/>
                  <a:gd name="f213" fmla="val 620"/>
                  <a:gd name="f214" fmla="val 887"/>
                  <a:gd name="f215" fmla="val 613"/>
                  <a:gd name="f216" fmla="val 883"/>
                  <a:gd name="f217" fmla="val 607"/>
                  <a:gd name="f218" fmla="val 881"/>
                  <a:gd name="f219" fmla="val 604"/>
                  <a:gd name="f220" fmla="val 589"/>
                  <a:gd name="f221" fmla="val 890"/>
                  <a:gd name="f222" fmla="val 577"/>
                  <a:gd name="f223" fmla="val 897"/>
                  <a:gd name="f224" fmla="val 559"/>
                  <a:gd name="f225" fmla="val 888"/>
                  <a:gd name="f226" fmla="val 553"/>
                  <a:gd name="f227" fmla="val 874"/>
                  <a:gd name="f228" fmla="val 548"/>
                  <a:gd name="f229" fmla="val 543"/>
                  <a:gd name="f230" fmla="val 540"/>
                  <a:gd name="f231" fmla="val 847"/>
                  <a:gd name="f232" fmla="val 532"/>
                  <a:gd name="f233" fmla="val 524"/>
                  <a:gd name="f234" fmla="val 840"/>
                  <a:gd name="f235" fmla="val 514"/>
                  <a:gd name="f236" fmla="val 506"/>
                  <a:gd name="f237" fmla="val 502"/>
                  <a:gd name="f238" fmla="val 498"/>
                  <a:gd name="f239" fmla="val 494"/>
                  <a:gd name="f240" fmla="val 864"/>
                  <a:gd name="f241" fmla="val 865"/>
                  <a:gd name="f242" fmla="val 469"/>
                  <a:gd name="f243" fmla="val 464"/>
                  <a:gd name="f244" fmla="val 457"/>
                  <a:gd name="f245" fmla="val 859"/>
                  <a:gd name="f246" fmla="val 449"/>
                  <a:gd name="f247" fmla="val 443"/>
                  <a:gd name="f248" fmla="val 436"/>
                  <a:gd name="f249" fmla="val 427"/>
                  <a:gd name="f250" fmla="val 867"/>
                  <a:gd name="f251" fmla="val 418"/>
                  <a:gd name="f252" fmla="val 415"/>
                  <a:gd name="f253" fmla="val 841"/>
                  <a:gd name="f254" fmla="val 416"/>
                  <a:gd name="f255" fmla="val 413"/>
                  <a:gd name="f256" fmla="val 409"/>
                  <a:gd name="f257" fmla="val 403"/>
                  <a:gd name="f258" fmla="val 395"/>
                  <a:gd name="f259" fmla="val 385"/>
                  <a:gd name="f260" fmla="val 373"/>
                  <a:gd name="f261" fmla="val 364"/>
                  <a:gd name="f262" fmla="val 830"/>
                  <a:gd name="f263" fmla="val 355"/>
                  <a:gd name="f264" fmla="val 832"/>
                  <a:gd name="f265" fmla="val 358"/>
                  <a:gd name="f266" fmla="val 845"/>
                  <a:gd name="f267" fmla="val 363"/>
                  <a:gd name="f268" fmla="val 850"/>
                  <a:gd name="f269" fmla="val 366"/>
                  <a:gd name="f270" fmla="val 857"/>
                  <a:gd name="f271" fmla="val 367"/>
                  <a:gd name="f272" fmla="val 863"/>
                  <a:gd name="f273" fmla="val 344"/>
                  <a:gd name="f274" fmla="val 334"/>
                  <a:gd name="f275" fmla="val 323"/>
                  <a:gd name="f276" fmla="val 314"/>
                  <a:gd name="f277" fmla="val 886"/>
                  <a:gd name="f278" fmla="val 304"/>
                  <a:gd name="f279" fmla="val 885"/>
                  <a:gd name="f280" fmla="val 292"/>
                  <a:gd name="f281" fmla="val 279"/>
                  <a:gd name="f282" fmla="val 880"/>
                  <a:gd name="f283" fmla="val 268"/>
                  <a:gd name="f284" fmla="val 265"/>
                  <a:gd name="f285" fmla="val 264"/>
                  <a:gd name="f286" fmla="val 910"/>
                  <a:gd name="f287" fmla="val 267"/>
                  <a:gd name="f288" fmla="val 929"/>
                  <a:gd name="f289" fmla="val 270"/>
                  <a:gd name="f290" fmla="val 945"/>
                  <a:gd name="f291" fmla="val 262"/>
                  <a:gd name="f292" fmla="val 941"/>
                  <a:gd name="f293" fmla="val 258"/>
                  <a:gd name="f294" fmla="val 936"/>
                  <a:gd name="f295" fmla="val 252"/>
                  <a:gd name="f296" fmla="val 934"/>
                  <a:gd name="f297" fmla="val 238"/>
                  <a:gd name="f298" fmla="val 207"/>
                  <a:gd name="f299" fmla="val 202"/>
                  <a:gd name="f300" fmla="val 919"/>
                  <a:gd name="f301" fmla="val 201"/>
                  <a:gd name="f302" fmla="val 915"/>
                  <a:gd name="f303" fmla="val 909"/>
                  <a:gd name="f304" fmla="val 904"/>
                  <a:gd name="f305" fmla="val 900"/>
                  <a:gd name="f306" fmla="val 195"/>
                  <a:gd name="f307" fmla="val 889"/>
                  <a:gd name="f308" fmla="val 186"/>
                  <a:gd name="f309" fmla="val 879"/>
                  <a:gd name="f310" fmla="val 181"/>
                  <a:gd name="f311" fmla="val 873"/>
                  <a:gd name="f312" fmla="val 179"/>
                  <a:gd name="f313" fmla="val 176"/>
                  <a:gd name="f314" fmla="val 858"/>
                  <a:gd name="f315" fmla="val 172"/>
                  <a:gd name="f316" fmla="val 166"/>
                  <a:gd name="f317" fmla="val 161"/>
                  <a:gd name="f318" fmla="val 155"/>
                  <a:gd name="f319" fmla="val 835"/>
                  <a:gd name="f320" fmla="val 145"/>
                  <a:gd name="f321" fmla="val 824"/>
                  <a:gd name="f322" fmla="val 139"/>
                  <a:gd name="f323" fmla="val 810"/>
                  <a:gd name="f324" fmla="val 142"/>
                  <a:gd name="f325" fmla="val 143"/>
                  <a:gd name="f326" fmla="val 131"/>
                  <a:gd name="f327" fmla="val 121"/>
                  <a:gd name="f328" fmla="val 112"/>
                  <a:gd name="f329" fmla="val 787"/>
                  <a:gd name="f330" fmla="val 103"/>
                  <a:gd name="f331" fmla="val 785"/>
                  <a:gd name="f332" fmla="val 97"/>
                  <a:gd name="f333" fmla="val 91"/>
                  <a:gd name="f334" fmla="val 86"/>
                  <a:gd name="f335" fmla="val 78"/>
                  <a:gd name="f336" fmla="val 73"/>
                  <a:gd name="f337" fmla="val 792"/>
                  <a:gd name="f338" fmla="val 61"/>
                  <a:gd name="f339" fmla="val 59"/>
                  <a:gd name="f340" fmla="val 756"/>
                  <a:gd name="f341" fmla="val 755"/>
                  <a:gd name="f342" fmla="val 51"/>
                  <a:gd name="f343" fmla="val 754"/>
                  <a:gd name="f344" fmla="val 751"/>
                  <a:gd name="f345" fmla="val 43"/>
                  <a:gd name="f346" fmla="val 744"/>
                  <a:gd name="f347" fmla="val 41"/>
                  <a:gd name="f348" fmla="val 736"/>
                  <a:gd name="f349" fmla="val 42"/>
                  <a:gd name="f350" fmla="val 730"/>
                  <a:gd name="f351" fmla="val 45"/>
                  <a:gd name="f352" fmla="val 724"/>
                  <a:gd name="f353" fmla="val 49"/>
                  <a:gd name="f354" fmla="val 719"/>
                  <a:gd name="f355" fmla="val 711"/>
                  <a:gd name="f356" fmla="val 48"/>
                  <a:gd name="f357" fmla="val 699"/>
                  <a:gd name="f358" fmla="val 46"/>
                  <a:gd name="f359" fmla="val 685"/>
                  <a:gd name="f360" fmla="val 44"/>
                  <a:gd name="f361" fmla="val 672"/>
                  <a:gd name="f362" fmla="val 660"/>
                  <a:gd name="f363" fmla="val 39"/>
                  <a:gd name="f364" fmla="val 644"/>
                  <a:gd name="f365" fmla="val 636"/>
                  <a:gd name="f366" fmla="val 627"/>
                  <a:gd name="f367" fmla="val 55"/>
                  <a:gd name="f368" fmla="val 618"/>
                  <a:gd name="f369" fmla="val 609"/>
                  <a:gd name="f370" fmla="val 68"/>
                  <a:gd name="f371" fmla="val 602"/>
                  <a:gd name="f372" fmla="val 70"/>
                  <a:gd name="f373" fmla="val 593"/>
                  <a:gd name="f374" fmla="val 67"/>
                  <a:gd name="f375" fmla="val 585"/>
                  <a:gd name="f376" fmla="val 576"/>
                  <a:gd name="f377" fmla="val 53"/>
                  <a:gd name="f378" fmla="val 566"/>
                  <a:gd name="f379" fmla="val 555"/>
                  <a:gd name="f380" fmla="val 544"/>
                  <a:gd name="f381" fmla="val 36"/>
                  <a:gd name="f382" fmla="val 33"/>
                  <a:gd name="f383" fmla="val 541"/>
                  <a:gd name="f384" fmla="val 23"/>
                  <a:gd name="f385" fmla="val 530"/>
                  <a:gd name="f386" fmla="val 18"/>
                  <a:gd name="f387" fmla="val 521"/>
                  <a:gd name="f388" fmla="val 14"/>
                  <a:gd name="f389" fmla="val 508"/>
                  <a:gd name="f390" fmla="val 11"/>
                  <a:gd name="f391" fmla="val 490"/>
                  <a:gd name="f392" fmla="val 9"/>
                  <a:gd name="f393" fmla="val 5"/>
                  <a:gd name="f394" fmla="val 3"/>
                  <a:gd name="f395" fmla="val 421"/>
                  <a:gd name="f396" fmla="val 396"/>
                  <a:gd name="f397" fmla="val 388"/>
                  <a:gd name="f398" fmla="val 30"/>
                  <a:gd name="f399" fmla="val 378"/>
                  <a:gd name="f400" fmla="val 368"/>
                  <a:gd name="f401" fmla="val 102"/>
                  <a:gd name="f402" fmla="val 331"/>
                  <a:gd name="f403" fmla="val 119"/>
                  <a:gd name="f404" fmla="val 319"/>
                  <a:gd name="f405" fmla="val 134"/>
                  <a:gd name="f406" fmla="val 309"/>
                  <a:gd name="f407" fmla="val 147"/>
                  <a:gd name="f408" fmla="val 301"/>
                  <a:gd name="f409" fmla="val 157"/>
                  <a:gd name="f410" fmla="val 297"/>
                  <a:gd name="f411" fmla="val 163"/>
                  <a:gd name="f412" fmla="val 294"/>
                  <a:gd name="f413" fmla="val 174"/>
                  <a:gd name="f414" fmla="val 291"/>
                  <a:gd name="f415" fmla="val 185"/>
                  <a:gd name="f416" fmla="val 286"/>
                  <a:gd name="f417" fmla="val 194"/>
                  <a:gd name="f418" fmla="val 203"/>
                  <a:gd name="f419" fmla="val 208"/>
                  <a:gd name="f420" fmla="val 220"/>
                  <a:gd name="f421" fmla="val 260"/>
                  <a:gd name="f422" fmla="val 232"/>
                  <a:gd name="f423" fmla="val 253"/>
                  <a:gd name="f424" fmla="val 246"/>
                  <a:gd name="f425" fmla="val 244"/>
                  <a:gd name="f426" fmla="val 263"/>
                  <a:gd name="f427" fmla="val 234"/>
                  <a:gd name="f428" fmla="val 281"/>
                  <a:gd name="f429" fmla="val 225"/>
                  <a:gd name="f430" fmla="val 299"/>
                  <a:gd name="f431" fmla="val 213"/>
                  <a:gd name="f432" fmla="val 337"/>
                  <a:gd name="f433" fmla="val 191"/>
                  <a:gd name="f434" fmla="val 354"/>
                  <a:gd name="f435" fmla="val 182"/>
                  <a:gd name="f436" fmla="val 369"/>
                  <a:gd name="f437" fmla="val 382"/>
                  <a:gd name="f438" fmla="val 167"/>
                  <a:gd name="f439" fmla="val 391"/>
                  <a:gd name="f440" fmla="val 158"/>
                  <a:gd name="f441" fmla="val 400"/>
                  <a:gd name="f442" fmla="val 148"/>
                  <a:gd name="f443" fmla="val 140"/>
                  <a:gd name="f444" fmla="val 434"/>
                  <a:gd name="f445" fmla="val 120"/>
                  <a:gd name="f446" fmla="val 111"/>
                  <a:gd name="f447" fmla="val 478"/>
                  <a:gd name="f448" fmla="val 101"/>
                  <a:gd name="f449" fmla="val 84"/>
                  <a:gd name="f450" fmla="val 509"/>
                  <a:gd name="f451" fmla="val 512"/>
                  <a:gd name="f452" fmla="val 76"/>
                  <a:gd name="f453" fmla="val 516"/>
                  <a:gd name="f454" fmla="val 525"/>
                  <a:gd name="f455" fmla="val 539"/>
                  <a:gd name="f456" fmla="val 556"/>
                  <a:gd name="f457" fmla="val 575"/>
                  <a:gd name="f458" fmla="val 597"/>
                  <a:gd name="f459" fmla="val 35"/>
                  <a:gd name="f460" fmla="val 664"/>
                  <a:gd name="f461" fmla="val 28"/>
                  <a:gd name="f462" fmla="val 21"/>
                  <a:gd name="f463" fmla="val 704"/>
                  <a:gd name="f464" fmla="val 16"/>
                  <a:gd name="f465" fmla="val 12"/>
                  <a:gd name="f466" fmla="val 8"/>
                  <a:gd name="f467" fmla="val 7"/>
                  <a:gd name="f468" fmla="val 4"/>
                  <a:gd name="f469" fmla="+- 0 0 -90"/>
                  <a:gd name="f470" fmla="*/ f3 1 877"/>
                  <a:gd name="f471" fmla="*/ f4 1 959"/>
                  <a:gd name="f472" fmla="+- f7 0 f5"/>
                  <a:gd name="f473" fmla="+- f6 0 f5"/>
                  <a:gd name="f474" fmla="*/ f469 f0 1"/>
                  <a:gd name="f475" fmla="*/ f473 1 877"/>
                  <a:gd name="f476" fmla="*/ f472 1 959"/>
                  <a:gd name="f477" fmla="*/ f474 1 f2"/>
                  <a:gd name="f478" fmla="*/ 760 1 f475"/>
                  <a:gd name="f479" fmla="*/ 56 1 f476"/>
                  <a:gd name="f480" fmla="*/ 750 1 f475"/>
                  <a:gd name="f481" fmla="*/ 83 1 f476"/>
                  <a:gd name="f482" fmla="*/ 770 1 f475"/>
                  <a:gd name="f483" fmla="*/ 160 1 f476"/>
                  <a:gd name="f484" fmla="*/ 762 1 f475"/>
                  <a:gd name="f485" fmla="*/ 212 1 f476"/>
                  <a:gd name="f486" fmla="*/ 775 1 f475"/>
                  <a:gd name="f487" fmla="*/ 287 1 f476"/>
                  <a:gd name="f488" fmla="*/ 729 1 f475"/>
                  <a:gd name="f489" fmla="*/ 387 1 f476"/>
                  <a:gd name="f490" fmla="*/ 777 1 f475"/>
                  <a:gd name="f491" fmla="*/ 446 1 f476"/>
                  <a:gd name="f492" fmla="*/ 818 1 f475"/>
                  <a:gd name="f493" fmla="*/ 477 1 f476"/>
                  <a:gd name="f494" fmla="*/ 812 1 f475"/>
                  <a:gd name="f495" fmla="*/ 511 1 f476"/>
                  <a:gd name="f496" fmla="*/ 803 1 f475"/>
                  <a:gd name="f497" fmla="*/ 573 1 f476"/>
                  <a:gd name="f498" fmla="*/ 795 1 f475"/>
                  <a:gd name="f499" fmla="*/ 606 1 f476"/>
                  <a:gd name="f500" fmla="*/ 821 1 f475"/>
                  <a:gd name="f501" fmla="*/ 619 1 f476"/>
                  <a:gd name="f502" fmla="*/ 808 1 f475"/>
                  <a:gd name="f503" fmla="*/ 643 1 f476"/>
                  <a:gd name="f504" fmla="*/ 793 1 f475"/>
                  <a:gd name="f505" fmla="*/ 689 1 f476"/>
                  <a:gd name="f506" fmla="*/ 834 1 f475"/>
                  <a:gd name="f507" fmla="*/ 697 1 f476"/>
                  <a:gd name="f508" fmla="*/ 752 1 f476"/>
                  <a:gd name="f509" fmla="*/ 871 1 f475"/>
                  <a:gd name="f510" fmla="*/ 797 1 f476"/>
                  <a:gd name="f511" fmla="*/ 875 1 f475"/>
                  <a:gd name="f512" fmla="*/ 838 1 f476"/>
                  <a:gd name="f513" fmla="*/ 838 1 f475"/>
                  <a:gd name="f514" fmla="*/ 862 1 f476"/>
                  <a:gd name="f515" fmla="*/ 768 1 f475"/>
                  <a:gd name="f516" fmla="*/ 923 1 f476"/>
                  <a:gd name="f517" fmla="*/ 725 1 f475"/>
                  <a:gd name="f518" fmla="*/ 959 1 f476"/>
                  <a:gd name="f519" fmla="*/ 686 1 f475"/>
                  <a:gd name="f520" fmla="*/ 905 1 f476"/>
                  <a:gd name="f521" fmla="*/ 648 1 f475"/>
                  <a:gd name="f522" fmla="*/ 902 1 f476"/>
                  <a:gd name="f523" fmla="*/ 604 1 f475"/>
                  <a:gd name="f524" fmla="*/ 883 1 f476"/>
                  <a:gd name="f525" fmla="*/ 548 1 f475"/>
                  <a:gd name="f526" fmla="*/ 506 1 f475"/>
                  <a:gd name="f527" fmla="*/ 842 1 f476"/>
                  <a:gd name="f528" fmla="*/ 474 1 f475"/>
                  <a:gd name="f529" fmla="*/ 865 1 f476"/>
                  <a:gd name="f530" fmla="*/ 436 1 f475"/>
                  <a:gd name="f531" fmla="*/ 864 1 f476"/>
                  <a:gd name="f532" fmla="*/ 413 1 f475"/>
                  <a:gd name="f533" fmla="*/ 818 1 f476"/>
                  <a:gd name="f534" fmla="*/ 364 1 f475"/>
                  <a:gd name="f535" fmla="*/ 830 1 f476"/>
                  <a:gd name="f536" fmla="*/ 367 1 f475"/>
                  <a:gd name="f537" fmla="*/ 861 1 f476"/>
                  <a:gd name="f538" fmla="*/ 314 1 f475"/>
                  <a:gd name="f539" fmla="*/ 886 1 f476"/>
                  <a:gd name="f540" fmla="*/ 264 1 f475"/>
                  <a:gd name="f541" fmla="*/ 897 1 f476"/>
                  <a:gd name="f542" fmla="*/ 258 1 f475"/>
                  <a:gd name="f543" fmla="*/ 936 1 f476"/>
                  <a:gd name="f544" fmla="*/ 201 1 f475"/>
                  <a:gd name="f545" fmla="*/ 915 1 f476"/>
                  <a:gd name="f546" fmla="*/ 181 1 f475"/>
                  <a:gd name="f547" fmla="*/ 873 1 f476"/>
                  <a:gd name="f548" fmla="*/ 155 1 f475"/>
                  <a:gd name="f549" fmla="*/ 835 1 f476"/>
                  <a:gd name="f550" fmla="*/ 143 1 f475"/>
                  <a:gd name="f551" fmla="*/ 805 1 f476"/>
                  <a:gd name="f552" fmla="*/ 103 1 f475"/>
                  <a:gd name="f553" fmla="*/ 785 1 f476"/>
                  <a:gd name="f554" fmla="*/ 69 1 f475"/>
                  <a:gd name="f555" fmla="*/ 787 1 f476"/>
                  <a:gd name="f556" fmla="*/ 47 1 f475"/>
                  <a:gd name="f557" fmla="*/ 751 1 f476"/>
                  <a:gd name="f558" fmla="*/ 724 1 f476"/>
                  <a:gd name="f559" fmla="*/ 41 1 f475"/>
                  <a:gd name="f560" fmla="*/ 660 1 f476"/>
                  <a:gd name="f561" fmla="*/ 61 1 f475"/>
                  <a:gd name="f562" fmla="*/ 609 1 f476"/>
                  <a:gd name="f563" fmla="*/ 46 1 f475"/>
                  <a:gd name="f564" fmla="*/ 555 1 f476"/>
                  <a:gd name="f565" fmla="*/ 14 1 f475"/>
                  <a:gd name="f566" fmla="*/ 508 1 f476"/>
                  <a:gd name="f567" fmla="*/ 388 1 f476"/>
                  <a:gd name="f568" fmla="*/ 134 1 f475"/>
                  <a:gd name="f569" fmla="*/ 309 1 f476"/>
                  <a:gd name="f570" fmla="*/ 194 1 f475"/>
                  <a:gd name="f571" fmla="*/ 279 1 f476"/>
                  <a:gd name="f572" fmla="*/ 246 1 f475"/>
                  <a:gd name="f573" fmla="*/ 244 1 f476"/>
                  <a:gd name="f574" fmla="*/ 354 1 f475"/>
                  <a:gd name="f575" fmla="*/ 182 1 f476"/>
                  <a:gd name="f576" fmla="*/ 409 1 f475"/>
                  <a:gd name="f577" fmla="*/ 148 1 f476"/>
                  <a:gd name="f578" fmla="*/ 490 1 f475"/>
                  <a:gd name="f579" fmla="*/ 91 1 f476"/>
                  <a:gd name="f580" fmla="*/ 539 1 f475"/>
                  <a:gd name="f581" fmla="*/ 68 1 f476"/>
                  <a:gd name="f582" fmla="*/ 664 1 f475"/>
                  <a:gd name="f583" fmla="*/ 28 1 f476"/>
                  <a:gd name="f584" fmla="*/ 744 1 f475"/>
                  <a:gd name="f585" fmla="*/ 4 1 f476"/>
                  <a:gd name="f586" fmla="*/ 0 1 f475"/>
                  <a:gd name="f587" fmla="*/ f6 1 f475"/>
                  <a:gd name="f588" fmla="*/ 0 1 f476"/>
                  <a:gd name="f589" fmla="*/ f7 1 f476"/>
                  <a:gd name="f590" fmla="+- f477 0 f1"/>
                  <a:gd name="f591" fmla="*/ f586 f470 1"/>
                  <a:gd name="f592" fmla="*/ f587 f470 1"/>
                  <a:gd name="f593" fmla="*/ f589 f471 1"/>
                  <a:gd name="f594" fmla="*/ f588 f471 1"/>
                  <a:gd name="f595" fmla="*/ f478 f470 1"/>
                  <a:gd name="f596" fmla="*/ f479 f471 1"/>
                  <a:gd name="f597" fmla="*/ f480 f470 1"/>
                  <a:gd name="f598" fmla="*/ f481 f471 1"/>
                  <a:gd name="f599" fmla="*/ f482 f470 1"/>
                  <a:gd name="f600" fmla="*/ f483 f471 1"/>
                  <a:gd name="f601" fmla="*/ f484 f470 1"/>
                  <a:gd name="f602" fmla="*/ f485 f471 1"/>
                  <a:gd name="f603" fmla="*/ f486 f470 1"/>
                  <a:gd name="f604" fmla="*/ f487 f471 1"/>
                  <a:gd name="f605" fmla="*/ f488 f470 1"/>
                  <a:gd name="f606" fmla="*/ f489 f471 1"/>
                  <a:gd name="f607" fmla="*/ f490 f470 1"/>
                  <a:gd name="f608" fmla="*/ f491 f471 1"/>
                  <a:gd name="f609" fmla="*/ f492 f470 1"/>
                  <a:gd name="f610" fmla="*/ f493 f471 1"/>
                  <a:gd name="f611" fmla="*/ f494 f470 1"/>
                  <a:gd name="f612" fmla="*/ f495 f471 1"/>
                  <a:gd name="f613" fmla="*/ f496 f470 1"/>
                  <a:gd name="f614" fmla="*/ f497 f471 1"/>
                  <a:gd name="f615" fmla="*/ f498 f470 1"/>
                  <a:gd name="f616" fmla="*/ f499 f471 1"/>
                  <a:gd name="f617" fmla="*/ f500 f470 1"/>
                  <a:gd name="f618" fmla="*/ f501 f471 1"/>
                  <a:gd name="f619" fmla="*/ f502 f470 1"/>
                  <a:gd name="f620" fmla="*/ f503 f471 1"/>
                  <a:gd name="f621" fmla="*/ f504 f470 1"/>
                  <a:gd name="f622" fmla="*/ f505 f471 1"/>
                  <a:gd name="f623" fmla="*/ f506 f470 1"/>
                  <a:gd name="f624" fmla="*/ f507 f471 1"/>
                  <a:gd name="f625" fmla="*/ f508 f471 1"/>
                  <a:gd name="f626" fmla="*/ f509 f470 1"/>
                  <a:gd name="f627" fmla="*/ f510 f471 1"/>
                  <a:gd name="f628" fmla="*/ f511 f470 1"/>
                  <a:gd name="f629" fmla="*/ f512 f471 1"/>
                  <a:gd name="f630" fmla="*/ f513 f470 1"/>
                  <a:gd name="f631" fmla="*/ f514 f471 1"/>
                  <a:gd name="f632" fmla="*/ f515 f470 1"/>
                  <a:gd name="f633" fmla="*/ f516 f471 1"/>
                  <a:gd name="f634" fmla="*/ f517 f470 1"/>
                  <a:gd name="f635" fmla="*/ f518 f471 1"/>
                  <a:gd name="f636" fmla="*/ f519 f470 1"/>
                  <a:gd name="f637" fmla="*/ f520 f471 1"/>
                  <a:gd name="f638" fmla="*/ f521 f470 1"/>
                  <a:gd name="f639" fmla="*/ f522 f471 1"/>
                  <a:gd name="f640" fmla="*/ f523 f470 1"/>
                  <a:gd name="f641" fmla="*/ f524 f471 1"/>
                  <a:gd name="f642" fmla="*/ f525 f470 1"/>
                  <a:gd name="f643" fmla="*/ f526 f470 1"/>
                  <a:gd name="f644" fmla="*/ f527 f471 1"/>
                  <a:gd name="f645" fmla="*/ f528 f470 1"/>
                  <a:gd name="f646" fmla="*/ f529 f471 1"/>
                  <a:gd name="f647" fmla="*/ f530 f470 1"/>
                  <a:gd name="f648" fmla="*/ f531 f471 1"/>
                  <a:gd name="f649" fmla="*/ f532 f470 1"/>
                  <a:gd name="f650" fmla="*/ f533 f471 1"/>
                  <a:gd name="f651" fmla="*/ f534 f470 1"/>
                  <a:gd name="f652" fmla="*/ f535 f471 1"/>
                  <a:gd name="f653" fmla="*/ f536 f470 1"/>
                  <a:gd name="f654" fmla="*/ f537 f471 1"/>
                  <a:gd name="f655" fmla="*/ f538 f470 1"/>
                  <a:gd name="f656" fmla="*/ f539 f471 1"/>
                  <a:gd name="f657" fmla="*/ f540 f470 1"/>
                  <a:gd name="f658" fmla="*/ f541 f471 1"/>
                  <a:gd name="f659" fmla="*/ f542 f470 1"/>
                  <a:gd name="f660" fmla="*/ f543 f471 1"/>
                  <a:gd name="f661" fmla="*/ f544 f470 1"/>
                  <a:gd name="f662" fmla="*/ f545 f471 1"/>
                  <a:gd name="f663" fmla="*/ f546 f470 1"/>
                  <a:gd name="f664" fmla="*/ f547 f471 1"/>
                  <a:gd name="f665" fmla="*/ f548 f470 1"/>
                  <a:gd name="f666" fmla="*/ f549 f471 1"/>
                  <a:gd name="f667" fmla="*/ f550 f470 1"/>
                  <a:gd name="f668" fmla="*/ f551 f471 1"/>
                  <a:gd name="f669" fmla="*/ f552 f470 1"/>
                  <a:gd name="f670" fmla="*/ f553 f471 1"/>
                  <a:gd name="f671" fmla="*/ f554 f470 1"/>
                  <a:gd name="f672" fmla="*/ f555 f471 1"/>
                  <a:gd name="f673" fmla="*/ f556 f470 1"/>
                  <a:gd name="f674" fmla="*/ f557 f471 1"/>
                  <a:gd name="f675" fmla="*/ f558 f471 1"/>
                  <a:gd name="f676" fmla="*/ f559 f470 1"/>
                  <a:gd name="f677" fmla="*/ f560 f471 1"/>
                  <a:gd name="f678" fmla="*/ f561 f470 1"/>
                  <a:gd name="f679" fmla="*/ f562 f471 1"/>
                  <a:gd name="f680" fmla="*/ f563 f470 1"/>
                  <a:gd name="f681" fmla="*/ f564 f471 1"/>
                  <a:gd name="f682" fmla="*/ f565 f470 1"/>
                  <a:gd name="f683" fmla="*/ f566 f471 1"/>
                  <a:gd name="f684" fmla="*/ f567 f471 1"/>
                  <a:gd name="f685" fmla="*/ f568 f470 1"/>
                  <a:gd name="f686" fmla="*/ f569 f471 1"/>
                  <a:gd name="f687" fmla="*/ f570 f470 1"/>
                  <a:gd name="f688" fmla="*/ f571 f471 1"/>
                  <a:gd name="f689" fmla="*/ f572 f470 1"/>
                  <a:gd name="f690" fmla="*/ f573 f471 1"/>
                  <a:gd name="f691" fmla="*/ f574 f470 1"/>
                  <a:gd name="f692" fmla="*/ f575 f471 1"/>
                  <a:gd name="f693" fmla="*/ f576 f470 1"/>
                  <a:gd name="f694" fmla="*/ f577 f471 1"/>
                  <a:gd name="f695" fmla="*/ f578 f470 1"/>
                  <a:gd name="f696" fmla="*/ f579 f471 1"/>
                  <a:gd name="f697" fmla="*/ f580 f470 1"/>
                  <a:gd name="f698" fmla="*/ f581 f471 1"/>
                  <a:gd name="f699" fmla="*/ f582 f470 1"/>
                  <a:gd name="f700" fmla="*/ f583 f471 1"/>
                  <a:gd name="f701" fmla="*/ f584 f470 1"/>
                  <a:gd name="f702" fmla="*/ f585 f47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90">
                    <a:pos x="f595" y="f596"/>
                  </a:cxn>
                  <a:cxn ang="f590">
                    <a:pos x="f597" y="f598"/>
                  </a:cxn>
                  <a:cxn ang="f590">
                    <a:pos x="f599" y="f600"/>
                  </a:cxn>
                  <a:cxn ang="f590">
                    <a:pos x="f601" y="f602"/>
                  </a:cxn>
                  <a:cxn ang="f590">
                    <a:pos x="f603" y="f604"/>
                  </a:cxn>
                  <a:cxn ang="f590">
                    <a:pos x="f605" y="f606"/>
                  </a:cxn>
                  <a:cxn ang="f590">
                    <a:pos x="f607" y="f608"/>
                  </a:cxn>
                  <a:cxn ang="f590">
                    <a:pos x="f609" y="f610"/>
                  </a:cxn>
                  <a:cxn ang="f590">
                    <a:pos x="f611" y="f612"/>
                  </a:cxn>
                  <a:cxn ang="f590">
                    <a:pos x="f613" y="f614"/>
                  </a:cxn>
                  <a:cxn ang="f590">
                    <a:pos x="f615" y="f616"/>
                  </a:cxn>
                  <a:cxn ang="f590">
                    <a:pos x="f617" y="f618"/>
                  </a:cxn>
                  <a:cxn ang="f590">
                    <a:pos x="f619" y="f620"/>
                  </a:cxn>
                  <a:cxn ang="f590">
                    <a:pos x="f621" y="f622"/>
                  </a:cxn>
                  <a:cxn ang="f590">
                    <a:pos x="f623" y="f624"/>
                  </a:cxn>
                  <a:cxn ang="f590">
                    <a:pos x="f623" y="f625"/>
                  </a:cxn>
                  <a:cxn ang="f590">
                    <a:pos x="f626" y="f627"/>
                  </a:cxn>
                  <a:cxn ang="f590">
                    <a:pos x="f628" y="f629"/>
                  </a:cxn>
                  <a:cxn ang="f590">
                    <a:pos x="f630" y="f631"/>
                  </a:cxn>
                  <a:cxn ang="f590">
                    <a:pos x="f632" y="f633"/>
                  </a:cxn>
                  <a:cxn ang="f590">
                    <a:pos x="f634" y="f635"/>
                  </a:cxn>
                  <a:cxn ang="f590">
                    <a:pos x="f636" y="f637"/>
                  </a:cxn>
                  <a:cxn ang="f590">
                    <a:pos x="f638" y="f639"/>
                  </a:cxn>
                  <a:cxn ang="f590">
                    <a:pos x="f640" y="f641"/>
                  </a:cxn>
                  <a:cxn ang="f590">
                    <a:pos x="f642" y="f631"/>
                  </a:cxn>
                  <a:cxn ang="f590">
                    <a:pos x="f643" y="f644"/>
                  </a:cxn>
                  <a:cxn ang="f590">
                    <a:pos x="f645" y="f646"/>
                  </a:cxn>
                  <a:cxn ang="f590">
                    <a:pos x="f647" y="f648"/>
                  </a:cxn>
                  <a:cxn ang="f590">
                    <a:pos x="f649" y="f650"/>
                  </a:cxn>
                  <a:cxn ang="f590">
                    <a:pos x="f651" y="f652"/>
                  </a:cxn>
                  <a:cxn ang="f590">
                    <a:pos x="f653" y="f654"/>
                  </a:cxn>
                  <a:cxn ang="f590">
                    <a:pos x="f655" y="f656"/>
                  </a:cxn>
                  <a:cxn ang="f590">
                    <a:pos x="f657" y="f658"/>
                  </a:cxn>
                  <a:cxn ang="f590">
                    <a:pos x="f659" y="f660"/>
                  </a:cxn>
                  <a:cxn ang="f590">
                    <a:pos x="f661" y="f662"/>
                  </a:cxn>
                  <a:cxn ang="f590">
                    <a:pos x="f663" y="f664"/>
                  </a:cxn>
                  <a:cxn ang="f590">
                    <a:pos x="f665" y="f666"/>
                  </a:cxn>
                  <a:cxn ang="f590">
                    <a:pos x="f667" y="f668"/>
                  </a:cxn>
                  <a:cxn ang="f590">
                    <a:pos x="f669" y="f670"/>
                  </a:cxn>
                  <a:cxn ang="f590">
                    <a:pos x="f671" y="f672"/>
                  </a:cxn>
                  <a:cxn ang="f590">
                    <a:pos x="f673" y="f674"/>
                  </a:cxn>
                  <a:cxn ang="f590">
                    <a:pos x="f673" y="f675"/>
                  </a:cxn>
                  <a:cxn ang="f590">
                    <a:pos x="f676" y="f677"/>
                  </a:cxn>
                  <a:cxn ang="f590">
                    <a:pos x="f678" y="f679"/>
                  </a:cxn>
                  <a:cxn ang="f590">
                    <a:pos x="f680" y="f681"/>
                  </a:cxn>
                  <a:cxn ang="f590">
                    <a:pos x="f682" y="f683"/>
                  </a:cxn>
                  <a:cxn ang="f590">
                    <a:pos x="f682" y="f684"/>
                  </a:cxn>
                  <a:cxn ang="f590">
                    <a:pos x="f685" y="f686"/>
                  </a:cxn>
                  <a:cxn ang="f590">
                    <a:pos x="f687" y="f688"/>
                  </a:cxn>
                  <a:cxn ang="f590">
                    <a:pos x="f689" y="f690"/>
                  </a:cxn>
                  <a:cxn ang="f590">
                    <a:pos x="f691" y="f692"/>
                  </a:cxn>
                  <a:cxn ang="f590">
                    <a:pos x="f693" y="f694"/>
                  </a:cxn>
                  <a:cxn ang="f590">
                    <a:pos x="f695" y="f696"/>
                  </a:cxn>
                  <a:cxn ang="f590">
                    <a:pos x="f697" y="f698"/>
                  </a:cxn>
                  <a:cxn ang="f590">
                    <a:pos x="f699" y="f700"/>
                  </a:cxn>
                  <a:cxn ang="f590">
                    <a:pos x="f701" y="f702"/>
                  </a:cxn>
                </a:cxnLst>
                <a:rect l="f591" t="f594" r="f592" b="f593"/>
                <a:pathLst>
                  <a:path w="877" h="959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1" y="f17"/>
                    </a:lnTo>
                    <a:lnTo>
                      <a:pt x="f9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3" y="f25"/>
                    </a:lnTo>
                    <a:lnTo>
                      <a:pt x="f26" y="f27"/>
                    </a:lnTo>
                    <a:lnTo>
                      <a:pt x="f8" y="f28"/>
                    </a:lnTo>
                    <a:lnTo>
                      <a:pt x="f9" y="f29"/>
                    </a:lnTo>
                    <a:lnTo>
                      <a:pt x="f13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39" y="f43"/>
                    </a:lnTo>
                    <a:lnTo>
                      <a:pt x="f44" y="f45"/>
                    </a:lnTo>
                    <a:lnTo>
                      <a:pt x="f15" y="f46"/>
                    </a:lnTo>
                    <a:lnTo>
                      <a:pt x="f9" y="f47"/>
                    </a:lnTo>
                    <a:lnTo>
                      <a:pt x="f9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33" y="f53"/>
                    </a:lnTo>
                    <a:lnTo>
                      <a:pt x="f41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39" y="f61"/>
                    </a:lnTo>
                    <a:lnTo>
                      <a:pt x="f51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5" y="f67"/>
                    </a:lnTo>
                    <a:lnTo>
                      <a:pt x="f68" y="f69"/>
                    </a:lnTo>
                    <a:lnTo>
                      <a:pt x="f70" y="f71"/>
                    </a:lnTo>
                    <a:lnTo>
                      <a:pt x="f2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1" y="f8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92" y="f93"/>
                    </a:lnTo>
                    <a:lnTo>
                      <a:pt x="f94" y="f95"/>
                    </a:lnTo>
                    <a:lnTo>
                      <a:pt x="f79" y="f96"/>
                    </a:lnTo>
                    <a:lnTo>
                      <a:pt x="f97" y="f98"/>
                    </a:lnTo>
                    <a:lnTo>
                      <a:pt x="f81" y="f99"/>
                    </a:lnTo>
                    <a:lnTo>
                      <a:pt x="f100" y="f101"/>
                    </a:lnTo>
                    <a:lnTo>
                      <a:pt x="f77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lnTo>
                      <a:pt x="f92" y="f107"/>
                    </a:lnTo>
                    <a:lnTo>
                      <a:pt x="f92" y="f108"/>
                    </a:lnTo>
                    <a:lnTo>
                      <a:pt x="f77" y="f109"/>
                    </a:lnTo>
                    <a:lnTo>
                      <a:pt x="f103" y="f110"/>
                    </a:lnTo>
                    <a:lnTo>
                      <a:pt x="f111" y="f112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3" y="f117"/>
                    </a:lnTo>
                    <a:lnTo>
                      <a:pt x="f111" y="f117"/>
                    </a:lnTo>
                    <a:lnTo>
                      <a:pt x="f92" y="f118"/>
                    </a:lnTo>
                    <a:lnTo>
                      <a:pt x="f79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128" y="f129"/>
                    </a:lnTo>
                    <a:lnTo>
                      <a:pt x="f130" y="f131"/>
                    </a:lnTo>
                    <a:lnTo>
                      <a:pt x="f94" y="f132"/>
                    </a:lnTo>
                    <a:lnTo>
                      <a:pt x="f105" y="f133"/>
                    </a:lnTo>
                    <a:lnTo>
                      <a:pt x="f134" y="f135"/>
                    </a:lnTo>
                    <a:lnTo>
                      <a:pt x="f7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lnTo>
                      <a:pt x="f141" y="f142"/>
                    </a:lnTo>
                    <a:lnTo>
                      <a:pt x="f143" y="f142"/>
                    </a:lnTo>
                    <a:lnTo>
                      <a:pt x="f144" y="f145"/>
                    </a:lnTo>
                    <a:lnTo>
                      <a:pt x="f86" y="f146"/>
                    </a:lnTo>
                    <a:lnTo>
                      <a:pt x="f128" y="f145"/>
                    </a:lnTo>
                    <a:lnTo>
                      <a:pt x="f147" y="f142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48" y="f152"/>
                    </a:lnTo>
                    <a:lnTo>
                      <a:pt x="f124" y="f63"/>
                    </a:lnTo>
                    <a:lnTo>
                      <a:pt x="f122" y="f70"/>
                    </a:lnTo>
                    <a:lnTo>
                      <a:pt x="f147" y="f153"/>
                    </a:lnTo>
                    <a:lnTo>
                      <a:pt x="f148" y="f19"/>
                    </a:lnTo>
                    <a:lnTo>
                      <a:pt x="f154" y="f155"/>
                    </a:lnTo>
                    <a:lnTo>
                      <a:pt x="f156" y="f51"/>
                    </a:lnTo>
                    <a:lnTo>
                      <a:pt x="f157" y="f158"/>
                    </a:lnTo>
                    <a:lnTo>
                      <a:pt x="f159" y="f55"/>
                    </a:lnTo>
                    <a:lnTo>
                      <a:pt x="f160" y="f137"/>
                    </a:lnTo>
                    <a:lnTo>
                      <a:pt x="f161" y="f162"/>
                    </a:lnTo>
                    <a:lnTo>
                      <a:pt x="f163" y="f105"/>
                    </a:lnTo>
                    <a:lnTo>
                      <a:pt x="f163" y="f144"/>
                    </a:lnTo>
                    <a:lnTo>
                      <a:pt x="f164" y="f97"/>
                    </a:lnTo>
                    <a:lnTo>
                      <a:pt x="f6" y="f128"/>
                    </a:lnTo>
                    <a:lnTo>
                      <a:pt x="f6" y="f165"/>
                    </a:lnTo>
                    <a:lnTo>
                      <a:pt x="f164" y="f166"/>
                    </a:lnTo>
                    <a:lnTo>
                      <a:pt x="f161" y="f167"/>
                    </a:lnTo>
                    <a:lnTo>
                      <a:pt x="f168" y="f169"/>
                    </a:lnTo>
                    <a:lnTo>
                      <a:pt x="f170" y="f171"/>
                    </a:lnTo>
                    <a:lnTo>
                      <a:pt x="f156" y="f172"/>
                    </a:lnTo>
                    <a:lnTo>
                      <a:pt x="f171" y="f173"/>
                    </a:lnTo>
                    <a:lnTo>
                      <a:pt x="f166" y="f174"/>
                    </a:lnTo>
                    <a:lnTo>
                      <a:pt x="f175" y="f176"/>
                    </a:lnTo>
                    <a:lnTo>
                      <a:pt x="f113" y="f177"/>
                    </a:lnTo>
                    <a:lnTo>
                      <a:pt x="f178" y="f179"/>
                    </a:lnTo>
                    <a:lnTo>
                      <a:pt x="f57" y="f180"/>
                    </a:lnTo>
                    <a:lnTo>
                      <a:pt x="f41" y="f181"/>
                    </a:lnTo>
                    <a:lnTo>
                      <a:pt x="f44" y="f182"/>
                    </a:lnTo>
                    <a:lnTo>
                      <a:pt x="f13" y="f183"/>
                    </a:lnTo>
                    <a:lnTo>
                      <a:pt x="f8" y="f184"/>
                    </a:lnTo>
                    <a:lnTo>
                      <a:pt x="f185" y="f186"/>
                    </a:lnTo>
                    <a:lnTo>
                      <a:pt x="f187" y="f188"/>
                    </a:lnTo>
                    <a:lnTo>
                      <a:pt x="f189" y="f7"/>
                    </a:lnTo>
                    <a:lnTo>
                      <a:pt x="f190" y="f7"/>
                    </a:lnTo>
                    <a:lnTo>
                      <a:pt x="f191" y="f192"/>
                    </a:lnTo>
                    <a:lnTo>
                      <a:pt x="f151" y="f193"/>
                    </a:lnTo>
                    <a:lnTo>
                      <a:pt x="f194" y="f195"/>
                    </a:lnTo>
                    <a:lnTo>
                      <a:pt x="f196" y="f197"/>
                    </a:lnTo>
                    <a:lnTo>
                      <a:pt x="f198" y="f199"/>
                    </a:lnTo>
                    <a:lnTo>
                      <a:pt x="f146" y="f200"/>
                    </a:lnTo>
                    <a:lnTo>
                      <a:pt x="f201" y="f202"/>
                    </a:lnTo>
                    <a:lnTo>
                      <a:pt x="f203" y="f204"/>
                    </a:lnTo>
                    <a:lnTo>
                      <a:pt x="f205" y="f202"/>
                    </a:lnTo>
                    <a:lnTo>
                      <a:pt x="f135" y="f206"/>
                    </a:lnTo>
                    <a:lnTo>
                      <a:pt x="f207" y="f208"/>
                    </a:lnTo>
                    <a:lnTo>
                      <a:pt x="f209" y="f206"/>
                    </a:lnTo>
                    <a:lnTo>
                      <a:pt x="f210" y="f204"/>
                    </a:lnTo>
                    <a:lnTo>
                      <a:pt x="f211" y="f212"/>
                    </a:lnTo>
                    <a:lnTo>
                      <a:pt x="f213" y="f214"/>
                    </a:lnTo>
                    <a:lnTo>
                      <a:pt x="f215" y="f216"/>
                    </a:lnTo>
                    <a:lnTo>
                      <a:pt x="f217" y="f218"/>
                    </a:lnTo>
                    <a:lnTo>
                      <a:pt x="f219" y="f216"/>
                    </a:lnTo>
                    <a:lnTo>
                      <a:pt x="f220" y="f221"/>
                    </a:lnTo>
                    <a:lnTo>
                      <a:pt x="f222" y="f223"/>
                    </a:lnTo>
                    <a:lnTo>
                      <a:pt x="f104" y="f208"/>
                    </a:lnTo>
                    <a:lnTo>
                      <a:pt x="f224" y="f225"/>
                    </a:lnTo>
                    <a:lnTo>
                      <a:pt x="f226" y="f227"/>
                    </a:lnTo>
                    <a:lnTo>
                      <a:pt x="f228" y="f174"/>
                    </a:lnTo>
                    <a:lnTo>
                      <a:pt x="f229" y="f156"/>
                    </a:lnTo>
                    <a:lnTo>
                      <a:pt x="f230" y="f231"/>
                    </a:lnTo>
                    <a:lnTo>
                      <a:pt x="f232" y="f154"/>
                    </a:lnTo>
                    <a:lnTo>
                      <a:pt x="f233" y="f234"/>
                    </a:lnTo>
                    <a:lnTo>
                      <a:pt x="f235" y="f234"/>
                    </a:lnTo>
                    <a:lnTo>
                      <a:pt x="f236" y="f154"/>
                    </a:lnTo>
                    <a:lnTo>
                      <a:pt x="f237" y="f169"/>
                    </a:lnTo>
                    <a:lnTo>
                      <a:pt x="f238" y="f172"/>
                    </a:lnTo>
                    <a:lnTo>
                      <a:pt x="f239" y="f173"/>
                    </a:lnTo>
                    <a:lnTo>
                      <a:pt x="f91" y="f170"/>
                    </a:lnTo>
                    <a:lnTo>
                      <a:pt x="f87" y="f240"/>
                    </a:lnTo>
                    <a:lnTo>
                      <a:pt x="f84" y="f241"/>
                    </a:lnTo>
                    <a:lnTo>
                      <a:pt x="f242" y="f240"/>
                    </a:lnTo>
                    <a:lnTo>
                      <a:pt x="f243" y="f157"/>
                    </a:lnTo>
                    <a:lnTo>
                      <a:pt x="f244" y="f245"/>
                    </a:lnTo>
                    <a:lnTo>
                      <a:pt x="f246" y="f170"/>
                    </a:lnTo>
                    <a:lnTo>
                      <a:pt x="f247" y="f174"/>
                    </a:lnTo>
                    <a:lnTo>
                      <a:pt x="f248" y="f240"/>
                    </a:lnTo>
                    <a:lnTo>
                      <a:pt x="f249" y="f250"/>
                    </a:lnTo>
                    <a:lnTo>
                      <a:pt x="f251" y="f173"/>
                    </a:lnTo>
                    <a:lnTo>
                      <a:pt x="f252" y="f253"/>
                    </a:lnTo>
                    <a:lnTo>
                      <a:pt x="f254" y="f124"/>
                    </a:lnTo>
                    <a:lnTo>
                      <a:pt x="f252" y="f128"/>
                    </a:lnTo>
                    <a:lnTo>
                      <a:pt x="f255" y="f81"/>
                    </a:lnTo>
                    <a:lnTo>
                      <a:pt x="f256" y="f100"/>
                    </a:lnTo>
                    <a:lnTo>
                      <a:pt x="f257" y="f100"/>
                    </a:lnTo>
                    <a:lnTo>
                      <a:pt x="f258" y="f175"/>
                    </a:lnTo>
                    <a:lnTo>
                      <a:pt x="f259" y="f128"/>
                    </a:lnTo>
                    <a:lnTo>
                      <a:pt x="f260" y="f122"/>
                    </a:lnTo>
                    <a:lnTo>
                      <a:pt x="f261" y="f262"/>
                    </a:lnTo>
                    <a:lnTo>
                      <a:pt x="f263" y="f264"/>
                    </a:lnTo>
                    <a:lnTo>
                      <a:pt x="f62" y="f148"/>
                    </a:lnTo>
                    <a:lnTo>
                      <a:pt x="f265" y="f266"/>
                    </a:lnTo>
                    <a:lnTo>
                      <a:pt x="f267" y="f268"/>
                    </a:lnTo>
                    <a:lnTo>
                      <a:pt x="f269" y="f270"/>
                    </a:lnTo>
                    <a:lnTo>
                      <a:pt x="f271" y="f157"/>
                    </a:lnTo>
                    <a:lnTo>
                      <a:pt x="f261" y="f272"/>
                    </a:lnTo>
                    <a:lnTo>
                      <a:pt x="f263" y="f241"/>
                    </a:lnTo>
                    <a:lnTo>
                      <a:pt x="f273" y="f161"/>
                    </a:lnTo>
                    <a:lnTo>
                      <a:pt x="f274" y="f6"/>
                    </a:lnTo>
                    <a:lnTo>
                      <a:pt x="f275" y="f216"/>
                    </a:lnTo>
                    <a:lnTo>
                      <a:pt x="f276" y="f277"/>
                    </a:lnTo>
                    <a:lnTo>
                      <a:pt x="f278" y="f279"/>
                    </a:lnTo>
                    <a:lnTo>
                      <a:pt x="f280" y="f216"/>
                    </a:lnTo>
                    <a:lnTo>
                      <a:pt x="f281" y="f282"/>
                    </a:lnTo>
                    <a:lnTo>
                      <a:pt x="f283" y="f218"/>
                    </a:lnTo>
                    <a:lnTo>
                      <a:pt x="f284" y="f277"/>
                    </a:lnTo>
                    <a:lnTo>
                      <a:pt x="f285" y="f223"/>
                    </a:lnTo>
                    <a:lnTo>
                      <a:pt x="f284" y="f286"/>
                    </a:lnTo>
                    <a:lnTo>
                      <a:pt x="f287" y="f288"/>
                    </a:lnTo>
                    <a:lnTo>
                      <a:pt x="f289" y="f193"/>
                    </a:lnTo>
                    <a:lnTo>
                      <a:pt x="f284" y="f290"/>
                    </a:lnTo>
                    <a:lnTo>
                      <a:pt x="f291" y="f292"/>
                    </a:lnTo>
                    <a:lnTo>
                      <a:pt x="f293" y="f294"/>
                    </a:lnTo>
                    <a:lnTo>
                      <a:pt x="f295" y="f296"/>
                    </a:lnTo>
                    <a:lnTo>
                      <a:pt x="f297" y="f183"/>
                    </a:lnTo>
                    <a:lnTo>
                      <a:pt x="f47" y="f197"/>
                    </a:lnTo>
                    <a:lnTo>
                      <a:pt x="f298" y="f182"/>
                    </a:lnTo>
                    <a:lnTo>
                      <a:pt x="f299" y="f300"/>
                    </a:lnTo>
                    <a:lnTo>
                      <a:pt x="f301" y="f302"/>
                    </a:lnTo>
                    <a:lnTo>
                      <a:pt x="f299" y="f303"/>
                    </a:lnTo>
                    <a:lnTo>
                      <a:pt x="f45" y="f304"/>
                    </a:lnTo>
                    <a:lnTo>
                      <a:pt x="f45" y="f305"/>
                    </a:lnTo>
                    <a:lnTo>
                      <a:pt x="f306" y="f307"/>
                    </a:lnTo>
                    <a:lnTo>
                      <a:pt x="f308" y="f309"/>
                    </a:lnTo>
                    <a:lnTo>
                      <a:pt x="f310" y="f311"/>
                    </a:lnTo>
                    <a:lnTo>
                      <a:pt x="f312" y="f241"/>
                    </a:lnTo>
                    <a:lnTo>
                      <a:pt x="f313" y="f314"/>
                    </a:lnTo>
                    <a:lnTo>
                      <a:pt x="f315" y="f156"/>
                    </a:lnTo>
                    <a:lnTo>
                      <a:pt x="f316" y="f172"/>
                    </a:lnTo>
                    <a:lnTo>
                      <a:pt x="f317" y="f167"/>
                    </a:lnTo>
                    <a:lnTo>
                      <a:pt x="f318" y="f319"/>
                    </a:lnTo>
                    <a:lnTo>
                      <a:pt x="f320" y="f321"/>
                    </a:lnTo>
                    <a:lnTo>
                      <a:pt x="f32" y="f81"/>
                    </a:lnTo>
                    <a:lnTo>
                      <a:pt x="f322" y="f86"/>
                    </a:lnTo>
                    <a:lnTo>
                      <a:pt x="f322" y="f323"/>
                    </a:lnTo>
                    <a:lnTo>
                      <a:pt x="f324" y="f144"/>
                    </a:lnTo>
                    <a:lnTo>
                      <a:pt x="f325" y="f92"/>
                    </a:lnTo>
                    <a:lnTo>
                      <a:pt x="f324" y="f103"/>
                    </a:lnTo>
                    <a:lnTo>
                      <a:pt x="f322" y="f111"/>
                    </a:lnTo>
                    <a:lnTo>
                      <a:pt x="f326" y="f75"/>
                    </a:lnTo>
                    <a:lnTo>
                      <a:pt x="f327" y="f137"/>
                    </a:lnTo>
                    <a:lnTo>
                      <a:pt x="f328" y="f329"/>
                    </a:lnTo>
                    <a:lnTo>
                      <a:pt x="f330" y="f331"/>
                    </a:lnTo>
                    <a:lnTo>
                      <a:pt x="f332" y="f331"/>
                    </a:lnTo>
                    <a:lnTo>
                      <a:pt x="f333" y="f329"/>
                    </a:lnTo>
                    <a:lnTo>
                      <a:pt x="f334" y="f75"/>
                    </a:lnTo>
                    <a:lnTo>
                      <a:pt x="f335" y="f141"/>
                    </a:lnTo>
                    <a:lnTo>
                      <a:pt x="f336" y="f337"/>
                    </a:lnTo>
                    <a:lnTo>
                      <a:pt x="f22" y="f329"/>
                    </a:lnTo>
                    <a:lnTo>
                      <a:pt x="f18" y="f35"/>
                    </a:lnTo>
                    <a:lnTo>
                      <a:pt x="f338" y="f13"/>
                    </a:lnTo>
                    <a:lnTo>
                      <a:pt x="f339" y="f340"/>
                    </a:lnTo>
                    <a:lnTo>
                      <a:pt x="f17" y="f341"/>
                    </a:lnTo>
                    <a:lnTo>
                      <a:pt x="f342" y="f343"/>
                    </a:lnTo>
                    <a:lnTo>
                      <a:pt x="f16" y="f344"/>
                    </a:lnTo>
                    <a:lnTo>
                      <a:pt x="f345" y="f346"/>
                    </a:lnTo>
                    <a:lnTo>
                      <a:pt x="f347" y="f348"/>
                    </a:lnTo>
                    <a:lnTo>
                      <a:pt x="f347" y="f189"/>
                    </a:lnTo>
                    <a:lnTo>
                      <a:pt x="f349" y="f350"/>
                    </a:lnTo>
                    <a:lnTo>
                      <a:pt x="f351" y="f68"/>
                    </a:lnTo>
                    <a:lnTo>
                      <a:pt x="f16" y="f352"/>
                    </a:lnTo>
                    <a:lnTo>
                      <a:pt x="f353" y="f354"/>
                    </a:lnTo>
                    <a:lnTo>
                      <a:pt x="f353" y="f355"/>
                    </a:lnTo>
                    <a:lnTo>
                      <a:pt x="f356" y="f357"/>
                    </a:lnTo>
                    <a:lnTo>
                      <a:pt x="f358" y="f359"/>
                    </a:lnTo>
                    <a:lnTo>
                      <a:pt x="f360" y="f361"/>
                    </a:lnTo>
                    <a:lnTo>
                      <a:pt x="f347" y="f362"/>
                    </a:lnTo>
                    <a:lnTo>
                      <a:pt x="f363" y="f133"/>
                    </a:lnTo>
                    <a:lnTo>
                      <a:pt x="f363" y="f364"/>
                    </a:lnTo>
                    <a:lnTo>
                      <a:pt x="f349" y="f365"/>
                    </a:lnTo>
                    <a:lnTo>
                      <a:pt x="f16" y="f366"/>
                    </a:lnTo>
                    <a:lnTo>
                      <a:pt x="f367" y="f368"/>
                    </a:lnTo>
                    <a:lnTo>
                      <a:pt x="f338" y="f369"/>
                    </a:lnTo>
                    <a:lnTo>
                      <a:pt x="f370" y="f371"/>
                    </a:lnTo>
                    <a:lnTo>
                      <a:pt x="f372" y="f373"/>
                    </a:lnTo>
                    <a:lnTo>
                      <a:pt x="f374" y="f375"/>
                    </a:lnTo>
                    <a:lnTo>
                      <a:pt x="f338" y="f376"/>
                    </a:lnTo>
                    <a:lnTo>
                      <a:pt x="f377" y="f378"/>
                    </a:lnTo>
                    <a:lnTo>
                      <a:pt x="f358" y="f379"/>
                    </a:lnTo>
                    <a:lnTo>
                      <a:pt x="f347" y="f380"/>
                    </a:lnTo>
                    <a:lnTo>
                      <a:pt x="f381" y="f101"/>
                    </a:lnTo>
                    <a:lnTo>
                      <a:pt x="f382" y="f383"/>
                    </a:lnTo>
                    <a:lnTo>
                      <a:pt x="f384" y="f385"/>
                    </a:lnTo>
                    <a:lnTo>
                      <a:pt x="f386" y="f387"/>
                    </a:lnTo>
                    <a:lnTo>
                      <a:pt x="f388" y="f389"/>
                    </a:lnTo>
                    <a:lnTo>
                      <a:pt x="f390" y="f391"/>
                    </a:lnTo>
                    <a:lnTo>
                      <a:pt x="f392" y="f82"/>
                    </a:lnTo>
                    <a:lnTo>
                      <a:pt x="f393" y="f74"/>
                    </a:lnTo>
                    <a:lnTo>
                      <a:pt x="f394" y="f395"/>
                    </a:lnTo>
                    <a:lnTo>
                      <a:pt x="f5" y="f396"/>
                    </a:lnTo>
                    <a:lnTo>
                      <a:pt x="f388" y="f397"/>
                    </a:lnTo>
                    <a:lnTo>
                      <a:pt x="f398" y="f399"/>
                    </a:lnTo>
                    <a:lnTo>
                      <a:pt x="f16" y="f400"/>
                    </a:lnTo>
                    <a:lnTo>
                      <a:pt x="f20" y="f263"/>
                    </a:lnTo>
                    <a:lnTo>
                      <a:pt x="f401" y="f402"/>
                    </a:lnTo>
                    <a:lnTo>
                      <a:pt x="f403" y="f404"/>
                    </a:lnTo>
                    <a:lnTo>
                      <a:pt x="f405" y="f406"/>
                    </a:lnTo>
                    <a:lnTo>
                      <a:pt x="f407" y="f408"/>
                    </a:lnTo>
                    <a:lnTo>
                      <a:pt x="f409" y="f410"/>
                    </a:lnTo>
                    <a:lnTo>
                      <a:pt x="f411" y="f412"/>
                    </a:lnTo>
                    <a:lnTo>
                      <a:pt x="f413" y="f414"/>
                    </a:lnTo>
                    <a:lnTo>
                      <a:pt x="f415" y="f416"/>
                    </a:lnTo>
                    <a:lnTo>
                      <a:pt x="f417" y="f281"/>
                    </a:lnTo>
                    <a:lnTo>
                      <a:pt x="f418" y="f53"/>
                    </a:lnTo>
                    <a:lnTo>
                      <a:pt x="f419" y="f283"/>
                    </a:lnTo>
                    <a:lnTo>
                      <a:pt x="f46" y="f284"/>
                    </a:lnTo>
                    <a:lnTo>
                      <a:pt x="f420" y="f421"/>
                    </a:lnTo>
                    <a:lnTo>
                      <a:pt x="f422" y="f423"/>
                    </a:lnTo>
                    <a:lnTo>
                      <a:pt x="f424" y="f425"/>
                    </a:lnTo>
                    <a:lnTo>
                      <a:pt x="f426" y="f427"/>
                    </a:lnTo>
                    <a:lnTo>
                      <a:pt x="f428" y="f429"/>
                    </a:lnTo>
                    <a:lnTo>
                      <a:pt x="f430" y="f431"/>
                    </a:lnTo>
                    <a:lnTo>
                      <a:pt x="f404" y="f299"/>
                    </a:lnTo>
                    <a:lnTo>
                      <a:pt x="f432" y="f433"/>
                    </a:lnTo>
                    <a:lnTo>
                      <a:pt x="f434" y="f435"/>
                    </a:lnTo>
                    <a:lnTo>
                      <a:pt x="f436" y="f38"/>
                    </a:lnTo>
                    <a:lnTo>
                      <a:pt x="f437" y="f438"/>
                    </a:lnTo>
                    <a:lnTo>
                      <a:pt x="f439" y="f317"/>
                    </a:lnTo>
                    <a:lnTo>
                      <a:pt x="f258" y="f440"/>
                    </a:lnTo>
                    <a:lnTo>
                      <a:pt x="f441" y="f318"/>
                    </a:lnTo>
                    <a:lnTo>
                      <a:pt x="f256" y="f442"/>
                    </a:lnTo>
                    <a:lnTo>
                      <a:pt x="f395" y="f443"/>
                    </a:lnTo>
                    <a:lnTo>
                      <a:pt x="f444" y="f326"/>
                    </a:lnTo>
                    <a:lnTo>
                      <a:pt x="f246" y="f445"/>
                    </a:lnTo>
                    <a:lnTo>
                      <a:pt x="f243" y="f446"/>
                    </a:lnTo>
                    <a:lnTo>
                      <a:pt x="f447" y="f448"/>
                    </a:lnTo>
                    <a:lnTo>
                      <a:pt x="f391" y="f333"/>
                    </a:lnTo>
                    <a:lnTo>
                      <a:pt x="f95" y="f449"/>
                    </a:lnTo>
                    <a:lnTo>
                      <a:pt x="f450" y="f335"/>
                    </a:lnTo>
                    <a:lnTo>
                      <a:pt x="f451" y="f452"/>
                    </a:lnTo>
                    <a:lnTo>
                      <a:pt x="f453" y="f25"/>
                    </a:lnTo>
                    <a:lnTo>
                      <a:pt x="f454" y="f24"/>
                    </a:lnTo>
                    <a:lnTo>
                      <a:pt x="f455" y="f370"/>
                    </a:lnTo>
                    <a:lnTo>
                      <a:pt x="f456" y="f18"/>
                    </a:lnTo>
                    <a:lnTo>
                      <a:pt x="f457" y="f17"/>
                    </a:lnTo>
                    <a:lnTo>
                      <a:pt x="f458" y="f356"/>
                    </a:lnTo>
                    <a:lnTo>
                      <a:pt x="f121" y="f349"/>
                    </a:lnTo>
                    <a:lnTo>
                      <a:pt x="f132" y="f459"/>
                    </a:lnTo>
                    <a:lnTo>
                      <a:pt x="f460" y="f461"/>
                    </a:lnTo>
                    <a:lnTo>
                      <a:pt x="f359" y="f462"/>
                    </a:lnTo>
                    <a:lnTo>
                      <a:pt x="f463" y="f464"/>
                    </a:lnTo>
                    <a:lnTo>
                      <a:pt x="f354" y="f465"/>
                    </a:lnTo>
                    <a:lnTo>
                      <a:pt x="f350" y="f466"/>
                    </a:lnTo>
                    <a:lnTo>
                      <a:pt x="f348" y="f467"/>
                    </a:lnTo>
                    <a:lnTo>
                      <a:pt x="f346" y="f468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88" name="Freeform 8">
                <a:extLst>
                  <a:ext uri="{FF2B5EF4-FFF2-40B4-BE49-F238E27FC236}">
                    <a16:creationId xmlns:a16="http://schemas.microsoft.com/office/drawing/2014/main" id="{65575D45-AD0E-40CE-9DE8-B3DAF9B25E9C}"/>
                  </a:ext>
                </a:extLst>
              </p:cNvPr>
              <p:cNvSpPr/>
              <p:nvPr/>
            </p:nvSpPr>
            <p:spPr>
              <a:xfrm>
                <a:off x="3556988" y="1878360"/>
                <a:ext cx="35433" cy="31281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63"/>
                  <a:gd name="f7" fmla="val 161"/>
                  <a:gd name="f8" fmla="val 139"/>
                  <a:gd name="f9" fmla="val 145"/>
                  <a:gd name="f10" fmla="val 149"/>
                  <a:gd name="f11" fmla="val 1"/>
                  <a:gd name="f12" fmla="val 151"/>
                  <a:gd name="f13" fmla="val 5"/>
                  <a:gd name="f14" fmla="val 152"/>
                  <a:gd name="f15" fmla="val 12"/>
                  <a:gd name="f16" fmla="val 24"/>
                  <a:gd name="f17" fmla="val 154"/>
                  <a:gd name="f18" fmla="val 36"/>
                  <a:gd name="f19" fmla="val 50"/>
                  <a:gd name="f20" fmla="val 150"/>
                  <a:gd name="f21" fmla="val 57"/>
                  <a:gd name="f22" fmla="val 138"/>
                  <a:gd name="f23" fmla="val 62"/>
                  <a:gd name="f24" fmla="val 127"/>
                  <a:gd name="f25" fmla="val 69"/>
                  <a:gd name="f26" fmla="val 117"/>
                  <a:gd name="f27" fmla="val 73"/>
                  <a:gd name="f28" fmla="val 112"/>
                  <a:gd name="f29" fmla="val 77"/>
                  <a:gd name="f30" fmla="val 107"/>
                  <a:gd name="f31" fmla="val 80"/>
                  <a:gd name="f32" fmla="val 103"/>
                  <a:gd name="f33" fmla="val 99"/>
                  <a:gd name="f34" fmla="val 94"/>
                  <a:gd name="f35" fmla="val 76"/>
                  <a:gd name="f36" fmla="val 89"/>
                  <a:gd name="f37" fmla="val 83"/>
                  <a:gd name="f38" fmla="val 81"/>
                  <a:gd name="f39" fmla="val 87"/>
                  <a:gd name="f40" fmla="val 96"/>
                  <a:gd name="f41" fmla="val 78"/>
                  <a:gd name="f42" fmla="val 102"/>
                  <a:gd name="f43" fmla="val 109"/>
                  <a:gd name="f44" fmla="val 114"/>
                  <a:gd name="f45" fmla="val 71"/>
                  <a:gd name="f46" fmla="val 120"/>
                  <a:gd name="f47" fmla="val 65"/>
                  <a:gd name="f48" fmla="val 131"/>
                  <a:gd name="f49" fmla="val 60"/>
                  <a:gd name="f50" fmla="val 143"/>
                  <a:gd name="f51" fmla="val 54"/>
                  <a:gd name="f52" fmla="val 153"/>
                  <a:gd name="f53" fmla="val 48"/>
                  <a:gd name="f54" fmla="val 160"/>
                  <a:gd name="f55" fmla="val 44"/>
                  <a:gd name="f56" fmla="val 40"/>
                  <a:gd name="f57" fmla="val 157"/>
                  <a:gd name="f58" fmla="val 32"/>
                  <a:gd name="f59" fmla="val 26"/>
                  <a:gd name="f60" fmla="val 17"/>
                  <a:gd name="f61" fmla="val 134"/>
                  <a:gd name="f62" fmla="val 14"/>
                  <a:gd name="f63" fmla="val 11"/>
                  <a:gd name="f64" fmla="val 133"/>
                  <a:gd name="f65" fmla="val 9"/>
                  <a:gd name="f66" fmla="val 6"/>
                  <a:gd name="f67" fmla="val 132"/>
                  <a:gd name="f68" fmla="val 3"/>
                  <a:gd name="f69" fmla="val 93"/>
                  <a:gd name="f70" fmla="val 4"/>
                  <a:gd name="f71" fmla="val 64"/>
                  <a:gd name="f72" fmla="val 15"/>
                  <a:gd name="f73" fmla="val 63"/>
                  <a:gd name="f74" fmla="val 28"/>
                  <a:gd name="f75" fmla="val 66"/>
                  <a:gd name="f76" fmla="val 68"/>
                  <a:gd name="f77" fmla="val 59"/>
                  <a:gd name="f78" fmla="val 70"/>
                  <a:gd name="f79" fmla="val 91"/>
                  <a:gd name="f80" fmla="val 100"/>
                  <a:gd name="f81" fmla="val 46"/>
                  <a:gd name="f82" fmla="val 33"/>
                  <a:gd name="f83" fmla="val 13"/>
                  <a:gd name="f84" fmla="val 10"/>
                  <a:gd name="f85" fmla="val 121"/>
                  <a:gd name="f86" fmla="val 2"/>
                  <a:gd name="f87" fmla="+- 0 0 -90"/>
                  <a:gd name="f88" fmla="*/ f3 1 163"/>
                  <a:gd name="f89" fmla="*/ f4 1 161"/>
                  <a:gd name="f90" fmla="+- f7 0 f5"/>
                  <a:gd name="f91" fmla="+- f6 0 f5"/>
                  <a:gd name="f92" fmla="*/ f87 f0 1"/>
                  <a:gd name="f93" fmla="*/ f91 1 163"/>
                  <a:gd name="f94" fmla="*/ f90 1 161"/>
                  <a:gd name="f95" fmla="*/ f92 1 f2"/>
                  <a:gd name="f96" fmla="*/ 145 1 f93"/>
                  <a:gd name="f97" fmla="*/ 0 1 f94"/>
                  <a:gd name="f98" fmla="*/ 151 1 f93"/>
                  <a:gd name="f99" fmla="*/ 5 1 f94"/>
                  <a:gd name="f100" fmla="*/ 24 1 f94"/>
                  <a:gd name="f101" fmla="*/ 163 1 f93"/>
                  <a:gd name="f102" fmla="*/ 50 1 f94"/>
                  <a:gd name="f103" fmla="*/ 138 1 f93"/>
                  <a:gd name="f104" fmla="*/ 62 1 f94"/>
                  <a:gd name="f105" fmla="*/ 117 1 f93"/>
                  <a:gd name="f106" fmla="*/ 73 1 f94"/>
                  <a:gd name="f107" fmla="*/ 107 1 f93"/>
                  <a:gd name="f108" fmla="*/ 80 1 f94"/>
                  <a:gd name="f109" fmla="*/ 99 1 f93"/>
                  <a:gd name="f110" fmla="*/ 77 1 f94"/>
                  <a:gd name="f111" fmla="*/ 89 1 f93"/>
                  <a:gd name="f112" fmla="*/ 77 1 f93"/>
                  <a:gd name="f113" fmla="*/ 87 1 f94"/>
                  <a:gd name="f114" fmla="*/ 78 1 f93"/>
                  <a:gd name="f115" fmla="*/ 102 1 f94"/>
                  <a:gd name="f116" fmla="*/ 76 1 f93"/>
                  <a:gd name="f117" fmla="*/ 114 1 f94"/>
                  <a:gd name="f118" fmla="*/ 65 1 f93"/>
                  <a:gd name="f119" fmla="*/ 131 1 f94"/>
                  <a:gd name="f120" fmla="*/ 54 1 f93"/>
                  <a:gd name="f121" fmla="*/ 153 1 f94"/>
                  <a:gd name="f122" fmla="*/ 44 1 f93"/>
                  <a:gd name="f123" fmla="*/ 161 1 f94"/>
                  <a:gd name="f124" fmla="*/ 36 1 f93"/>
                  <a:gd name="f125" fmla="*/ 150 1 f94"/>
                  <a:gd name="f126" fmla="*/ 26 1 f93"/>
                  <a:gd name="f127" fmla="*/ 138 1 f94"/>
                  <a:gd name="f128" fmla="*/ 14 1 f93"/>
                  <a:gd name="f129" fmla="*/ 134 1 f94"/>
                  <a:gd name="f130" fmla="*/ 9 1 f93"/>
                  <a:gd name="f131" fmla="*/ 133 1 f94"/>
                  <a:gd name="f132" fmla="*/ 3 1 f93"/>
                  <a:gd name="f133" fmla="*/ 112 1 f94"/>
                  <a:gd name="f134" fmla="*/ 0 1 f93"/>
                  <a:gd name="f135" fmla="*/ 4 1 f93"/>
                  <a:gd name="f136" fmla="*/ 64 1 f94"/>
                  <a:gd name="f137" fmla="*/ 28 1 f93"/>
                  <a:gd name="f138" fmla="*/ 66 1 f94"/>
                  <a:gd name="f139" fmla="*/ 50 1 f93"/>
                  <a:gd name="f140" fmla="*/ 69 1 f94"/>
                  <a:gd name="f141" fmla="*/ 70 1 f93"/>
                  <a:gd name="f142" fmla="*/ 60 1 f94"/>
                  <a:gd name="f143" fmla="*/ 91 1 f93"/>
                  <a:gd name="f144" fmla="*/ 48 1 f94"/>
                  <a:gd name="f145" fmla="*/ 103 1 f93"/>
                  <a:gd name="f146" fmla="*/ 44 1 f94"/>
                  <a:gd name="f147" fmla="*/ 33 1 f94"/>
                  <a:gd name="f148" fmla="*/ 17 1 f94"/>
                  <a:gd name="f149" fmla="*/ 100 1 f93"/>
                  <a:gd name="f150" fmla="*/ 13 1 f94"/>
                  <a:gd name="f151" fmla="*/ 121 1 f93"/>
                  <a:gd name="f152" fmla="*/ 139 1 f93"/>
                  <a:gd name="f153" fmla="*/ f6 1 f93"/>
                  <a:gd name="f154" fmla="*/ f7 1 f94"/>
                  <a:gd name="f155" fmla="+- f95 0 f1"/>
                  <a:gd name="f156" fmla="*/ f134 f88 1"/>
                  <a:gd name="f157" fmla="*/ f153 f88 1"/>
                  <a:gd name="f158" fmla="*/ f154 f89 1"/>
                  <a:gd name="f159" fmla="*/ f97 f89 1"/>
                  <a:gd name="f160" fmla="*/ f96 f88 1"/>
                  <a:gd name="f161" fmla="*/ f98 f88 1"/>
                  <a:gd name="f162" fmla="*/ f99 f89 1"/>
                  <a:gd name="f163" fmla="*/ f100 f89 1"/>
                  <a:gd name="f164" fmla="*/ f101 f88 1"/>
                  <a:gd name="f165" fmla="*/ f102 f89 1"/>
                  <a:gd name="f166" fmla="*/ f103 f88 1"/>
                  <a:gd name="f167" fmla="*/ f104 f89 1"/>
                  <a:gd name="f168" fmla="*/ f105 f88 1"/>
                  <a:gd name="f169" fmla="*/ f106 f89 1"/>
                  <a:gd name="f170" fmla="*/ f107 f88 1"/>
                  <a:gd name="f171" fmla="*/ f108 f89 1"/>
                  <a:gd name="f172" fmla="*/ f109 f88 1"/>
                  <a:gd name="f173" fmla="*/ f110 f89 1"/>
                  <a:gd name="f174" fmla="*/ f111 f88 1"/>
                  <a:gd name="f175" fmla="*/ f112 f88 1"/>
                  <a:gd name="f176" fmla="*/ f113 f89 1"/>
                  <a:gd name="f177" fmla="*/ f114 f88 1"/>
                  <a:gd name="f178" fmla="*/ f115 f89 1"/>
                  <a:gd name="f179" fmla="*/ f116 f88 1"/>
                  <a:gd name="f180" fmla="*/ f117 f89 1"/>
                  <a:gd name="f181" fmla="*/ f118 f88 1"/>
                  <a:gd name="f182" fmla="*/ f119 f89 1"/>
                  <a:gd name="f183" fmla="*/ f120 f88 1"/>
                  <a:gd name="f184" fmla="*/ f121 f89 1"/>
                  <a:gd name="f185" fmla="*/ f122 f88 1"/>
                  <a:gd name="f186" fmla="*/ f123 f89 1"/>
                  <a:gd name="f187" fmla="*/ f124 f88 1"/>
                  <a:gd name="f188" fmla="*/ f125 f89 1"/>
                  <a:gd name="f189" fmla="*/ f126 f88 1"/>
                  <a:gd name="f190" fmla="*/ f127 f89 1"/>
                  <a:gd name="f191" fmla="*/ f128 f88 1"/>
                  <a:gd name="f192" fmla="*/ f129 f89 1"/>
                  <a:gd name="f193" fmla="*/ f130 f88 1"/>
                  <a:gd name="f194" fmla="*/ f131 f89 1"/>
                  <a:gd name="f195" fmla="*/ f132 f88 1"/>
                  <a:gd name="f196" fmla="*/ f133 f89 1"/>
                  <a:gd name="f197" fmla="*/ f135 f88 1"/>
                  <a:gd name="f198" fmla="*/ f136 f89 1"/>
                  <a:gd name="f199" fmla="*/ f137 f88 1"/>
                  <a:gd name="f200" fmla="*/ f138 f89 1"/>
                  <a:gd name="f201" fmla="*/ f139 f88 1"/>
                  <a:gd name="f202" fmla="*/ f140 f89 1"/>
                  <a:gd name="f203" fmla="*/ f141 f88 1"/>
                  <a:gd name="f204" fmla="*/ f142 f89 1"/>
                  <a:gd name="f205" fmla="*/ f143 f88 1"/>
                  <a:gd name="f206" fmla="*/ f144 f89 1"/>
                  <a:gd name="f207" fmla="*/ f145 f88 1"/>
                  <a:gd name="f208" fmla="*/ f146 f89 1"/>
                  <a:gd name="f209" fmla="*/ f147 f89 1"/>
                  <a:gd name="f210" fmla="*/ f148 f89 1"/>
                  <a:gd name="f211" fmla="*/ f149 f88 1"/>
                  <a:gd name="f212" fmla="*/ f150 f89 1"/>
                  <a:gd name="f213" fmla="*/ f151 f88 1"/>
                  <a:gd name="f214" fmla="*/ f152 f8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55">
                    <a:pos x="f160" y="f159"/>
                  </a:cxn>
                  <a:cxn ang="f155">
                    <a:pos x="f161" y="f162"/>
                  </a:cxn>
                  <a:cxn ang="f155">
                    <a:pos x="f161" y="f163"/>
                  </a:cxn>
                  <a:cxn ang="f155">
                    <a:pos x="f164" y="f165"/>
                  </a:cxn>
                  <a:cxn ang="f155">
                    <a:pos x="f166" y="f167"/>
                  </a:cxn>
                  <a:cxn ang="f155">
                    <a:pos x="f168" y="f169"/>
                  </a:cxn>
                  <a:cxn ang="f155">
                    <a:pos x="f170" y="f171"/>
                  </a:cxn>
                  <a:cxn ang="f155">
                    <a:pos x="f172" y="f173"/>
                  </a:cxn>
                  <a:cxn ang="f155">
                    <a:pos x="f174" y="f173"/>
                  </a:cxn>
                  <a:cxn ang="f155">
                    <a:pos x="f175" y="f176"/>
                  </a:cxn>
                  <a:cxn ang="f155">
                    <a:pos x="f177" y="f178"/>
                  </a:cxn>
                  <a:cxn ang="f155">
                    <a:pos x="f179" y="f180"/>
                  </a:cxn>
                  <a:cxn ang="f155">
                    <a:pos x="f181" y="f182"/>
                  </a:cxn>
                  <a:cxn ang="f155">
                    <a:pos x="f183" y="f184"/>
                  </a:cxn>
                  <a:cxn ang="f155">
                    <a:pos x="f185" y="f186"/>
                  </a:cxn>
                  <a:cxn ang="f155">
                    <a:pos x="f187" y="f188"/>
                  </a:cxn>
                  <a:cxn ang="f155">
                    <a:pos x="f189" y="f190"/>
                  </a:cxn>
                  <a:cxn ang="f155">
                    <a:pos x="f191" y="f192"/>
                  </a:cxn>
                  <a:cxn ang="f155">
                    <a:pos x="f193" y="f194"/>
                  </a:cxn>
                  <a:cxn ang="f155">
                    <a:pos x="f195" y="f196"/>
                  </a:cxn>
                  <a:cxn ang="f155">
                    <a:pos x="f156" y="f171"/>
                  </a:cxn>
                  <a:cxn ang="f155">
                    <a:pos x="f197" y="f198"/>
                  </a:cxn>
                  <a:cxn ang="f155">
                    <a:pos x="f199" y="f200"/>
                  </a:cxn>
                  <a:cxn ang="f155">
                    <a:pos x="f201" y="f202"/>
                  </a:cxn>
                  <a:cxn ang="f155">
                    <a:pos x="f203" y="f204"/>
                  </a:cxn>
                  <a:cxn ang="f155">
                    <a:pos x="f205" y="f206"/>
                  </a:cxn>
                  <a:cxn ang="f155">
                    <a:pos x="f207" y="f208"/>
                  </a:cxn>
                  <a:cxn ang="f155">
                    <a:pos x="f172" y="f209"/>
                  </a:cxn>
                  <a:cxn ang="f155">
                    <a:pos x="f174" y="f210"/>
                  </a:cxn>
                  <a:cxn ang="f155">
                    <a:pos x="f211" y="f212"/>
                  </a:cxn>
                  <a:cxn ang="f155">
                    <a:pos x="f213" y="f162"/>
                  </a:cxn>
                  <a:cxn ang="f155">
                    <a:pos x="f214" y="f159"/>
                  </a:cxn>
                </a:cxnLst>
                <a:rect l="f156" t="f159" r="f157" b="f158"/>
                <a:pathLst>
                  <a:path w="163" h="161">
                    <a:moveTo>
                      <a:pt x="f8" y="f5"/>
                    </a:moveTo>
                    <a:lnTo>
                      <a:pt x="f9" y="f5"/>
                    </a:ln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2" y="f16"/>
                    </a:lnTo>
                    <a:lnTo>
                      <a:pt x="f17" y="f18"/>
                    </a:lnTo>
                    <a:lnTo>
                      <a:pt x="f6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1"/>
                    </a:lnTo>
                    <a:lnTo>
                      <a:pt x="f33" y="f29"/>
                    </a:lnTo>
                    <a:lnTo>
                      <a:pt x="f34" y="f35"/>
                    </a:lnTo>
                    <a:lnTo>
                      <a:pt x="f36" y="f29"/>
                    </a:lnTo>
                    <a:lnTo>
                      <a:pt x="f37" y="f38"/>
                    </a:lnTo>
                    <a:lnTo>
                      <a:pt x="f29" y="f39"/>
                    </a:lnTo>
                    <a:lnTo>
                      <a:pt x="f29" y="f40"/>
                    </a:lnTo>
                    <a:lnTo>
                      <a:pt x="f41" y="f42"/>
                    </a:lnTo>
                    <a:lnTo>
                      <a:pt x="f41" y="f43"/>
                    </a:lnTo>
                    <a:lnTo>
                      <a:pt x="f35" y="f44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7"/>
                    </a:lnTo>
                    <a:lnTo>
                      <a:pt x="f56" y="f57"/>
                    </a:lnTo>
                    <a:lnTo>
                      <a:pt x="f18" y="f20"/>
                    </a:lnTo>
                    <a:lnTo>
                      <a:pt x="f58" y="f50"/>
                    </a:lnTo>
                    <a:lnTo>
                      <a:pt x="f59" y="f22"/>
                    </a:lnTo>
                    <a:lnTo>
                      <a:pt x="f60" y="f61"/>
                    </a:lnTo>
                    <a:lnTo>
                      <a:pt x="f62" y="f61"/>
                    </a:lnTo>
                    <a:lnTo>
                      <a:pt x="f63" y="f64"/>
                    </a:lnTo>
                    <a:lnTo>
                      <a:pt x="f65" y="f64"/>
                    </a:lnTo>
                    <a:lnTo>
                      <a:pt x="f66" y="f67"/>
                    </a:lnTo>
                    <a:lnTo>
                      <a:pt x="f68" y="f28"/>
                    </a:lnTo>
                    <a:lnTo>
                      <a:pt x="f11" y="f69"/>
                    </a:lnTo>
                    <a:lnTo>
                      <a:pt x="f5" y="f31"/>
                    </a:lnTo>
                    <a:lnTo>
                      <a:pt x="f11" y="f25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4" y="f75"/>
                    </a:lnTo>
                    <a:lnTo>
                      <a:pt x="f56" y="f76"/>
                    </a:lnTo>
                    <a:lnTo>
                      <a:pt x="f19" y="f25"/>
                    </a:lnTo>
                    <a:lnTo>
                      <a:pt x="f77" y="f75"/>
                    </a:lnTo>
                    <a:lnTo>
                      <a:pt x="f78" y="f49"/>
                    </a:lnTo>
                    <a:lnTo>
                      <a:pt x="f31" y="f51"/>
                    </a:lnTo>
                    <a:lnTo>
                      <a:pt x="f79" y="f53"/>
                    </a:lnTo>
                    <a:lnTo>
                      <a:pt x="f80" y="f81"/>
                    </a:lnTo>
                    <a:lnTo>
                      <a:pt x="f32" y="f55"/>
                    </a:lnTo>
                    <a:lnTo>
                      <a:pt x="f42" y="f56"/>
                    </a:lnTo>
                    <a:lnTo>
                      <a:pt x="f33" y="f82"/>
                    </a:lnTo>
                    <a:lnTo>
                      <a:pt x="f34" y="f74"/>
                    </a:lnTo>
                    <a:lnTo>
                      <a:pt x="f36" y="f60"/>
                    </a:lnTo>
                    <a:lnTo>
                      <a:pt x="f79" y="f72"/>
                    </a:lnTo>
                    <a:lnTo>
                      <a:pt x="f80" y="f83"/>
                    </a:lnTo>
                    <a:lnTo>
                      <a:pt x="f43" y="f84"/>
                    </a:lnTo>
                    <a:lnTo>
                      <a:pt x="f85" y="f13"/>
                    </a:lnTo>
                    <a:lnTo>
                      <a:pt x="f48" y="f86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89" name="Freeform 9">
                <a:extLst>
                  <a:ext uri="{FF2B5EF4-FFF2-40B4-BE49-F238E27FC236}">
                    <a16:creationId xmlns:a16="http://schemas.microsoft.com/office/drawing/2014/main" id="{84683CA3-DF7C-44E7-8E00-D030E0590700}"/>
                  </a:ext>
                </a:extLst>
              </p:cNvPr>
              <p:cNvSpPr/>
              <p:nvPr/>
            </p:nvSpPr>
            <p:spPr>
              <a:xfrm>
                <a:off x="3844594" y="1926357"/>
                <a:ext cx="221952" cy="24270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021"/>
                  <a:gd name="f7" fmla="val 1249"/>
                  <a:gd name="f8" fmla="val 617"/>
                  <a:gd name="f9" fmla="val 626"/>
                  <a:gd name="f10" fmla="val 2"/>
                  <a:gd name="f11" fmla="val 632"/>
                  <a:gd name="f12" fmla="val 7"/>
                  <a:gd name="f13" fmla="val 639"/>
                  <a:gd name="f14" fmla="val 10"/>
                  <a:gd name="f15" fmla="val 641"/>
                  <a:gd name="f16" fmla="val 14"/>
                  <a:gd name="f17" fmla="val 22"/>
                  <a:gd name="f18" fmla="val 640"/>
                  <a:gd name="f19" fmla="val 30"/>
                  <a:gd name="f20" fmla="val 40"/>
                  <a:gd name="f21" fmla="val 646"/>
                  <a:gd name="f22" fmla="val 49"/>
                  <a:gd name="f23" fmla="val 652"/>
                  <a:gd name="f24" fmla="val 56"/>
                  <a:gd name="f25" fmla="val 656"/>
                  <a:gd name="f26" fmla="val 64"/>
                  <a:gd name="f27" fmla="val 658"/>
                  <a:gd name="f28" fmla="val 69"/>
                  <a:gd name="f29" fmla="val 661"/>
                  <a:gd name="f30" fmla="val 73"/>
                  <a:gd name="f31" fmla="val 669"/>
                  <a:gd name="f32" fmla="val 77"/>
                  <a:gd name="f33" fmla="val 676"/>
                  <a:gd name="f34" fmla="val 81"/>
                  <a:gd name="f35" fmla="val 683"/>
                  <a:gd name="f36" fmla="val 89"/>
                  <a:gd name="f37" fmla="val 690"/>
                  <a:gd name="f38" fmla="val 100"/>
                  <a:gd name="f39" fmla="val 695"/>
                  <a:gd name="f40" fmla="val 113"/>
                  <a:gd name="f41" fmla="val 699"/>
                  <a:gd name="f42" fmla="val 126"/>
                  <a:gd name="f43" fmla="val 701"/>
                  <a:gd name="f44" fmla="val 137"/>
                  <a:gd name="f45" fmla="val 700"/>
                  <a:gd name="f46" fmla="val 145"/>
                  <a:gd name="f47" fmla="val 696"/>
                  <a:gd name="f48" fmla="val 152"/>
                  <a:gd name="f49" fmla="val 688"/>
                  <a:gd name="f50" fmla="val 165"/>
                  <a:gd name="f51" fmla="val 175"/>
                  <a:gd name="f52" fmla="val 684"/>
                  <a:gd name="f53" fmla="val 179"/>
                  <a:gd name="f54" fmla="val 689"/>
                  <a:gd name="f55" fmla="val 704"/>
                  <a:gd name="f56" fmla="val 712"/>
                  <a:gd name="f57" fmla="val 171"/>
                  <a:gd name="f58" fmla="val 718"/>
                  <a:gd name="f59" fmla="val 167"/>
                  <a:gd name="f60" fmla="val 724"/>
                  <a:gd name="f61" fmla="val 729"/>
                  <a:gd name="f62" fmla="val 732"/>
                  <a:gd name="f63" fmla="val 169"/>
                  <a:gd name="f64" fmla="val 736"/>
                  <a:gd name="f65" fmla="val 740"/>
                  <a:gd name="f66" fmla="val 187"/>
                  <a:gd name="f67" fmla="val 746"/>
                  <a:gd name="f68" fmla="val 196"/>
                  <a:gd name="f69" fmla="val 753"/>
                  <a:gd name="f70" fmla="val 202"/>
                  <a:gd name="f71" fmla="val 762"/>
                  <a:gd name="f72" fmla="val 204"/>
                  <a:gd name="f73" fmla="val 768"/>
                  <a:gd name="f74" fmla="val 207"/>
                  <a:gd name="f75" fmla="val 773"/>
                  <a:gd name="f76" fmla="val 212"/>
                  <a:gd name="f77" fmla="val 777"/>
                  <a:gd name="f78" fmla="val 225"/>
                  <a:gd name="f79" fmla="val 780"/>
                  <a:gd name="f80" fmla="val 229"/>
                  <a:gd name="f81" fmla="val 787"/>
                  <a:gd name="f82" fmla="val 231"/>
                  <a:gd name="f83" fmla="val 792"/>
                  <a:gd name="f84" fmla="val 234"/>
                  <a:gd name="f85" fmla="val 796"/>
                  <a:gd name="f86" fmla="val 239"/>
                  <a:gd name="f87" fmla="val 800"/>
                  <a:gd name="f88" fmla="val 245"/>
                  <a:gd name="f89" fmla="val 804"/>
                  <a:gd name="f90" fmla="val 258"/>
                  <a:gd name="f91" fmla="val 807"/>
                  <a:gd name="f92" fmla="val 261"/>
                  <a:gd name="f93" fmla="val 811"/>
                  <a:gd name="f94" fmla="val 260"/>
                  <a:gd name="f95" fmla="val 818"/>
                  <a:gd name="f96" fmla="val 256"/>
                  <a:gd name="f97" fmla="val 827"/>
                  <a:gd name="f98" fmla="val 246"/>
                  <a:gd name="f99" fmla="val 832"/>
                  <a:gd name="f100" fmla="val 244"/>
                  <a:gd name="f101" fmla="val 837"/>
                  <a:gd name="f102" fmla="val 247"/>
                  <a:gd name="f103" fmla="val 844"/>
                  <a:gd name="f104" fmla="val 255"/>
                  <a:gd name="f105" fmla="val 850"/>
                  <a:gd name="f106" fmla="val 268"/>
                  <a:gd name="f107" fmla="val 855"/>
                  <a:gd name="f108" fmla="val 282"/>
                  <a:gd name="f109" fmla="val 862"/>
                  <a:gd name="f110" fmla="val 296"/>
                  <a:gd name="f111" fmla="val 866"/>
                  <a:gd name="f112" fmla="val 308"/>
                  <a:gd name="f113" fmla="val 867"/>
                  <a:gd name="f114" fmla="val 317"/>
                  <a:gd name="f115" fmla="val 326"/>
                  <a:gd name="f116" fmla="val 864"/>
                  <a:gd name="f117" fmla="val 333"/>
                  <a:gd name="f118" fmla="val 341"/>
                  <a:gd name="f119" fmla="val 868"/>
                  <a:gd name="f120" fmla="val 347"/>
                  <a:gd name="f121" fmla="val 876"/>
                  <a:gd name="f122" fmla="val 352"/>
                  <a:gd name="f123" fmla="val 884"/>
                  <a:gd name="f124" fmla="val 353"/>
                  <a:gd name="f125" fmla="val 892"/>
                  <a:gd name="f126" fmla="val 354"/>
                  <a:gd name="f127" fmla="val 900"/>
                  <a:gd name="f128" fmla="val 355"/>
                  <a:gd name="f129" fmla="val 908"/>
                  <a:gd name="f130" fmla="val 359"/>
                  <a:gd name="f131" fmla="val 912"/>
                  <a:gd name="f132" fmla="val 366"/>
                  <a:gd name="f133" fmla="val 372"/>
                  <a:gd name="f134" fmla="val 910"/>
                  <a:gd name="f135" fmla="val 379"/>
                  <a:gd name="f136" fmla="val 384"/>
                  <a:gd name="f137" fmla="val 389"/>
                  <a:gd name="f138" fmla="val 911"/>
                  <a:gd name="f139" fmla="val 394"/>
                  <a:gd name="f140" fmla="val 922"/>
                  <a:gd name="f141" fmla="val 402"/>
                  <a:gd name="f142" fmla="val 927"/>
                  <a:gd name="f143" fmla="val 404"/>
                  <a:gd name="f144" fmla="val 934"/>
                  <a:gd name="f145" fmla="val 406"/>
                  <a:gd name="f146" fmla="val 940"/>
                  <a:gd name="f147" fmla="val 953"/>
                  <a:gd name="f148" fmla="val 958"/>
                  <a:gd name="f149" fmla="val 385"/>
                  <a:gd name="f150" fmla="val 967"/>
                  <a:gd name="f151" fmla="val 381"/>
                  <a:gd name="f152" fmla="val 978"/>
                  <a:gd name="f153" fmla="val 989"/>
                  <a:gd name="f154" fmla="val 382"/>
                  <a:gd name="f155" fmla="val 1001"/>
                  <a:gd name="f156" fmla="val 1012"/>
                  <a:gd name="f157" fmla="val 383"/>
                  <a:gd name="f158" fmla="val 1015"/>
                  <a:gd name="f159" fmla="val 397"/>
                  <a:gd name="f160" fmla="val 1018"/>
                  <a:gd name="f161" fmla="val 413"/>
                  <a:gd name="f162" fmla="val 421"/>
                  <a:gd name="f163" fmla="val 1017"/>
                  <a:gd name="f164" fmla="val 422"/>
                  <a:gd name="f165" fmla="val 1016"/>
                  <a:gd name="f166" fmla="val 1014"/>
                  <a:gd name="f167" fmla="val 423"/>
                  <a:gd name="f168" fmla="val 1010"/>
                  <a:gd name="f169" fmla="val 424"/>
                  <a:gd name="f170" fmla="val 1007"/>
                  <a:gd name="f171" fmla="val 426"/>
                  <a:gd name="f172" fmla="val 1002"/>
                  <a:gd name="f173" fmla="val 429"/>
                  <a:gd name="f174" fmla="val 998"/>
                  <a:gd name="f175" fmla="val 433"/>
                  <a:gd name="f176" fmla="val 436"/>
                  <a:gd name="f177" fmla="val 999"/>
                  <a:gd name="f178" fmla="val 437"/>
                  <a:gd name="f179" fmla="val 1003"/>
                  <a:gd name="f180" fmla="val 438"/>
                  <a:gd name="f181" fmla="val 1006"/>
                  <a:gd name="f182" fmla="val 1008"/>
                  <a:gd name="f183" fmla="val 439"/>
                  <a:gd name="f184" fmla="val 1011"/>
                  <a:gd name="f185" fmla="val 440"/>
                  <a:gd name="f186" fmla="val 1013"/>
                  <a:gd name="f187" fmla="val 441"/>
                  <a:gd name="f188" fmla="val 443"/>
                  <a:gd name="f189" fmla="val 445"/>
                  <a:gd name="f190" fmla="val 450"/>
                  <a:gd name="f191" fmla="val 454"/>
                  <a:gd name="f192" fmla="val 458"/>
                  <a:gd name="f193" fmla="val 994"/>
                  <a:gd name="f194" fmla="val 463"/>
                  <a:gd name="f195" fmla="val 986"/>
                  <a:gd name="f196" fmla="val 467"/>
                  <a:gd name="f197" fmla="val 980"/>
                  <a:gd name="f198" fmla="val 472"/>
                  <a:gd name="f199" fmla="val 479"/>
                  <a:gd name="f200" fmla="val 484"/>
                  <a:gd name="f201" fmla="val 984"/>
                  <a:gd name="f202" fmla="val 486"/>
                  <a:gd name="f203" fmla="val 991"/>
                  <a:gd name="f204" fmla="val 485"/>
                  <a:gd name="f205" fmla="val 489"/>
                  <a:gd name="f206" fmla="val 1019"/>
                  <a:gd name="f207" fmla="val 498"/>
                  <a:gd name="f208" fmla="val 509"/>
                  <a:gd name="f209" fmla="val 518"/>
                  <a:gd name="f210" fmla="val 527"/>
                  <a:gd name="f211" fmla="val 532"/>
                  <a:gd name="f212" fmla="val 538"/>
                  <a:gd name="f213" fmla="val 992"/>
                  <a:gd name="f214" fmla="val 544"/>
                  <a:gd name="f215" fmla="val 552"/>
                  <a:gd name="f216" fmla="val 970"/>
                  <a:gd name="f217" fmla="val 560"/>
                  <a:gd name="f218" fmla="val 963"/>
                  <a:gd name="f219" fmla="val 569"/>
                  <a:gd name="f220" fmla="val 956"/>
                  <a:gd name="f221" fmla="val 575"/>
                  <a:gd name="f222" fmla="val 947"/>
                  <a:gd name="f223" fmla="val 580"/>
                  <a:gd name="f224" fmla="val 935"/>
                  <a:gd name="f225" fmla="val 583"/>
                  <a:gd name="f226" fmla="val 923"/>
                  <a:gd name="f227" fmla="val 585"/>
                  <a:gd name="f228" fmla="val 586"/>
                  <a:gd name="f229" fmla="val 903"/>
                  <a:gd name="f230" fmla="val 587"/>
                  <a:gd name="f231" fmla="val 896"/>
                  <a:gd name="f232" fmla="val 589"/>
                  <a:gd name="f233" fmla="val 894"/>
                  <a:gd name="f234" fmla="val 593"/>
                  <a:gd name="f235" fmla="val 893"/>
                  <a:gd name="f236" fmla="val 597"/>
                  <a:gd name="f237" fmla="val 601"/>
                  <a:gd name="f238" fmla="val 891"/>
                  <a:gd name="f239" fmla="val 608"/>
                  <a:gd name="f240" fmla="val 886"/>
                  <a:gd name="f241" fmla="val 612"/>
                  <a:gd name="f242" fmla="val 879"/>
                  <a:gd name="f243" fmla="val 614"/>
                  <a:gd name="f244" fmla="val 870"/>
                  <a:gd name="f245" fmla="val 616"/>
                  <a:gd name="f246" fmla="val 853"/>
                  <a:gd name="f247" fmla="val 619"/>
                  <a:gd name="f248" fmla="val 848"/>
                  <a:gd name="f249" fmla="val 625"/>
                  <a:gd name="f250" fmla="val 846"/>
                  <a:gd name="f251" fmla="val 629"/>
                  <a:gd name="f252" fmla="val 847"/>
                  <a:gd name="f253" fmla="val 851"/>
                  <a:gd name="f254" fmla="val 633"/>
                  <a:gd name="f255" fmla="val 865"/>
                  <a:gd name="f256" fmla="val 636"/>
                  <a:gd name="f257" fmla="val 869"/>
                  <a:gd name="f258" fmla="val 874"/>
                  <a:gd name="f259" fmla="val 647"/>
                  <a:gd name="f260" fmla="val 880"/>
                  <a:gd name="f261" fmla="val 670"/>
                  <a:gd name="f262" fmla="val 901"/>
                  <a:gd name="f263" fmla="val 907"/>
                  <a:gd name="f264" fmla="val 707"/>
                  <a:gd name="f265" fmla="val 715"/>
                  <a:gd name="f266" fmla="val 722"/>
                  <a:gd name="f267" fmla="val 730"/>
                  <a:gd name="f268" fmla="val 905"/>
                  <a:gd name="f269" fmla="val 737"/>
                  <a:gd name="f270" fmla="val 897"/>
                  <a:gd name="f271" fmla="val 742"/>
                  <a:gd name="f272" fmla="val 890"/>
                  <a:gd name="f273" fmla="val 888"/>
                  <a:gd name="f274" fmla="val 751"/>
                  <a:gd name="f275" fmla="val 756"/>
                  <a:gd name="f276" fmla="val 761"/>
                  <a:gd name="f277" fmla="val 898"/>
                  <a:gd name="f278" fmla="val 772"/>
                  <a:gd name="f279" fmla="val 899"/>
                  <a:gd name="f280" fmla="val 776"/>
                  <a:gd name="f281" fmla="val 781"/>
                  <a:gd name="f282" fmla="val 785"/>
                  <a:gd name="f283" fmla="val 790"/>
                  <a:gd name="f284" fmla="val 797"/>
                  <a:gd name="f285" fmla="val 838"/>
                  <a:gd name="f286" fmla="val 826"/>
                  <a:gd name="f287" fmla="val 799"/>
                  <a:gd name="f288" fmla="val 816"/>
                  <a:gd name="f289" fmla="val 805"/>
                  <a:gd name="f290" fmla="val 789"/>
                  <a:gd name="f291" fmla="val 783"/>
                  <a:gd name="f292" fmla="val 779"/>
                  <a:gd name="f293" fmla="val 774"/>
                  <a:gd name="f294" fmla="val 767"/>
                  <a:gd name="f295" fmla="val 795"/>
                  <a:gd name="f296" fmla="val 757"/>
                  <a:gd name="f297" fmla="val 744"/>
                  <a:gd name="f298" fmla="val 731"/>
                  <a:gd name="f299" fmla="val 725"/>
                  <a:gd name="f300" fmla="val 808"/>
                  <a:gd name="f301" fmla="val 721"/>
                  <a:gd name="f302" fmla="val 716"/>
                  <a:gd name="f303" fmla="val 788"/>
                  <a:gd name="f304" fmla="val 713"/>
                  <a:gd name="f305" fmla="val 710"/>
                  <a:gd name="f306" fmla="val 708"/>
                  <a:gd name="f307" fmla="val 706"/>
                  <a:gd name="f308" fmla="val 698"/>
                  <a:gd name="f309" fmla="val 694"/>
                  <a:gd name="f310" fmla="val 860"/>
                  <a:gd name="f311" fmla="val 687"/>
                  <a:gd name="f312" fmla="val 875"/>
                  <a:gd name="f313" fmla="val 664"/>
                  <a:gd name="f314" fmla="val 883"/>
                  <a:gd name="f315" fmla="val 654"/>
                  <a:gd name="f316" fmla="val 644"/>
                  <a:gd name="f317" fmla="val 643"/>
                  <a:gd name="f318" fmla="val 917"/>
                  <a:gd name="f319" fmla="val 650"/>
                  <a:gd name="f320" fmla="val 924"/>
                  <a:gd name="f321" fmla="val 657"/>
                  <a:gd name="f322" fmla="val 930"/>
                  <a:gd name="f323" fmla="val 937"/>
                  <a:gd name="f324" fmla="val 663"/>
                  <a:gd name="f325" fmla="val 944"/>
                  <a:gd name="f326" fmla="val 951"/>
                  <a:gd name="f327" fmla="val 665"/>
                  <a:gd name="f328" fmla="val 959"/>
                  <a:gd name="f329" fmla="val 969"/>
                  <a:gd name="f330" fmla="val 673"/>
                  <a:gd name="f331" fmla="val 974"/>
                  <a:gd name="f332" fmla="val 678"/>
                  <a:gd name="f333" fmla="val 975"/>
                  <a:gd name="f334" fmla="val 686"/>
                  <a:gd name="f335" fmla="val 973"/>
                  <a:gd name="f336" fmla="val 965"/>
                  <a:gd name="f337" fmla="val 966"/>
                  <a:gd name="f338" fmla="val 976"/>
                  <a:gd name="f339" fmla="val 1000"/>
                  <a:gd name="f340" fmla="val 750"/>
                  <a:gd name="f341" fmla="val 1005"/>
                  <a:gd name="f342" fmla="val 752"/>
                  <a:gd name="f343" fmla="val 1026"/>
                  <a:gd name="f344" fmla="val 1034"/>
                  <a:gd name="f345" fmla="val 754"/>
                  <a:gd name="f346" fmla="val 1042"/>
                  <a:gd name="f347" fmla="val 759"/>
                  <a:gd name="f348" fmla="val 1048"/>
                  <a:gd name="f349" fmla="val 1054"/>
                  <a:gd name="f350" fmla="val 760"/>
                  <a:gd name="f351" fmla="val 1059"/>
                  <a:gd name="f352" fmla="val 1062"/>
                  <a:gd name="f353" fmla="val 748"/>
                  <a:gd name="f354" fmla="val 1066"/>
                  <a:gd name="f355" fmla="val 1071"/>
                  <a:gd name="f356" fmla="val 1076"/>
                  <a:gd name="f357" fmla="val 1083"/>
                  <a:gd name="f358" fmla="val 702"/>
                  <a:gd name="f359" fmla="val 1088"/>
                  <a:gd name="f360" fmla="val 1093"/>
                  <a:gd name="f361" fmla="val 1098"/>
                  <a:gd name="f362" fmla="val 1102"/>
                  <a:gd name="f363" fmla="val 1106"/>
                  <a:gd name="f364" fmla="val 1111"/>
                  <a:gd name="f365" fmla="val 1116"/>
                  <a:gd name="f366" fmla="val 1124"/>
                  <a:gd name="f367" fmla="val 1141"/>
                  <a:gd name="f368" fmla="val 655"/>
                  <a:gd name="f369" fmla="val 1148"/>
                  <a:gd name="f370" fmla="val 1153"/>
                  <a:gd name="f371" fmla="val 1157"/>
                  <a:gd name="f372" fmla="val 1165"/>
                  <a:gd name="f373" fmla="val 1185"/>
                  <a:gd name="f374" fmla="val 642"/>
                  <a:gd name="f375" fmla="val 1195"/>
                  <a:gd name="f376" fmla="val 1202"/>
                  <a:gd name="f377" fmla="val 1206"/>
                  <a:gd name="f378" fmla="val 631"/>
                  <a:gd name="f379" fmla="val 1214"/>
                  <a:gd name="f380" fmla="val 1224"/>
                  <a:gd name="f381" fmla="val 1234"/>
                  <a:gd name="f382" fmla="val 606"/>
                  <a:gd name="f383" fmla="val 1240"/>
                  <a:gd name="f384" fmla="val 1244"/>
                  <a:gd name="f385" fmla="val 1247"/>
                  <a:gd name="f386" fmla="val 573"/>
                  <a:gd name="f387" fmla="val 1248"/>
                  <a:gd name="f388" fmla="val 565"/>
                  <a:gd name="f389" fmla="val 557"/>
                  <a:gd name="f390" fmla="val 1246"/>
                  <a:gd name="f391" fmla="val 551"/>
                  <a:gd name="f392" fmla="val 1243"/>
                  <a:gd name="f393" fmla="val 546"/>
                  <a:gd name="f394" fmla="val 537"/>
                  <a:gd name="f395" fmla="val 530"/>
                  <a:gd name="f396" fmla="val 1242"/>
                  <a:gd name="f397" fmla="val 526"/>
                  <a:gd name="f398" fmla="val 1226"/>
                  <a:gd name="f399" fmla="val 529"/>
                  <a:gd name="f400" fmla="val 1216"/>
                  <a:gd name="f401" fmla="val 531"/>
                  <a:gd name="f402" fmla="val 1209"/>
                  <a:gd name="f403" fmla="val 533"/>
                  <a:gd name="f404" fmla="val 1203"/>
                  <a:gd name="f405" fmla="val 1198"/>
                  <a:gd name="f406" fmla="val 1189"/>
                  <a:gd name="f407" fmla="val 528"/>
                  <a:gd name="f408" fmla="val 1179"/>
                  <a:gd name="f409" fmla="val 525"/>
                  <a:gd name="f410" fmla="val 1167"/>
                  <a:gd name="f411" fmla="val 521"/>
                  <a:gd name="f412" fmla="val 517"/>
                  <a:gd name="f413" fmla="val 1150"/>
                  <a:gd name="f414" fmla="val 516"/>
                  <a:gd name="f415" fmla="val 1145"/>
                  <a:gd name="f416" fmla="val 1133"/>
                  <a:gd name="f417" fmla="val 1112"/>
                  <a:gd name="f418" fmla="val 536"/>
                  <a:gd name="f419" fmla="val 1101"/>
                  <a:gd name="f420" fmla="val 540"/>
                  <a:gd name="f421" fmla="val 1091"/>
                  <a:gd name="f422" fmla="val 542"/>
                  <a:gd name="f423" fmla="val 1086"/>
                  <a:gd name="f424" fmla="val 543"/>
                  <a:gd name="f425" fmla="val 1079"/>
                  <a:gd name="f426" fmla="val 1069"/>
                  <a:gd name="f427" fmla="val 534"/>
                  <a:gd name="f428" fmla="val 1058"/>
                  <a:gd name="f429" fmla="val 1047"/>
                  <a:gd name="f430" fmla="val 522"/>
                  <a:gd name="f431" fmla="val 515"/>
                  <a:gd name="f432" fmla="val 1029"/>
                  <a:gd name="f433" fmla="val 510"/>
                  <a:gd name="f434" fmla="val 1023"/>
                  <a:gd name="f435" fmla="val 505"/>
                  <a:gd name="f436" fmla="val 501"/>
                  <a:gd name="f437" fmla="val 492"/>
                  <a:gd name="f438" fmla="val 1020"/>
                  <a:gd name="f439" fmla="val 487"/>
                  <a:gd name="f440" fmla="val 1009"/>
                  <a:gd name="f441" fmla="val 996"/>
                  <a:gd name="f442" fmla="val 469"/>
                  <a:gd name="f443" fmla="val 471"/>
                  <a:gd name="f444" fmla="val 971"/>
                  <a:gd name="f445" fmla="val 475"/>
                  <a:gd name="f446" fmla="val 481"/>
                  <a:gd name="f447" fmla="val 960"/>
                  <a:gd name="f448" fmla="val 957"/>
                  <a:gd name="f449" fmla="val 954"/>
                  <a:gd name="f450" fmla="val 490"/>
                  <a:gd name="f451" fmla="val 950"/>
                  <a:gd name="f452" fmla="val 941"/>
                  <a:gd name="f453" fmla="val 493"/>
                  <a:gd name="f454" fmla="val 921"/>
                  <a:gd name="f455" fmla="val 494"/>
                  <a:gd name="f456" fmla="val 496"/>
                  <a:gd name="f457" fmla="val 904"/>
                  <a:gd name="f458" fmla="val 500"/>
                  <a:gd name="f459" fmla="val 503"/>
                  <a:gd name="f460" fmla="val 507"/>
                  <a:gd name="f461" fmla="val 887"/>
                  <a:gd name="f462" fmla="val 502"/>
                  <a:gd name="f463" fmla="val 873"/>
                  <a:gd name="f464" fmla="val 861"/>
                  <a:gd name="f465" fmla="val 504"/>
                  <a:gd name="f466" fmla="val 842"/>
                  <a:gd name="f467" fmla="val 512"/>
                  <a:gd name="f468" fmla="val 513"/>
                  <a:gd name="f469" fmla="val 828"/>
                  <a:gd name="f470" fmla="val 514"/>
                  <a:gd name="f471" fmla="val 817"/>
                  <a:gd name="f472" fmla="val 802"/>
                  <a:gd name="f473" fmla="val 814"/>
                  <a:gd name="f474" fmla="val 541"/>
                  <a:gd name="f475" fmla="val 815"/>
                  <a:gd name="f476" fmla="val 812"/>
                  <a:gd name="f477" fmla="val 778"/>
                  <a:gd name="f478" fmla="val 770"/>
                  <a:gd name="f479" fmla="val 765"/>
                  <a:gd name="f480" fmla="val 548"/>
                  <a:gd name="f481" fmla="val 555"/>
                  <a:gd name="f482" fmla="val 747"/>
                  <a:gd name="f483" fmla="val 556"/>
                  <a:gd name="f484" fmla="val 553"/>
                  <a:gd name="f485" fmla="val 735"/>
                  <a:gd name="f486" fmla="val 545"/>
                  <a:gd name="f487" fmla="val 723"/>
                  <a:gd name="f488" fmla="val 499"/>
                  <a:gd name="f489" fmla="val 477"/>
                  <a:gd name="f490" fmla="val 705"/>
                  <a:gd name="f491" fmla="val 465"/>
                  <a:gd name="f492" fmla="val 719"/>
                  <a:gd name="f493" fmla="val 726"/>
                  <a:gd name="f494" fmla="val 461"/>
                  <a:gd name="f495" fmla="val 452"/>
                  <a:gd name="f496" fmla="val 739"/>
                  <a:gd name="f497" fmla="val 743"/>
                  <a:gd name="f498" fmla="val 430"/>
                  <a:gd name="f499" fmla="val 427"/>
                  <a:gd name="f500" fmla="val 414"/>
                  <a:gd name="f501" fmla="val 793"/>
                  <a:gd name="f502" fmla="val 391"/>
                  <a:gd name="f503" fmla="val 798"/>
                  <a:gd name="f504" fmla="val 380"/>
                  <a:gd name="f505" fmla="val 370"/>
                  <a:gd name="f506" fmla="val 365"/>
                  <a:gd name="f507" fmla="val 363"/>
                  <a:gd name="f508" fmla="val 829"/>
                  <a:gd name="f509" fmla="val 839"/>
                  <a:gd name="f510" fmla="val 369"/>
                  <a:gd name="f511" fmla="val 858"/>
                  <a:gd name="f512" fmla="val 881"/>
                  <a:gd name="f513" fmla="val 916"/>
                  <a:gd name="f514" fmla="val 358"/>
                  <a:gd name="f515" fmla="val 933"/>
                  <a:gd name="f516" fmla="val 946"/>
                  <a:gd name="f517" fmla="val 349"/>
                  <a:gd name="f518" fmla="val 952"/>
                  <a:gd name="f519" fmla="val 338"/>
                  <a:gd name="f520" fmla="val 324"/>
                  <a:gd name="f521" fmla="val 961"/>
                  <a:gd name="f522" fmla="val 292"/>
                  <a:gd name="f523" fmla="val 277"/>
                  <a:gd name="f524" fmla="val 972"/>
                  <a:gd name="f525" fmla="val 265"/>
                  <a:gd name="f526" fmla="val 259"/>
                  <a:gd name="f527" fmla="val 979"/>
                  <a:gd name="f528" fmla="val 252"/>
                  <a:gd name="f529" fmla="val 983"/>
                  <a:gd name="f530" fmla="val 985"/>
                  <a:gd name="f531" fmla="val 236"/>
                  <a:gd name="f532" fmla="val 988"/>
                  <a:gd name="f533" fmla="val 230"/>
                  <a:gd name="f534" fmla="val 993"/>
                  <a:gd name="f535" fmla="val 223"/>
                  <a:gd name="f536" fmla="val 217"/>
                  <a:gd name="f537" fmla="val 194"/>
                  <a:gd name="f538" fmla="val 1030"/>
                  <a:gd name="f539" fmla="val 159"/>
                  <a:gd name="f540" fmla="val 1033"/>
                  <a:gd name="f541" fmla="val 144"/>
                  <a:gd name="f542" fmla="val 132"/>
                  <a:gd name="f543" fmla="val 1032"/>
                  <a:gd name="f544" fmla="val 120"/>
                  <a:gd name="f545" fmla="val 127"/>
                  <a:gd name="f546" fmla="val 131"/>
                  <a:gd name="f547" fmla="val 133"/>
                  <a:gd name="f548" fmla="val 1004"/>
                  <a:gd name="f549" fmla="val 128"/>
                  <a:gd name="f550" fmla="val 122"/>
                  <a:gd name="f551" fmla="val 977"/>
                  <a:gd name="f552" fmla="val 117"/>
                  <a:gd name="f553" fmla="val 112"/>
                  <a:gd name="f554" fmla="val 110"/>
                  <a:gd name="f555" fmla="val 108"/>
                  <a:gd name="f556" fmla="val 918"/>
                  <a:gd name="f557" fmla="val 107"/>
                  <a:gd name="f558" fmla="val 882"/>
                  <a:gd name="f559" fmla="val 105"/>
                  <a:gd name="f560" fmla="val 101"/>
                  <a:gd name="f561" fmla="val 97"/>
                  <a:gd name="f562" fmla="val 871"/>
                  <a:gd name="f563" fmla="val 92"/>
                  <a:gd name="f564" fmla="val 91"/>
                  <a:gd name="f565" fmla="val 859"/>
                  <a:gd name="f566" fmla="val 90"/>
                  <a:gd name="f567" fmla="val 88"/>
                  <a:gd name="f568" fmla="val 822"/>
                  <a:gd name="f569" fmla="val 87"/>
                  <a:gd name="f570" fmla="val 794"/>
                  <a:gd name="f571" fmla="val 782"/>
                  <a:gd name="f572" fmla="val 775"/>
                  <a:gd name="f573" fmla="val 769"/>
                  <a:gd name="f574" fmla="val 86"/>
                  <a:gd name="f575" fmla="val 85"/>
                  <a:gd name="f576" fmla="val 745"/>
                  <a:gd name="f577" fmla="val 84"/>
                  <a:gd name="f578" fmla="val 727"/>
                  <a:gd name="f579" fmla="val 78"/>
                  <a:gd name="f580" fmla="val 71"/>
                  <a:gd name="f581" fmla="val 66"/>
                  <a:gd name="f582" fmla="val 63"/>
                  <a:gd name="f583" fmla="val 680"/>
                  <a:gd name="f584" fmla="val 83"/>
                  <a:gd name="f585" fmla="val 82"/>
                  <a:gd name="f586" fmla="val 628"/>
                  <a:gd name="f587" fmla="val 609"/>
                  <a:gd name="f588" fmla="val 602"/>
                  <a:gd name="f589" fmla="val 599"/>
                  <a:gd name="f590" fmla="val 70"/>
                  <a:gd name="f591" fmla="val 598"/>
                  <a:gd name="f592" fmla="val 600"/>
                  <a:gd name="f593" fmla="val 61"/>
                  <a:gd name="f594" fmla="val 604"/>
                  <a:gd name="f595" fmla="val 51"/>
                  <a:gd name="f596" fmla="val 44"/>
                  <a:gd name="f597" fmla="val 37"/>
                  <a:gd name="f598" fmla="val 28"/>
                  <a:gd name="f599" fmla="val 603"/>
                  <a:gd name="f600" fmla="val 18"/>
                  <a:gd name="f601" fmla="val 11"/>
                  <a:gd name="f602" fmla="val 590"/>
                  <a:gd name="f603" fmla="val 4"/>
                  <a:gd name="f604" fmla="val 581"/>
                  <a:gd name="f605" fmla="val 3"/>
                  <a:gd name="f606" fmla="val 567"/>
                  <a:gd name="f607" fmla="val 559"/>
                  <a:gd name="f608" fmla="val 39"/>
                  <a:gd name="f609" fmla="val 53"/>
                  <a:gd name="f610" fmla="val 60"/>
                  <a:gd name="f611" fmla="val 535"/>
                  <a:gd name="f612" fmla="val 67"/>
                  <a:gd name="f613" fmla="val 74"/>
                  <a:gd name="f614" fmla="val 524"/>
                  <a:gd name="f615" fmla="val 96"/>
                  <a:gd name="f616" fmla="val 103"/>
                  <a:gd name="f617" fmla="val 123"/>
                  <a:gd name="f618" fmla="val 134"/>
                  <a:gd name="f619" fmla="val 150"/>
                  <a:gd name="f620" fmla="val 154"/>
                  <a:gd name="f621" fmla="val 157"/>
                  <a:gd name="f622" fmla="val 495"/>
                  <a:gd name="f623" fmla="val 162"/>
                  <a:gd name="f624" fmla="val 474"/>
                  <a:gd name="f625" fmla="val 181"/>
                  <a:gd name="f626" fmla="val 193"/>
                  <a:gd name="f627" fmla="val 201"/>
                  <a:gd name="f628" fmla="val 480"/>
                  <a:gd name="f629" fmla="val 209"/>
                  <a:gd name="f630" fmla="val 240"/>
                  <a:gd name="f631" fmla="val 483"/>
                  <a:gd name="f632" fmla="val 251"/>
                  <a:gd name="f633" fmla="val 482"/>
                  <a:gd name="f634" fmla="val 273"/>
                  <a:gd name="f635" fmla="val 476"/>
                  <a:gd name="f636" fmla="val 470"/>
                  <a:gd name="f637" fmla="val 269"/>
                  <a:gd name="f638" fmla="val 451"/>
                  <a:gd name="f639" fmla="val 263"/>
                  <a:gd name="f640" fmla="val 266"/>
                  <a:gd name="f641" fmla="val 279"/>
                  <a:gd name="f642" fmla="val 281"/>
                  <a:gd name="f643" fmla="val 392"/>
                  <a:gd name="f644" fmla="val 280"/>
                  <a:gd name="f645" fmla="val 274"/>
                  <a:gd name="f646" fmla="val 373"/>
                  <a:gd name="f647" fmla="val 275"/>
                  <a:gd name="f648" fmla="val 364"/>
                  <a:gd name="f649" fmla="val 283"/>
                  <a:gd name="f650" fmla="val 289"/>
                  <a:gd name="f651" fmla="val 345"/>
                  <a:gd name="f652" fmla="val 293"/>
                  <a:gd name="f653" fmla="val 337"/>
                  <a:gd name="f654" fmla="val 295"/>
                  <a:gd name="f655" fmla="val 329"/>
                  <a:gd name="f656" fmla="val 288"/>
                  <a:gd name="f657" fmla="val 323"/>
                  <a:gd name="f658" fmla="val 321"/>
                  <a:gd name="f659" fmla="val 272"/>
                  <a:gd name="f660" fmla="val 264"/>
                  <a:gd name="f661" fmla="val 314"/>
                  <a:gd name="f662" fmla="val 310"/>
                  <a:gd name="f663" fmla="val 304"/>
                  <a:gd name="f664" fmla="val 297"/>
                  <a:gd name="f665" fmla="val 286"/>
                  <a:gd name="f666" fmla="val 276"/>
                  <a:gd name="f667" fmla="val 250"/>
                  <a:gd name="f668" fmla="val 267"/>
                  <a:gd name="f669" fmla="val 227"/>
                  <a:gd name="f670" fmla="val 226"/>
                  <a:gd name="f671" fmla="val 222"/>
                  <a:gd name="f672" fmla="val 248"/>
                  <a:gd name="f673" fmla="val 211"/>
                  <a:gd name="f674" fmla="val 199"/>
                  <a:gd name="f675" fmla="val 186"/>
                  <a:gd name="f676" fmla="val 173"/>
                  <a:gd name="f677" fmla="val 160"/>
                  <a:gd name="f678" fmla="val 140"/>
                  <a:gd name="f679" fmla="val 118"/>
                  <a:gd name="f680" fmla="val 116"/>
                  <a:gd name="f681" fmla="val 299"/>
                  <a:gd name="f682" fmla="val 307"/>
                  <a:gd name="f683" fmla="val 331"/>
                  <a:gd name="f684" fmla="val 334"/>
                  <a:gd name="f685" fmla="val 115"/>
                  <a:gd name="f686" fmla="val 335"/>
                  <a:gd name="f687" fmla="val 102"/>
                  <a:gd name="f688" fmla="val 93"/>
                  <a:gd name="f689" fmla="val 65"/>
                  <a:gd name="f690" fmla="val 59"/>
                  <a:gd name="f691" fmla="val 361"/>
                  <a:gd name="f692" fmla="val 375"/>
                  <a:gd name="f693" fmla="val 387"/>
                  <a:gd name="f694" fmla="val 54"/>
                  <a:gd name="f695" fmla="val 57"/>
                  <a:gd name="f696" fmla="val 407"/>
                  <a:gd name="f697" fmla="val 409"/>
                  <a:gd name="f698" fmla="val 412"/>
                  <a:gd name="f699" fmla="val 75"/>
                  <a:gd name="f700" fmla="val 415"/>
                  <a:gd name="f701" fmla="val 79"/>
                  <a:gd name="f702" fmla="val 80"/>
                  <a:gd name="f703" fmla="val 444"/>
                  <a:gd name="f704" fmla="val 455"/>
                  <a:gd name="f705" fmla="val 45"/>
                  <a:gd name="f706" fmla="val 32"/>
                  <a:gd name="f707" fmla="val 568"/>
                  <a:gd name="f708" fmla="val 26"/>
                  <a:gd name="f709" fmla="val 578"/>
                  <a:gd name="f710" fmla="val 23"/>
                  <a:gd name="f711" fmla="val 588"/>
                  <a:gd name="f712" fmla="val 20"/>
                  <a:gd name="f713" fmla="val 596"/>
                  <a:gd name="f714" fmla="val 15"/>
                  <a:gd name="f715" fmla="val 610"/>
                  <a:gd name="f716" fmla="val 1"/>
                  <a:gd name="f717" fmla="+- 0 0 -90"/>
                  <a:gd name="f718" fmla="*/ f3 1 1021"/>
                  <a:gd name="f719" fmla="*/ f4 1 1249"/>
                  <a:gd name="f720" fmla="+- f7 0 f5"/>
                  <a:gd name="f721" fmla="+- f6 0 f5"/>
                  <a:gd name="f722" fmla="*/ f717 f0 1"/>
                  <a:gd name="f723" fmla="*/ f721 1 1021"/>
                  <a:gd name="f724" fmla="*/ f720 1 1249"/>
                  <a:gd name="f725" fmla="*/ f722 1 f2"/>
                  <a:gd name="f726" fmla="*/ 652 1 f723"/>
                  <a:gd name="f727" fmla="*/ 56 1 f724"/>
                  <a:gd name="f728" fmla="*/ 701 1 f723"/>
                  <a:gd name="f729" fmla="*/ 137 1 f724"/>
                  <a:gd name="f730" fmla="*/ 718 1 f723"/>
                  <a:gd name="f731" fmla="*/ 167 1 f724"/>
                  <a:gd name="f732" fmla="*/ 773 1 f723"/>
                  <a:gd name="f733" fmla="*/ 212 1 f724"/>
                  <a:gd name="f734" fmla="*/ 818 1 f723"/>
                  <a:gd name="f735" fmla="*/ 256 1 f724"/>
                  <a:gd name="f736" fmla="*/ 866 1 f723"/>
                  <a:gd name="f737" fmla="*/ 326 1 f724"/>
                  <a:gd name="f738" fmla="*/ 912 1 f723"/>
                  <a:gd name="f739" fmla="*/ 372 1 f724"/>
                  <a:gd name="f740" fmla="*/ 958 1 f723"/>
                  <a:gd name="f741" fmla="*/ 385 1 f724"/>
                  <a:gd name="f742" fmla="*/ 1016 1 f723"/>
                  <a:gd name="f743" fmla="*/ 422 1 f724"/>
                  <a:gd name="f744" fmla="*/ 1003 1 f723"/>
                  <a:gd name="f745" fmla="*/ 438 1 f724"/>
                  <a:gd name="f746" fmla="*/ 994 1 f723"/>
                  <a:gd name="f747" fmla="*/ 463 1 f724"/>
                  <a:gd name="f748" fmla="*/ 1019 1 f723"/>
                  <a:gd name="f749" fmla="*/ 498 1 f724"/>
                  <a:gd name="f750" fmla="*/ 956 1 f723"/>
                  <a:gd name="f751" fmla="*/ 575 1 f724"/>
                  <a:gd name="f752" fmla="*/ 891 1 f723"/>
                  <a:gd name="f753" fmla="*/ 608 1 f724"/>
                  <a:gd name="f754" fmla="*/ 865 1 f723"/>
                  <a:gd name="f755" fmla="*/ 633 1 f724"/>
                  <a:gd name="f756" fmla="*/ 722 1 f724"/>
                  <a:gd name="f757" fmla="*/ 899 1 f723"/>
                  <a:gd name="f758" fmla="*/ 776 1 f724"/>
                  <a:gd name="f759" fmla="*/ 796 1 f723"/>
                  <a:gd name="f760" fmla="*/ 797 1 f724"/>
                  <a:gd name="f761" fmla="*/ 721 1 f723"/>
                  <a:gd name="f762" fmla="*/ 805 1 f724"/>
                  <a:gd name="f763" fmla="*/ 699 1 f723"/>
                  <a:gd name="f764" fmla="*/ 847 1 f724"/>
                  <a:gd name="f765" fmla="*/ 639 1 f723"/>
                  <a:gd name="f766" fmla="*/ 912 1 f724"/>
                  <a:gd name="f767" fmla="*/ 678 1 f723"/>
                  <a:gd name="f768" fmla="*/ 975 1 f724"/>
                  <a:gd name="f769" fmla="*/ 752 1 f723"/>
                  <a:gd name="f770" fmla="*/ 1019 1 f724"/>
                  <a:gd name="f771" fmla="*/ 722 1 f723"/>
                  <a:gd name="f772" fmla="*/ 1076 1 f724"/>
                  <a:gd name="f773" fmla="*/ 664 1 f723"/>
                  <a:gd name="f774" fmla="*/ 1141 1 f724"/>
                  <a:gd name="f775" fmla="*/ 625 1 f723"/>
                  <a:gd name="f776" fmla="*/ 1224 1 f724"/>
                  <a:gd name="f777" fmla="*/ 537 1 f723"/>
                  <a:gd name="f778" fmla="*/ 1249 1 f724"/>
                  <a:gd name="f779" fmla="*/ 528 1 f723"/>
                  <a:gd name="f780" fmla="*/ 1179 1 f724"/>
                  <a:gd name="f781" fmla="*/ 540 1 f723"/>
                  <a:gd name="f782" fmla="*/ 1091 1 f724"/>
                  <a:gd name="f783" fmla="*/ 501 1 f723"/>
                  <a:gd name="f784" fmla="*/ 1017 1 f724"/>
                  <a:gd name="f785" fmla="*/ 489 1 f723"/>
                  <a:gd name="f786" fmla="*/ 954 1 f724"/>
                  <a:gd name="f787" fmla="*/ 507 1 f723"/>
                  <a:gd name="f788" fmla="*/ 884 1 f724"/>
                  <a:gd name="f789" fmla="*/ 514 1 f723"/>
                  <a:gd name="f790" fmla="*/ 817 1 f724"/>
                  <a:gd name="f791" fmla="*/ 544 1 f723"/>
                  <a:gd name="f792" fmla="*/ 787 1 f724"/>
                  <a:gd name="f793" fmla="*/ 548 1 f723"/>
                  <a:gd name="f794" fmla="*/ 729 1 f724"/>
                  <a:gd name="f795" fmla="*/ 496 1 f723"/>
                  <a:gd name="f796" fmla="*/ 707 1 f724"/>
                  <a:gd name="f797" fmla="*/ 452 1 f723"/>
                  <a:gd name="f798" fmla="*/ 739 1 f724"/>
                  <a:gd name="f799" fmla="*/ 380 1 f723"/>
                  <a:gd name="f800" fmla="*/ 804 1 f724"/>
                  <a:gd name="f801" fmla="*/ 363 1 f723"/>
                  <a:gd name="f802" fmla="*/ 916 1 f724"/>
                  <a:gd name="f803" fmla="*/ 259 1 f723"/>
                  <a:gd name="f804" fmla="*/ 979 1 f724"/>
                  <a:gd name="f805" fmla="*/ 159 1 f723"/>
                  <a:gd name="f806" fmla="*/ 1033 1 f724"/>
                  <a:gd name="f807" fmla="*/ 122 1 f723"/>
                  <a:gd name="f808" fmla="*/ 977 1 f724"/>
                  <a:gd name="f809" fmla="*/ 97 1 f723"/>
                  <a:gd name="f810" fmla="*/ 871 1 f724"/>
                  <a:gd name="f811" fmla="*/ 89 1 f723"/>
                  <a:gd name="f812" fmla="*/ 775 1 f724"/>
                  <a:gd name="f813" fmla="*/ 71 1 f723"/>
                  <a:gd name="f814" fmla="*/ 716 1 f724"/>
                  <a:gd name="f815" fmla="*/ 82 1 f723"/>
                  <a:gd name="f816" fmla="*/ 642 1 f724"/>
                  <a:gd name="f817" fmla="*/ 61 1 f723"/>
                  <a:gd name="f818" fmla="*/ 604 1 f724"/>
                  <a:gd name="f819" fmla="*/ 0 1 f723"/>
                  <a:gd name="f820" fmla="*/ 74 1 f723"/>
                  <a:gd name="f821" fmla="*/ 527 1 f724"/>
                  <a:gd name="f822" fmla="*/ 154 1 f723"/>
                  <a:gd name="f823" fmla="*/ 500 1 f724"/>
                  <a:gd name="f824" fmla="*/ 223 1 f723"/>
                  <a:gd name="f825" fmla="*/ 486 1 f724"/>
                  <a:gd name="f826" fmla="*/ 263 1 f723"/>
                  <a:gd name="f827" fmla="*/ 439 1 f724"/>
                  <a:gd name="f828" fmla="*/ 279 1 f723"/>
                  <a:gd name="f829" fmla="*/ 364 1 f724"/>
                  <a:gd name="f830" fmla="*/ 310 1 f724"/>
                  <a:gd name="f831" fmla="*/ 250 1 f723"/>
                  <a:gd name="f832" fmla="*/ 227 1 f724"/>
                  <a:gd name="f833" fmla="*/ 140 1 f724"/>
                  <a:gd name="f834" fmla="*/ 334 1 f723"/>
                  <a:gd name="f835" fmla="*/ 115 1 f724"/>
                  <a:gd name="f836" fmla="*/ 366 1 f723"/>
                  <a:gd name="f837" fmla="*/ 64 1 f724"/>
                  <a:gd name="f838" fmla="*/ 404 1 f723"/>
                  <a:gd name="f839" fmla="*/ 57 1 f724"/>
                  <a:gd name="f840" fmla="*/ 469 1 f723"/>
                  <a:gd name="f841" fmla="*/ 67 1 f724"/>
                  <a:gd name="f842" fmla="*/ 596 1 f723"/>
                  <a:gd name="f843" fmla="*/ 15 1 f724"/>
                  <a:gd name="f844" fmla="*/ f6 1 f723"/>
                  <a:gd name="f845" fmla="*/ 0 1 f724"/>
                  <a:gd name="f846" fmla="*/ f7 1 f724"/>
                  <a:gd name="f847" fmla="+- f725 0 f1"/>
                  <a:gd name="f848" fmla="*/ f819 f718 1"/>
                  <a:gd name="f849" fmla="*/ f844 f718 1"/>
                  <a:gd name="f850" fmla="*/ f846 f719 1"/>
                  <a:gd name="f851" fmla="*/ f845 f719 1"/>
                  <a:gd name="f852" fmla="*/ f726 f718 1"/>
                  <a:gd name="f853" fmla="*/ f727 f719 1"/>
                  <a:gd name="f854" fmla="*/ f728 f718 1"/>
                  <a:gd name="f855" fmla="*/ f729 f719 1"/>
                  <a:gd name="f856" fmla="*/ f730 f718 1"/>
                  <a:gd name="f857" fmla="*/ f731 f719 1"/>
                  <a:gd name="f858" fmla="*/ f732 f718 1"/>
                  <a:gd name="f859" fmla="*/ f733 f719 1"/>
                  <a:gd name="f860" fmla="*/ f734 f718 1"/>
                  <a:gd name="f861" fmla="*/ f735 f719 1"/>
                  <a:gd name="f862" fmla="*/ f736 f718 1"/>
                  <a:gd name="f863" fmla="*/ f737 f719 1"/>
                  <a:gd name="f864" fmla="*/ f738 f718 1"/>
                  <a:gd name="f865" fmla="*/ f739 f719 1"/>
                  <a:gd name="f866" fmla="*/ f740 f718 1"/>
                  <a:gd name="f867" fmla="*/ f741 f719 1"/>
                  <a:gd name="f868" fmla="*/ f742 f718 1"/>
                  <a:gd name="f869" fmla="*/ f743 f719 1"/>
                  <a:gd name="f870" fmla="*/ f744 f718 1"/>
                  <a:gd name="f871" fmla="*/ f745 f719 1"/>
                  <a:gd name="f872" fmla="*/ f746 f718 1"/>
                  <a:gd name="f873" fmla="*/ f747 f719 1"/>
                  <a:gd name="f874" fmla="*/ f748 f718 1"/>
                  <a:gd name="f875" fmla="*/ f749 f719 1"/>
                  <a:gd name="f876" fmla="*/ f750 f718 1"/>
                  <a:gd name="f877" fmla="*/ f751 f719 1"/>
                  <a:gd name="f878" fmla="*/ f752 f718 1"/>
                  <a:gd name="f879" fmla="*/ f753 f719 1"/>
                  <a:gd name="f880" fmla="*/ f754 f718 1"/>
                  <a:gd name="f881" fmla="*/ f755 f719 1"/>
                  <a:gd name="f882" fmla="*/ f756 f719 1"/>
                  <a:gd name="f883" fmla="*/ f757 f718 1"/>
                  <a:gd name="f884" fmla="*/ f758 f719 1"/>
                  <a:gd name="f885" fmla="*/ f759 f718 1"/>
                  <a:gd name="f886" fmla="*/ f760 f719 1"/>
                  <a:gd name="f887" fmla="*/ f761 f718 1"/>
                  <a:gd name="f888" fmla="*/ f762 f719 1"/>
                  <a:gd name="f889" fmla="*/ f763 f718 1"/>
                  <a:gd name="f890" fmla="*/ f764 f719 1"/>
                  <a:gd name="f891" fmla="*/ f765 f718 1"/>
                  <a:gd name="f892" fmla="*/ f766 f719 1"/>
                  <a:gd name="f893" fmla="*/ f767 f718 1"/>
                  <a:gd name="f894" fmla="*/ f768 f719 1"/>
                  <a:gd name="f895" fmla="*/ f769 f718 1"/>
                  <a:gd name="f896" fmla="*/ f770 f719 1"/>
                  <a:gd name="f897" fmla="*/ f771 f718 1"/>
                  <a:gd name="f898" fmla="*/ f772 f719 1"/>
                  <a:gd name="f899" fmla="*/ f773 f718 1"/>
                  <a:gd name="f900" fmla="*/ f774 f719 1"/>
                  <a:gd name="f901" fmla="*/ f775 f718 1"/>
                  <a:gd name="f902" fmla="*/ f776 f719 1"/>
                  <a:gd name="f903" fmla="*/ f777 f718 1"/>
                  <a:gd name="f904" fmla="*/ f778 f719 1"/>
                  <a:gd name="f905" fmla="*/ f779 f718 1"/>
                  <a:gd name="f906" fmla="*/ f780 f719 1"/>
                  <a:gd name="f907" fmla="*/ f781 f718 1"/>
                  <a:gd name="f908" fmla="*/ f782 f719 1"/>
                  <a:gd name="f909" fmla="*/ f783 f718 1"/>
                  <a:gd name="f910" fmla="*/ f784 f719 1"/>
                  <a:gd name="f911" fmla="*/ f785 f718 1"/>
                  <a:gd name="f912" fmla="*/ f786 f719 1"/>
                  <a:gd name="f913" fmla="*/ f787 f718 1"/>
                  <a:gd name="f914" fmla="*/ f788 f719 1"/>
                  <a:gd name="f915" fmla="*/ f789 f718 1"/>
                  <a:gd name="f916" fmla="*/ f790 f719 1"/>
                  <a:gd name="f917" fmla="*/ f791 f718 1"/>
                  <a:gd name="f918" fmla="*/ f792 f719 1"/>
                  <a:gd name="f919" fmla="*/ f793 f718 1"/>
                  <a:gd name="f920" fmla="*/ f794 f719 1"/>
                  <a:gd name="f921" fmla="*/ f795 f718 1"/>
                  <a:gd name="f922" fmla="*/ f796 f719 1"/>
                  <a:gd name="f923" fmla="*/ f797 f718 1"/>
                  <a:gd name="f924" fmla="*/ f798 f719 1"/>
                  <a:gd name="f925" fmla="*/ f799 f718 1"/>
                  <a:gd name="f926" fmla="*/ f800 f719 1"/>
                  <a:gd name="f927" fmla="*/ f801 f718 1"/>
                  <a:gd name="f928" fmla="*/ f802 f719 1"/>
                  <a:gd name="f929" fmla="*/ f803 f718 1"/>
                  <a:gd name="f930" fmla="*/ f804 f719 1"/>
                  <a:gd name="f931" fmla="*/ f805 f718 1"/>
                  <a:gd name="f932" fmla="*/ f806 f719 1"/>
                  <a:gd name="f933" fmla="*/ f807 f718 1"/>
                  <a:gd name="f934" fmla="*/ f808 f719 1"/>
                  <a:gd name="f935" fmla="*/ f809 f718 1"/>
                  <a:gd name="f936" fmla="*/ f810 f719 1"/>
                  <a:gd name="f937" fmla="*/ f811 f718 1"/>
                  <a:gd name="f938" fmla="*/ f812 f719 1"/>
                  <a:gd name="f939" fmla="*/ f813 f718 1"/>
                  <a:gd name="f940" fmla="*/ f814 f719 1"/>
                  <a:gd name="f941" fmla="*/ f815 f718 1"/>
                  <a:gd name="f942" fmla="*/ f816 f719 1"/>
                  <a:gd name="f943" fmla="*/ f817 f718 1"/>
                  <a:gd name="f944" fmla="*/ f818 f719 1"/>
                  <a:gd name="f945" fmla="*/ f820 f718 1"/>
                  <a:gd name="f946" fmla="*/ f821 f719 1"/>
                  <a:gd name="f947" fmla="*/ f822 f718 1"/>
                  <a:gd name="f948" fmla="*/ f823 f719 1"/>
                  <a:gd name="f949" fmla="*/ f824 f718 1"/>
                  <a:gd name="f950" fmla="*/ f825 f719 1"/>
                  <a:gd name="f951" fmla="*/ f826 f718 1"/>
                  <a:gd name="f952" fmla="*/ f827 f719 1"/>
                  <a:gd name="f953" fmla="*/ f828 f718 1"/>
                  <a:gd name="f954" fmla="*/ f829 f719 1"/>
                  <a:gd name="f955" fmla="*/ f830 f719 1"/>
                  <a:gd name="f956" fmla="*/ f831 f718 1"/>
                  <a:gd name="f957" fmla="*/ f832 f719 1"/>
                  <a:gd name="f958" fmla="*/ f833 f719 1"/>
                  <a:gd name="f959" fmla="*/ f834 f718 1"/>
                  <a:gd name="f960" fmla="*/ f835 f719 1"/>
                  <a:gd name="f961" fmla="*/ f836 f718 1"/>
                  <a:gd name="f962" fmla="*/ f837 f719 1"/>
                  <a:gd name="f963" fmla="*/ f838 f718 1"/>
                  <a:gd name="f964" fmla="*/ f839 f719 1"/>
                  <a:gd name="f965" fmla="*/ f840 f718 1"/>
                  <a:gd name="f966" fmla="*/ f841 f719 1"/>
                  <a:gd name="f967" fmla="*/ f842 f718 1"/>
                  <a:gd name="f968" fmla="*/ f843 f71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847">
                    <a:pos x="f852" y="f853"/>
                  </a:cxn>
                  <a:cxn ang="f847">
                    <a:pos x="f854" y="f855"/>
                  </a:cxn>
                  <a:cxn ang="f847">
                    <a:pos x="f856" y="f857"/>
                  </a:cxn>
                  <a:cxn ang="f847">
                    <a:pos x="f858" y="f859"/>
                  </a:cxn>
                  <a:cxn ang="f847">
                    <a:pos x="f860" y="f861"/>
                  </a:cxn>
                  <a:cxn ang="f847">
                    <a:pos x="f862" y="f863"/>
                  </a:cxn>
                  <a:cxn ang="f847">
                    <a:pos x="f864" y="f865"/>
                  </a:cxn>
                  <a:cxn ang="f847">
                    <a:pos x="f866" y="f867"/>
                  </a:cxn>
                  <a:cxn ang="f847">
                    <a:pos x="f868" y="f869"/>
                  </a:cxn>
                  <a:cxn ang="f847">
                    <a:pos x="f870" y="f871"/>
                  </a:cxn>
                  <a:cxn ang="f847">
                    <a:pos x="f872" y="f873"/>
                  </a:cxn>
                  <a:cxn ang="f847">
                    <a:pos x="f874" y="f875"/>
                  </a:cxn>
                  <a:cxn ang="f847">
                    <a:pos x="f876" y="f877"/>
                  </a:cxn>
                  <a:cxn ang="f847">
                    <a:pos x="f878" y="f879"/>
                  </a:cxn>
                  <a:cxn ang="f847">
                    <a:pos x="f880" y="f881"/>
                  </a:cxn>
                  <a:cxn ang="f847">
                    <a:pos x="f864" y="f882"/>
                  </a:cxn>
                  <a:cxn ang="f847">
                    <a:pos x="f883" y="f884"/>
                  </a:cxn>
                  <a:cxn ang="f847">
                    <a:pos x="f885" y="f886"/>
                  </a:cxn>
                  <a:cxn ang="f847">
                    <a:pos x="f887" y="f888"/>
                  </a:cxn>
                  <a:cxn ang="f847">
                    <a:pos x="f889" y="f890"/>
                  </a:cxn>
                  <a:cxn ang="f847">
                    <a:pos x="f891" y="f892"/>
                  </a:cxn>
                  <a:cxn ang="f847">
                    <a:pos x="f893" y="f894"/>
                  </a:cxn>
                  <a:cxn ang="f847">
                    <a:pos x="f895" y="f896"/>
                  </a:cxn>
                  <a:cxn ang="f847">
                    <a:pos x="f897" y="f898"/>
                  </a:cxn>
                  <a:cxn ang="f847">
                    <a:pos x="f899" y="f900"/>
                  </a:cxn>
                  <a:cxn ang="f847">
                    <a:pos x="f901" y="f902"/>
                  </a:cxn>
                  <a:cxn ang="f847">
                    <a:pos x="f903" y="f904"/>
                  </a:cxn>
                  <a:cxn ang="f847">
                    <a:pos x="f905" y="f906"/>
                  </a:cxn>
                  <a:cxn ang="f847">
                    <a:pos x="f907" y="f908"/>
                  </a:cxn>
                  <a:cxn ang="f847">
                    <a:pos x="f909" y="f910"/>
                  </a:cxn>
                  <a:cxn ang="f847">
                    <a:pos x="f911" y="f912"/>
                  </a:cxn>
                  <a:cxn ang="f847">
                    <a:pos x="f913" y="f914"/>
                  </a:cxn>
                  <a:cxn ang="f847">
                    <a:pos x="f915" y="f916"/>
                  </a:cxn>
                  <a:cxn ang="f847">
                    <a:pos x="f917" y="f918"/>
                  </a:cxn>
                  <a:cxn ang="f847">
                    <a:pos x="f919" y="f920"/>
                  </a:cxn>
                  <a:cxn ang="f847">
                    <a:pos x="f921" y="f922"/>
                  </a:cxn>
                  <a:cxn ang="f847">
                    <a:pos x="f923" y="f924"/>
                  </a:cxn>
                  <a:cxn ang="f847">
                    <a:pos x="f925" y="f926"/>
                  </a:cxn>
                  <a:cxn ang="f847">
                    <a:pos x="f927" y="f928"/>
                  </a:cxn>
                  <a:cxn ang="f847">
                    <a:pos x="f929" y="f930"/>
                  </a:cxn>
                  <a:cxn ang="f847">
                    <a:pos x="f931" y="f932"/>
                  </a:cxn>
                  <a:cxn ang="f847">
                    <a:pos x="f933" y="f934"/>
                  </a:cxn>
                  <a:cxn ang="f847">
                    <a:pos x="f935" y="f936"/>
                  </a:cxn>
                  <a:cxn ang="f847">
                    <a:pos x="f937" y="f938"/>
                  </a:cxn>
                  <a:cxn ang="f847">
                    <a:pos x="f939" y="f940"/>
                  </a:cxn>
                  <a:cxn ang="f847">
                    <a:pos x="f941" y="f942"/>
                  </a:cxn>
                  <a:cxn ang="f847">
                    <a:pos x="f943" y="f944"/>
                  </a:cxn>
                  <a:cxn ang="f847">
                    <a:pos x="f848" y="f877"/>
                  </a:cxn>
                  <a:cxn ang="f847">
                    <a:pos x="f945" y="f946"/>
                  </a:cxn>
                  <a:cxn ang="f847">
                    <a:pos x="f947" y="f948"/>
                  </a:cxn>
                  <a:cxn ang="f847">
                    <a:pos x="f949" y="f950"/>
                  </a:cxn>
                  <a:cxn ang="f847">
                    <a:pos x="f951" y="f952"/>
                  </a:cxn>
                  <a:cxn ang="f847">
                    <a:pos x="f953" y="f954"/>
                  </a:cxn>
                  <a:cxn ang="f847">
                    <a:pos x="f929" y="f955"/>
                  </a:cxn>
                  <a:cxn ang="f847">
                    <a:pos x="f956" y="f957"/>
                  </a:cxn>
                  <a:cxn ang="f847">
                    <a:pos x="f929" y="f958"/>
                  </a:cxn>
                  <a:cxn ang="f847">
                    <a:pos x="f959" y="f960"/>
                  </a:cxn>
                  <a:cxn ang="f847">
                    <a:pos x="f961" y="f962"/>
                  </a:cxn>
                  <a:cxn ang="f847">
                    <a:pos x="f963" y="f964"/>
                  </a:cxn>
                  <a:cxn ang="f847">
                    <a:pos x="f965" y="f966"/>
                  </a:cxn>
                  <a:cxn ang="f847">
                    <a:pos x="f967" y="f968"/>
                  </a:cxn>
                </a:cxnLst>
                <a:rect l="f848" t="f851" r="f849" b="f850"/>
                <a:pathLst>
                  <a:path w="1021" h="1249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5" y="f17"/>
                    </a:lnTo>
                    <a:lnTo>
                      <a:pt x="f18" y="f19"/>
                    </a:lnTo>
                    <a:lnTo>
                      <a:pt x="f15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35" y="f51"/>
                    </a:lnTo>
                    <a:lnTo>
                      <a:pt x="f52" y="f53"/>
                    </a:lnTo>
                    <a:lnTo>
                      <a:pt x="f54" y="f2"/>
                    </a:lnTo>
                    <a:lnTo>
                      <a:pt x="f47" y="f53"/>
                    </a:lnTo>
                    <a:lnTo>
                      <a:pt x="f55" y="f51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50"/>
                    </a:lnTo>
                    <a:lnTo>
                      <a:pt x="f61" y="f50"/>
                    </a:lnTo>
                    <a:lnTo>
                      <a:pt x="f62" y="f63"/>
                    </a:lnTo>
                    <a:lnTo>
                      <a:pt x="f64" y="f53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109" y="f110"/>
                    </a:lnTo>
                    <a:lnTo>
                      <a:pt x="f111" y="f112"/>
                    </a:lnTo>
                    <a:lnTo>
                      <a:pt x="f113" y="f114"/>
                    </a:lnTo>
                    <a:lnTo>
                      <a:pt x="f111" y="f115"/>
                    </a:lnTo>
                    <a:lnTo>
                      <a:pt x="f116" y="f117"/>
                    </a:lnTo>
                    <a:lnTo>
                      <a:pt x="f116" y="f118"/>
                    </a:lnTo>
                    <a:lnTo>
                      <a:pt x="f119" y="f120"/>
                    </a:lnTo>
                    <a:lnTo>
                      <a:pt x="f121" y="f122"/>
                    </a:lnTo>
                    <a:lnTo>
                      <a:pt x="f123" y="f124"/>
                    </a:lnTo>
                    <a:lnTo>
                      <a:pt x="f125" y="f126"/>
                    </a:ln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lnTo>
                      <a:pt x="f131" y="f133"/>
                    </a:lnTo>
                    <a:lnTo>
                      <a:pt x="f134" y="f135"/>
                    </a:lnTo>
                    <a:lnTo>
                      <a:pt x="f129" y="f136"/>
                    </a:lnTo>
                    <a:lnTo>
                      <a:pt x="f129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1"/>
                    </a:lnTo>
                    <a:lnTo>
                      <a:pt x="f147" y="f13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1"/>
                    </a:lnTo>
                    <a:lnTo>
                      <a:pt x="f153" y="f154"/>
                    </a:lnTo>
                    <a:lnTo>
                      <a:pt x="f155" y="f136"/>
                    </a:lnTo>
                    <a:lnTo>
                      <a:pt x="f156" y="f157"/>
                    </a:lnTo>
                    <a:lnTo>
                      <a:pt x="f158" y="f159"/>
                    </a:lnTo>
                    <a:lnTo>
                      <a:pt x="f160" y="f161"/>
                    </a:lnTo>
                    <a:lnTo>
                      <a:pt x="f160" y="f162"/>
                    </a:lnTo>
                    <a:lnTo>
                      <a:pt x="f163" y="f164"/>
                    </a:lnTo>
                    <a:lnTo>
                      <a:pt x="f165" y="f164"/>
                    </a:lnTo>
                    <a:lnTo>
                      <a:pt x="f166" y="f167"/>
                    </a:lnTo>
                    <a:lnTo>
                      <a:pt x="f156" y="f167"/>
                    </a:lnTo>
                    <a:lnTo>
                      <a:pt x="f168" y="f169"/>
                    </a:lnTo>
                    <a:lnTo>
                      <a:pt x="f170" y="f171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4" y="f176"/>
                    </a:lnTo>
                    <a:lnTo>
                      <a:pt x="f177" y="f178"/>
                    </a:lnTo>
                    <a:lnTo>
                      <a:pt x="f155" y="f178"/>
                    </a:lnTo>
                    <a:lnTo>
                      <a:pt x="f179" y="f180"/>
                    </a:lnTo>
                    <a:lnTo>
                      <a:pt x="f181" y="f180"/>
                    </a:lnTo>
                    <a:lnTo>
                      <a:pt x="f182" y="f183"/>
                    </a:lnTo>
                    <a:lnTo>
                      <a:pt x="f184" y="f185"/>
                    </a:lnTo>
                    <a:lnTo>
                      <a:pt x="f186" y="f187"/>
                    </a:lnTo>
                    <a:lnTo>
                      <a:pt x="f158" y="f188"/>
                    </a:lnTo>
                    <a:lnTo>
                      <a:pt x="f165" y="f189"/>
                    </a:lnTo>
                    <a:lnTo>
                      <a:pt x="f158" y="f190"/>
                    </a:lnTo>
                    <a:lnTo>
                      <a:pt x="f184" y="f191"/>
                    </a:lnTo>
                    <a:lnTo>
                      <a:pt x="f179" y="f192"/>
                    </a:lnTo>
                    <a:lnTo>
                      <a:pt x="f193" y="f194"/>
                    </a:lnTo>
                    <a:lnTo>
                      <a:pt x="f195" y="f196"/>
                    </a:lnTo>
                    <a:lnTo>
                      <a:pt x="f197" y="f198"/>
                    </a:lnTo>
                    <a:lnTo>
                      <a:pt x="f152" y="f199"/>
                    </a:lnTo>
                    <a:lnTo>
                      <a:pt x="f197" y="f200"/>
                    </a:lnTo>
                    <a:lnTo>
                      <a:pt x="f201" y="f202"/>
                    </a:lnTo>
                    <a:lnTo>
                      <a:pt x="f203" y="f202"/>
                    </a:lnTo>
                    <a:lnTo>
                      <a:pt x="f181" y="f200"/>
                    </a:lnTo>
                    <a:lnTo>
                      <a:pt x="f156" y="f204"/>
                    </a:lnTo>
                    <a:lnTo>
                      <a:pt x="f165" y="f205"/>
                    </a:lnTo>
                    <a:lnTo>
                      <a:pt x="f206" y="f207"/>
                    </a:lnTo>
                    <a:lnTo>
                      <a:pt x="f6" y="f208"/>
                    </a:lnTo>
                    <a:lnTo>
                      <a:pt x="f6" y="f209"/>
                    </a:lnTo>
                    <a:lnTo>
                      <a:pt x="f160" y="f210"/>
                    </a:lnTo>
                    <a:lnTo>
                      <a:pt x="f156" y="f211"/>
                    </a:lnTo>
                    <a:lnTo>
                      <a:pt x="f179" y="f212"/>
                    </a:lnTo>
                    <a:lnTo>
                      <a:pt x="f213" y="f214"/>
                    </a:lnTo>
                    <a:lnTo>
                      <a:pt x="f197" y="f215"/>
                    </a:lnTo>
                    <a:lnTo>
                      <a:pt x="f216" y="f217"/>
                    </a:lnTo>
                    <a:lnTo>
                      <a:pt x="f218" y="f219"/>
                    </a:lnTo>
                    <a:lnTo>
                      <a:pt x="f220" y="f221"/>
                    </a:lnTo>
                    <a:lnTo>
                      <a:pt x="f222" y="f223"/>
                    </a:lnTo>
                    <a:lnTo>
                      <a:pt x="f224" y="f225"/>
                    </a:lnTo>
                    <a:lnTo>
                      <a:pt x="f226" y="f227"/>
                    </a:lnTo>
                    <a:lnTo>
                      <a:pt x="f138" y="f228"/>
                    </a:lnTo>
                    <a:lnTo>
                      <a:pt x="f229" y="f230"/>
                    </a:lnTo>
                    <a:lnTo>
                      <a:pt x="f231" y="f232"/>
                    </a:lnTo>
                    <a:lnTo>
                      <a:pt x="f233" y="f234"/>
                    </a:lnTo>
                    <a:lnTo>
                      <a:pt x="f235" y="f236"/>
                    </a:lnTo>
                    <a:lnTo>
                      <a:pt x="f235" y="f237"/>
                    </a:lnTo>
                    <a:lnTo>
                      <a:pt x="f238" y="f239"/>
                    </a:lnTo>
                    <a:lnTo>
                      <a:pt x="f240" y="f241"/>
                    </a:lnTo>
                    <a:lnTo>
                      <a:pt x="f242" y="f243"/>
                    </a:lnTo>
                    <a:lnTo>
                      <a:pt x="f244" y="f245"/>
                    </a:lnTo>
                    <a:lnTo>
                      <a:pt x="f109" y="f8"/>
                    </a:lnTo>
                    <a:lnTo>
                      <a:pt x="f246" y="f247"/>
                    </a:lnTo>
                    <a:lnTo>
                      <a:pt x="f248" y="f249"/>
                    </a:lnTo>
                    <a:lnTo>
                      <a:pt x="f250" y="f251"/>
                    </a:lnTo>
                    <a:lnTo>
                      <a:pt x="f252" y="f11"/>
                    </a:lnTo>
                    <a:lnTo>
                      <a:pt x="f253" y="f254"/>
                    </a:lnTo>
                    <a:lnTo>
                      <a:pt x="f255" y="f254"/>
                    </a:lnTo>
                    <a:lnTo>
                      <a:pt x="f113" y="f256"/>
                    </a:lnTo>
                    <a:lnTo>
                      <a:pt x="f257" y="f18"/>
                    </a:lnTo>
                    <a:lnTo>
                      <a:pt x="f258" y="f259"/>
                    </a:lnTo>
                    <a:lnTo>
                      <a:pt x="f260" y="f27"/>
                    </a:lnTo>
                    <a:lnTo>
                      <a:pt x="f240" y="f261"/>
                    </a:lnTo>
                    <a:lnTo>
                      <a:pt x="f233" y="f35"/>
                    </a:lnTo>
                    <a:lnTo>
                      <a:pt x="f262" y="f39"/>
                    </a:lnTo>
                    <a:lnTo>
                      <a:pt x="f263" y="f264"/>
                    </a:lnTo>
                    <a:lnTo>
                      <a:pt x="f138" y="f265"/>
                    </a:lnTo>
                    <a:lnTo>
                      <a:pt x="f131" y="f266"/>
                    </a:lnTo>
                    <a:lnTo>
                      <a:pt x="f134" y="f267"/>
                    </a:lnTo>
                    <a:lnTo>
                      <a:pt x="f268" y="f269"/>
                    </a:lnTo>
                    <a:lnTo>
                      <a:pt x="f270" y="f271"/>
                    </a:lnTo>
                    <a:lnTo>
                      <a:pt x="f272" y="f67"/>
                    </a:lnTo>
                    <a:lnTo>
                      <a:pt x="f273" y="f274"/>
                    </a:lnTo>
                    <a:lnTo>
                      <a:pt x="f272" y="f275"/>
                    </a:lnTo>
                    <a:lnTo>
                      <a:pt x="f233" y="f276"/>
                    </a:lnTo>
                    <a:lnTo>
                      <a:pt x="f277" y="f73"/>
                    </a:lnTo>
                    <a:lnTo>
                      <a:pt x="f127" y="f278"/>
                    </a:lnTo>
                    <a:lnTo>
                      <a:pt x="f279" y="f280"/>
                    </a:lnTo>
                    <a:lnTo>
                      <a:pt x="f125" y="f281"/>
                    </a:lnTo>
                    <a:lnTo>
                      <a:pt x="f260" y="f282"/>
                    </a:lnTo>
                    <a:lnTo>
                      <a:pt x="f113" y="f283"/>
                    </a:lnTo>
                    <a:lnTo>
                      <a:pt x="f107" y="f284"/>
                    </a:lnTo>
                    <a:lnTo>
                      <a:pt x="f248" y="f87"/>
                    </a:lnTo>
                    <a:lnTo>
                      <a:pt x="f285" y="f87"/>
                    </a:lnTo>
                    <a:lnTo>
                      <a:pt x="f286" y="f287"/>
                    </a:lnTo>
                    <a:lnTo>
                      <a:pt x="f288" y="f284"/>
                    </a:lnTo>
                    <a:lnTo>
                      <a:pt x="f289" y="f85"/>
                    </a:lnTo>
                    <a:lnTo>
                      <a:pt x="f85" y="f284"/>
                    </a:lnTo>
                    <a:lnTo>
                      <a:pt x="f290" y="f87"/>
                    </a:lnTo>
                    <a:lnTo>
                      <a:pt x="f291" y="f87"/>
                    </a:lnTo>
                    <a:lnTo>
                      <a:pt x="f292" y="f287"/>
                    </a:lnTo>
                    <a:lnTo>
                      <a:pt x="f293" y="f284"/>
                    </a:lnTo>
                    <a:lnTo>
                      <a:pt x="f294" y="f295"/>
                    </a:lnTo>
                    <a:lnTo>
                      <a:pt x="f296" y="f85"/>
                    </a:lnTo>
                    <a:lnTo>
                      <a:pt x="f297" y="f87"/>
                    </a:lnTo>
                    <a:lnTo>
                      <a:pt x="f298" y="f91"/>
                    </a:lnTo>
                    <a:lnTo>
                      <a:pt x="f299" y="f300"/>
                    </a:lnTo>
                    <a:lnTo>
                      <a:pt x="f301" y="f289"/>
                    </a:lnTo>
                    <a:lnTo>
                      <a:pt x="f58" y="f87"/>
                    </a:lnTo>
                    <a:lnTo>
                      <a:pt x="f302" y="f295"/>
                    </a:lnTo>
                    <a:lnTo>
                      <a:pt x="f265" y="f303"/>
                    </a:lnTo>
                    <a:lnTo>
                      <a:pt x="f304" y="f291"/>
                    </a:lnTo>
                    <a:lnTo>
                      <a:pt x="f305" y="f291"/>
                    </a:lnTo>
                    <a:lnTo>
                      <a:pt x="f306" y="f303"/>
                    </a:lnTo>
                    <a:lnTo>
                      <a:pt x="f307" y="f287"/>
                    </a:lnTo>
                    <a:lnTo>
                      <a:pt x="f55" y="f93"/>
                    </a:lnTo>
                    <a:lnTo>
                      <a:pt x="f45" y="f101"/>
                    </a:lnTo>
                    <a:lnTo>
                      <a:pt x="f41" y="f252"/>
                    </a:lnTo>
                    <a:lnTo>
                      <a:pt x="f308" y="f107"/>
                    </a:lnTo>
                    <a:lnTo>
                      <a:pt x="f309" y="f310"/>
                    </a:lnTo>
                    <a:lnTo>
                      <a:pt x="f311" y="f119"/>
                    </a:lnTo>
                    <a:lnTo>
                      <a:pt x="f33" y="f312"/>
                    </a:lnTo>
                    <a:lnTo>
                      <a:pt x="f313" y="f314"/>
                    </a:lnTo>
                    <a:lnTo>
                      <a:pt x="f315" y="f272"/>
                    </a:lnTo>
                    <a:lnTo>
                      <a:pt x="f316" y="f270"/>
                    </a:lnTo>
                    <a:lnTo>
                      <a:pt x="f13" y="f262"/>
                    </a:lnTo>
                    <a:lnTo>
                      <a:pt x="f256" y="f263"/>
                    </a:lnTo>
                    <a:lnTo>
                      <a:pt x="f13" y="f131"/>
                    </a:lnTo>
                    <a:lnTo>
                      <a:pt x="f317" y="f318"/>
                    </a:lnTo>
                    <a:lnTo>
                      <a:pt x="f319" y="f320"/>
                    </a:lnTo>
                    <a:lnTo>
                      <a:pt x="f321" y="f322"/>
                    </a:lnTo>
                    <a:lnTo>
                      <a:pt x="f29" y="f323"/>
                    </a:lnTo>
                    <a:lnTo>
                      <a:pt x="f324" y="f325"/>
                    </a:lnTo>
                    <a:lnTo>
                      <a:pt x="f313" y="f326"/>
                    </a:lnTo>
                    <a:lnTo>
                      <a:pt x="f327" y="f328"/>
                    </a:lnTo>
                    <a:lnTo>
                      <a:pt x="f31" y="f329"/>
                    </a:lnTo>
                    <a:lnTo>
                      <a:pt x="f330" y="f331"/>
                    </a:lnTo>
                    <a:lnTo>
                      <a:pt x="f332" y="f333"/>
                    </a:lnTo>
                    <a:lnTo>
                      <a:pt x="f334" y="f335"/>
                    </a:lnTo>
                    <a:lnTo>
                      <a:pt x="f43" y="f150"/>
                    </a:lnTo>
                    <a:lnTo>
                      <a:pt x="f307" y="f336"/>
                    </a:lnTo>
                    <a:lnTo>
                      <a:pt x="f305" y="f337"/>
                    </a:lnTo>
                    <a:lnTo>
                      <a:pt x="f265" y="f216"/>
                    </a:lnTo>
                    <a:lnTo>
                      <a:pt x="f266" y="f338"/>
                    </a:lnTo>
                    <a:lnTo>
                      <a:pt x="f67" y="f339"/>
                    </a:lnTo>
                    <a:lnTo>
                      <a:pt x="f340" y="f341"/>
                    </a:lnTo>
                    <a:lnTo>
                      <a:pt x="f69" y="f156"/>
                    </a:lnTo>
                    <a:lnTo>
                      <a:pt x="f342" y="f206"/>
                    </a:lnTo>
                    <a:lnTo>
                      <a:pt x="f340" y="f343"/>
                    </a:lnTo>
                    <a:lnTo>
                      <a:pt x="f274" y="f344"/>
                    </a:lnTo>
                    <a:lnTo>
                      <a:pt x="f345" y="f346"/>
                    </a:lnTo>
                    <a:lnTo>
                      <a:pt x="f347" y="f348"/>
                    </a:lnTo>
                    <a:lnTo>
                      <a:pt x="f276" y="f349"/>
                    </a:lnTo>
                    <a:lnTo>
                      <a:pt x="f350" y="f351"/>
                    </a:lnTo>
                    <a:lnTo>
                      <a:pt x="f296" y="f352"/>
                    </a:lnTo>
                    <a:lnTo>
                      <a:pt x="f353" y="f354"/>
                    </a:lnTo>
                    <a:lnTo>
                      <a:pt x="f64" y="f355"/>
                    </a:lnTo>
                    <a:lnTo>
                      <a:pt x="f266" y="f356"/>
                    </a:lnTo>
                    <a:lnTo>
                      <a:pt x="f305" y="f357"/>
                    </a:lnTo>
                    <a:lnTo>
                      <a:pt x="f358" y="f359"/>
                    </a:lnTo>
                    <a:lnTo>
                      <a:pt x="f308" y="f360"/>
                    </a:lnTo>
                    <a:lnTo>
                      <a:pt x="f41" y="f361"/>
                    </a:lnTo>
                    <a:lnTo>
                      <a:pt x="f358" y="f362"/>
                    </a:lnTo>
                    <a:lnTo>
                      <a:pt x="f55" y="f363"/>
                    </a:lnTo>
                    <a:lnTo>
                      <a:pt x="f358" y="f364"/>
                    </a:lnTo>
                    <a:lnTo>
                      <a:pt x="f39" y="f365"/>
                    </a:lnTo>
                    <a:lnTo>
                      <a:pt x="f334" y="f366"/>
                    </a:lnTo>
                    <a:lnTo>
                      <a:pt x="f313" y="f367"/>
                    </a:lnTo>
                    <a:lnTo>
                      <a:pt x="f368" y="f369"/>
                    </a:lnTo>
                    <a:lnTo>
                      <a:pt x="f259" y="f370"/>
                    </a:lnTo>
                    <a:lnTo>
                      <a:pt x="f316" y="f371"/>
                    </a:lnTo>
                    <a:lnTo>
                      <a:pt x="f317" y="f372"/>
                    </a:lnTo>
                    <a:lnTo>
                      <a:pt x="f317" y="f373"/>
                    </a:lnTo>
                    <a:lnTo>
                      <a:pt x="f374" y="f375"/>
                    </a:lnTo>
                    <a:lnTo>
                      <a:pt x="f18" y="f376"/>
                    </a:lnTo>
                    <a:lnTo>
                      <a:pt x="f256" y="f377"/>
                    </a:lnTo>
                    <a:lnTo>
                      <a:pt x="f378" y="f379"/>
                    </a:lnTo>
                    <a:lnTo>
                      <a:pt x="f249" y="f380"/>
                    </a:lnTo>
                    <a:lnTo>
                      <a:pt x="f245" y="f381"/>
                    </a:lnTo>
                    <a:lnTo>
                      <a:pt x="f382" y="f383"/>
                    </a:lnTo>
                    <a:lnTo>
                      <a:pt x="f236" y="f384"/>
                    </a:lnTo>
                    <a:lnTo>
                      <a:pt x="f227" y="f385"/>
                    </a:lnTo>
                    <a:lnTo>
                      <a:pt x="f386" y="f387"/>
                    </a:lnTo>
                    <a:lnTo>
                      <a:pt x="f388" y="f385"/>
                    </a:lnTo>
                    <a:lnTo>
                      <a:pt x="f389" y="f390"/>
                    </a:lnTo>
                    <a:lnTo>
                      <a:pt x="f391" y="f392"/>
                    </a:lnTo>
                    <a:lnTo>
                      <a:pt x="f393" y="f392"/>
                    </a:lnTo>
                    <a:lnTo>
                      <a:pt x="f394" y="f7"/>
                    </a:lnTo>
                    <a:lnTo>
                      <a:pt x="f395" y="f385"/>
                    </a:lnTo>
                    <a:lnTo>
                      <a:pt x="f210" y="f396"/>
                    </a:lnTo>
                    <a:lnTo>
                      <a:pt x="f397" y="f381"/>
                    </a:lnTo>
                    <a:lnTo>
                      <a:pt x="f210" y="f398"/>
                    </a:lnTo>
                    <a:lnTo>
                      <a:pt x="f399" y="f400"/>
                    </a:lnTo>
                    <a:lnTo>
                      <a:pt x="f401" y="f402"/>
                    </a:lnTo>
                    <a:lnTo>
                      <a:pt x="f403" y="f404"/>
                    </a:lnTo>
                    <a:lnTo>
                      <a:pt x="f403" y="f405"/>
                    </a:lnTo>
                    <a:lnTo>
                      <a:pt x="f211" y="f406"/>
                    </a:lnTo>
                    <a:lnTo>
                      <a:pt x="f407" y="f408"/>
                    </a:lnTo>
                    <a:lnTo>
                      <a:pt x="f409" y="f410"/>
                    </a:lnTo>
                    <a:lnTo>
                      <a:pt x="f411" y="f371"/>
                    </a:lnTo>
                    <a:lnTo>
                      <a:pt x="f412" y="f413"/>
                    </a:lnTo>
                    <a:lnTo>
                      <a:pt x="f414" y="f415"/>
                    </a:lnTo>
                    <a:lnTo>
                      <a:pt x="f412" y="f367"/>
                    </a:lnTo>
                    <a:lnTo>
                      <a:pt x="f411" y="f416"/>
                    </a:lnTo>
                    <a:lnTo>
                      <a:pt x="f397" y="f366"/>
                    </a:lnTo>
                    <a:lnTo>
                      <a:pt x="f395" y="f417"/>
                    </a:lnTo>
                    <a:lnTo>
                      <a:pt x="f418" y="f419"/>
                    </a:lnTo>
                    <a:lnTo>
                      <a:pt x="f420" y="f421"/>
                    </a:lnTo>
                    <a:lnTo>
                      <a:pt x="f422" y="f423"/>
                    </a:lnTo>
                    <a:lnTo>
                      <a:pt x="f424" y="f425"/>
                    </a:lnTo>
                    <a:lnTo>
                      <a:pt x="f420" y="f426"/>
                    </a:lnTo>
                    <a:lnTo>
                      <a:pt x="f427" y="f428"/>
                    </a:lnTo>
                    <a:lnTo>
                      <a:pt x="f210" y="f429"/>
                    </a:lnTo>
                    <a:lnTo>
                      <a:pt x="f430" y="f346"/>
                    </a:lnTo>
                    <a:lnTo>
                      <a:pt x="f431" y="f432"/>
                    </a:lnTo>
                    <a:lnTo>
                      <a:pt x="f433" y="f434"/>
                    </a:lnTo>
                    <a:lnTo>
                      <a:pt x="f435" y="f160"/>
                    </a:lnTo>
                    <a:lnTo>
                      <a:pt x="f436" y="f163"/>
                    </a:lnTo>
                    <a:lnTo>
                      <a:pt x="f437" y="f438"/>
                    </a:lnTo>
                    <a:lnTo>
                      <a:pt x="f439" y="f160"/>
                    </a:lnTo>
                    <a:lnTo>
                      <a:pt x="f199" y="f440"/>
                    </a:lnTo>
                    <a:lnTo>
                      <a:pt x="f198" y="f441"/>
                    </a:lnTo>
                    <a:lnTo>
                      <a:pt x="f442" y="f197"/>
                    </a:lnTo>
                    <a:lnTo>
                      <a:pt x="f443" y="f444"/>
                    </a:lnTo>
                    <a:lnTo>
                      <a:pt x="f445" y="f336"/>
                    </a:lnTo>
                    <a:lnTo>
                      <a:pt x="f446" y="f447"/>
                    </a:lnTo>
                    <a:lnTo>
                      <a:pt x="f202" y="f448"/>
                    </a:lnTo>
                    <a:lnTo>
                      <a:pt x="f205" y="f449"/>
                    </a:lnTo>
                    <a:lnTo>
                      <a:pt x="f450" y="f451"/>
                    </a:lnTo>
                    <a:lnTo>
                      <a:pt x="f450" y="f452"/>
                    </a:lnTo>
                    <a:lnTo>
                      <a:pt x="f437" y="f322"/>
                    </a:lnTo>
                    <a:lnTo>
                      <a:pt x="f453" y="f454"/>
                    </a:lnTo>
                    <a:lnTo>
                      <a:pt x="f455" y="f131"/>
                    </a:lnTo>
                    <a:lnTo>
                      <a:pt x="f456" y="f457"/>
                    </a:lnTo>
                    <a:lnTo>
                      <a:pt x="f458" y="f270"/>
                    </a:lnTo>
                    <a:lnTo>
                      <a:pt x="f459" y="f238"/>
                    </a:lnTo>
                    <a:lnTo>
                      <a:pt x="f460" y="f461"/>
                    </a:lnTo>
                    <a:lnTo>
                      <a:pt x="f460" y="f123"/>
                    </a:lnTo>
                    <a:lnTo>
                      <a:pt x="f435" y="f260"/>
                    </a:lnTo>
                    <a:lnTo>
                      <a:pt x="f462" y="f463"/>
                    </a:lnTo>
                    <a:lnTo>
                      <a:pt x="f458" y="f119"/>
                    </a:lnTo>
                    <a:lnTo>
                      <a:pt x="f458" y="f464"/>
                    </a:lnTo>
                    <a:lnTo>
                      <a:pt x="f436" y="f107"/>
                    </a:lnTo>
                    <a:lnTo>
                      <a:pt x="f465" y="f252"/>
                    </a:lnTo>
                    <a:lnTo>
                      <a:pt x="f208" y="f466"/>
                    </a:lnTo>
                    <a:lnTo>
                      <a:pt x="f467" y="f101"/>
                    </a:lnTo>
                    <a:lnTo>
                      <a:pt x="f468" y="f469"/>
                    </a:lnTo>
                    <a:lnTo>
                      <a:pt x="f470" y="f471"/>
                    </a:lnTo>
                    <a:lnTo>
                      <a:pt x="f431" y="f300"/>
                    </a:lnTo>
                    <a:lnTo>
                      <a:pt x="f412" y="f472"/>
                    </a:lnTo>
                    <a:lnTo>
                      <a:pt x="f430" y="f87"/>
                    </a:lnTo>
                    <a:lnTo>
                      <a:pt x="f397" y="f472"/>
                    </a:lnTo>
                    <a:lnTo>
                      <a:pt x="f401" y="f91"/>
                    </a:lnTo>
                    <a:lnTo>
                      <a:pt x="f212" y="f473"/>
                    </a:lnTo>
                    <a:lnTo>
                      <a:pt x="f474" y="f475"/>
                    </a:lnTo>
                    <a:lnTo>
                      <a:pt x="f424" y="f476"/>
                    </a:lnTo>
                    <a:lnTo>
                      <a:pt x="f214" y="f289"/>
                    </a:lnTo>
                    <a:lnTo>
                      <a:pt x="f214" y="f81"/>
                    </a:lnTo>
                    <a:lnTo>
                      <a:pt x="f424" y="f477"/>
                    </a:lnTo>
                    <a:lnTo>
                      <a:pt x="f422" y="f478"/>
                    </a:lnTo>
                    <a:lnTo>
                      <a:pt x="f422" y="f479"/>
                    </a:lnTo>
                    <a:lnTo>
                      <a:pt x="f214" y="f296"/>
                    </a:lnTo>
                    <a:lnTo>
                      <a:pt x="f480" y="f342"/>
                    </a:lnTo>
                    <a:lnTo>
                      <a:pt x="f481" y="f482"/>
                    </a:lnTo>
                    <a:lnTo>
                      <a:pt x="f483" y="f297"/>
                    </a:lnTo>
                    <a:lnTo>
                      <a:pt x="f481" y="f65"/>
                    </a:lnTo>
                    <a:lnTo>
                      <a:pt x="f484" y="f485"/>
                    </a:lnTo>
                    <a:lnTo>
                      <a:pt x="f480" y="f61"/>
                    </a:lnTo>
                    <a:lnTo>
                      <a:pt x="f486" y="f299"/>
                    </a:lnTo>
                    <a:lnTo>
                      <a:pt x="f422" y="f60"/>
                    </a:lnTo>
                    <a:lnTo>
                      <a:pt x="f394" y="f60"/>
                    </a:lnTo>
                    <a:lnTo>
                      <a:pt x="f407" y="f487"/>
                    </a:lnTo>
                    <a:lnTo>
                      <a:pt x="f412" y="f266"/>
                    </a:lnTo>
                    <a:lnTo>
                      <a:pt x="f460" y="f266"/>
                    </a:lnTo>
                    <a:lnTo>
                      <a:pt x="f436" y="f301"/>
                    </a:lnTo>
                    <a:lnTo>
                      <a:pt x="f488" y="f302"/>
                    </a:lnTo>
                    <a:lnTo>
                      <a:pt x="f207" y="f56"/>
                    </a:lnTo>
                    <a:lnTo>
                      <a:pt x="f456" y="f264"/>
                    </a:lnTo>
                    <a:lnTo>
                      <a:pt x="f437" y="f358"/>
                    </a:lnTo>
                    <a:lnTo>
                      <a:pt x="f204" y="f45"/>
                    </a:lnTo>
                    <a:lnTo>
                      <a:pt x="f489" y="f43"/>
                    </a:lnTo>
                    <a:lnTo>
                      <a:pt x="f443" y="f490"/>
                    </a:lnTo>
                    <a:lnTo>
                      <a:pt x="f196" y="f56"/>
                    </a:lnTo>
                    <a:lnTo>
                      <a:pt x="f491" y="f492"/>
                    </a:lnTo>
                    <a:lnTo>
                      <a:pt x="f194" y="f493"/>
                    </a:lnTo>
                    <a:lnTo>
                      <a:pt x="f494" y="f298"/>
                    </a:lnTo>
                    <a:lnTo>
                      <a:pt x="f192" y="f64"/>
                    </a:lnTo>
                    <a:lnTo>
                      <a:pt x="f495" y="f496"/>
                    </a:lnTo>
                    <a:lnTo>
                      <a:pt x="f178" y="f497"/>
                    </a:lnTo>
                    <a:lnTo>
                      <a:pt x="f498" y="f67"/>
                    </a:lnTo>
                    <a:lnTo>
                      <a:pt x="f499" y="f274"/>
                    </a:lnTo>
                    <a:lnTo>
                      <a:pt x="f171" y="f275"/>
                    </a:lnTo>
                    <a:lnTo>
                      <a:pt x="f171" y="f293"/>
                    </a:lnTo>
                    <a:lnTo>
                      <a:pt x="f164" y="f281"/>
                    </a:lnTo>
                    <a:lnTo>
                      <a:pt x="f500" y="f81"/>
                    </a:lnTo>
                    <a:lnTo>
                      <a:pt x="f143" y="f501"/>
                    </a:lnTo>
                    <a:lnTo>
                      <a:pt x="f502" y="f503"/>
                    </a:lnTo>
                    <a:lnTo>
                      <a:pt x="f504" y="f89"/>
                    </a:lnTo>
                    <a:lnTo>
                      <a:pt x="f505" y="f93"/>
                    </a:lnTo>
                    <a:lnTo>
                      <a:pt x="f506" y="f95"/>
                    </a:lnTo>
                    <a:lnTo>
                      <a:pt x="f507" y="f508"/>
                    </a:lnTo>
                    <a:lnTo>
                      <a:pt x="f506" y="f509"/>
                    </a:lnTo>
                    <a:lnTo>
                      <a:pt x="f510" y="f248"/>
                    </a:lnTo>
                    <a:lnTo>
                      <a:pt x="f133" y="f511"/>
                    </a:lnTo>
                    <a:lnTo>
                      <a:pt x="f133" y="f119"/>
                    </a:lnTo>
                    <a:lnTo>
                      <a:pt x="f505" y="f512"/>
                    </a:lnTo>
                    <a:lnTo>
                      <a:pt x="f132" y="f277"/>
                    </a:lnTo>
                    <a:lnTo>
                      <a:pt x="f507" y="f513"/>
                    </a:lnTo>
                    <a:lnTo>
                      <a:pt x="f514" y="f515"/>
                    </a:lnTo>
                    <a:lnTo>
                      <a:pt x="f126" y="f516"/>
                    </a:lnTo>
                    <a:lnTo>
                      <a:pt x="f517" y="f518"/>
                    </a:lnTo>
                    <a:lnTo>
                      <a:pt x="f519" y="f448"/>
                    </a:lnTo>
                    <a:lnTo>
                      <a:pt x="f520" y="f521"/>
                    </a:lnTo>
                    <a:lnTo>
                      <a:pt x="f112" y="f337"/>
                    </a:lnTo>
                    <a:lnTo>
                      <a:pt x="f522" y="f329"/>
                    </a:lnTo>
                    <a:lnTo>
                      <a:pt x="f523" y="f524"/>
                    </a:lnTo>
                    <a:lnTo>
                      <a:pt x="f525" y="f333"/>
                    </a:lnTo>
                    <a:lnTo>
                      <a:pt x="f526" y="f527"/>
                    </a:lnTo>
                    <a:lnTo>
                      <a:pt x="f528" y="f529"/>
                    </a:lnTo>
                    <a:lnTo>
                      <a:pt x="f88" y="f530"/>
                    </a:lnTo>
                    <a:lnTo>
                      <a:pt x="f531" y="f532"/>
                    </a:lnTo>
                    <a:lnTo>
                      <a:pt x="f533" y="f534"/>
                    </a:lnTo>
                    <a:lnTo>
                      <a:pt x="f535" y="f339"/>
                    </a:lnTo>
                    <a:lnTo>
                      <a:pt x="f536" y="f170"/>
                    </a:lnTo>
                    <a:lnTo>
                      <a:pt x="f74" y="f186"/>
                    </a:lnTo>
                    <a:lnTo>
                      <a:pt x="f537" y="f206"/>
                    </a:lnTo>
                    <a:lnTo>
                      <a:pt x="f63" y="f538"/>
                    </a:lnTo>
                    <a:lnTo>
                      <a:pt x="f539" y="f540"/>
                    </a:lnTo>
                    <a:lnTo>
                      <a:pt x="f48" y="f344"/>
                    </a:lnTo>
                    <a:lnTo>
                      <a:pt x="f541" y="f344"/>
                    </a:lnTo>
                    <a:lnTo>
                      <a:pt x="f542" y="f543"/>
                    </a:lnTo>
                    <a:lnTo>
                      <a:pt x="f544" y="f432"/>
                    </a:lnTo>
                    <a:lnTo>
                      <a:pt x="f545" y="f160"/>
                    </a:lnTo>
                    <a:lnTo>
                      <a:pt x="f546" y="f168"/>
                    </a:lnTo>
                    <a:lnTo>
                      <a:pt x="f547" y="f548"/>
                    </a:lnTo>
                    <a:lnTo>
                      <a:pt x="f542" y="f174"/>
                    </a:lnTo>
                    <a:lnTo>
                      <a:pt x="f549" y="f153"/>
                    </a:lnTo>
                    <a:lnTo>
                      <a:pt x="f550" y="f551"/>
                    </a:lnTo>
                    <a:lnTo>
                      <a:pt x="f552" y="f336"/>
                    </a:lnTo>
                    <a:lnTo>
                      <a:pt x="f553" y="f326"/>
                    </a:lnTo>
                    <a:lnTo>
                      <a:pt x="f554" y="f323"/>
                    </a:lnTo>
                    <a:lnTo>
                      <a:pt x="f555" y="f556"/>
                    </a:lnTo>
                    <a:lnTo>
                      <a:pt x="f555" y="f229"/>
                    </a:lnTo>
                    <a:lnTo>
                      <a:pt x="f557" y="f238"/>
                    </a:lnTo>
                    <a:lnTo>
                      <a:pt x="f557" y="f558"/>
                    </a:lnTo>
                    <a:lnTo>
                      <a:pt x="f559" y="f121"/>
                    </a:lnTo>
                    <a:lnTo>
                      <a:pt x="f560" y="f463"/>
                    </a:lnTo>
                    <a:lnTo>
                      <a:pt x="f561" y="f562"/>
                    </a:lnTo>
                    <a:lnTo>
                      <a:pt x="f563" y="f119"/>
                    </a:lnTo>
                    <a:lnTo>
                      <a:pt x="f564" y="f255"/>
                    </a:lnTo>
                    <a:lnTo>
                      <a:pt x="f564" y="f565"/>
                    </a:lnTo>
                    <a:lnTo>
                      <a:pt x="f566" y="f105"/>
                    </a:lnTo>
                    <a:lnTo>
                      <a:pt x="f36" y="f101"/>
                    </a:lnTo>
                    <a:lnTo>
                      <a:pt x="f567" y="f568"/>
                    </a:lnTo>
                    <a:lnTo>
                      <a:pt x="f567" y="f300"/>
                    </a:lnTo>
                    <a:lnTo>
                      <a:pt x="f569" y="f570"/>
                    </a:lnTo>
                    <a:lnTo>
                      <a:pt x="f567" y="f571"/>
                    </a:lnTo>
                    <a:lnTo>
                      <a:pt x="f36" y="f572"/>
                    </a:lnTo>
                    <a:lnTo>
                      <a:pt x="f564" y="f573"/>
                    </a:lnTo>
                    <a:lnTo>
                      <a:pt x="f566" y="f479"/>
                    </a:lnTo>
                    <a:lnTo>
                      <a:pt x="f574" y="f275"/>
                    </a:lnTo>
                    <a:lnTo>
                      <a:pt x="f575" y="f342"/>
                    </a:lnTo>
                    <a:lnTo>
                      <a:pt x="f575" y="f576"/>
                    </a:lnTo>
                    <a:lnTo>
                      <a:pt x="f574" y="f65"/>
                    </a:lnTo>
                    <a:lnTo>
                      <a:pt x="f574" y="f62"/>
                    </a:lnTo>
                    <a:lnTo>
                      <a:pt x="f577" y="f578"/>
                    </a:lnTo>
                    <a:lnTo>
                      <a:pt x="f579" y="f266"/>
                    </a:lnTo>
                    <a:lnTo>
                      <a:pt x="f580" y="f302"/>
                    </a:lnTo>
                    <a:lnTo>
                      <a:pt x="f581" y="f56"/>
                    </a:lnTo>
                    <a:lnTo>
                      <a:pt x="f582" y="f264"/>
                    </a:lnTo>
                    <a:lnTo>
                      <a:pt x="f581" y="f43"/>
                    </a:lnTo>
                    <a:lnTo>
                      <a:pt x="f580" y="f39"/>
                    </a:lnTo>
                    <a:lnTo>
                      <a:pt x="f577" y="f583"/>
                    </a:lnTo>
                    <a:lnTo>
                      <a:pt x="f567" y="f330"/>
                    </a:lnTo>
                    <a:lnTo>
                      <a:pt x="f567" y="f31"/>
                    </a:lnTo>
                    <a:lnTo>
                      <a:pt x="f575" y="f29"/>
                    </a:lnTo>
                    <a:lnTo>
                      <a:pt x="f584" y="f23"/>
                    </a:lnTo>
                    <a:lnTo>
                      <a:pt x="f585" y="f374"/>
                    </a:lnTo>
                    <a:lnTo>
                      <a:pt x="f584" y="f256"/>
                    </a:lnTo>
                    <a:lnTo>
                      <a:pt x="f569" y="f586"/>
                    </a:lnTo>
                    <a:lnTo>
                      <a:pt x="f566" y="f247"/>
                    </a:lnTo>
                    <a:lnTo>
                      <a:pt x="f563" y="f587"/>
                    </a:lnTo>
                    <a:lnTo>
                      <a:pt x="f566" y="f588"/>
                    </a:lnTo>
                    <a:lnTo>
                      <a:pt x="f577" y="f589"/>
                    </a:lnTo>
                    <a:lnTo>
                      <a:pt x="f32" y="f236"/>
                    </a:lnTo>
                    <a:lnTo>
                      <a:pt x="f590" y="f591"/>
                    </a:lnTo>
                    <a:lnTo>
                      <a:pt x="f581" y="f592"/>
                    </a:lnTo>
                    <a:lnTo>
                      <a:pt x="f593" y="f594"/>
                    </a:lnTo>
                    <a:lnTo>
                      <a:pt x="f24" y="f587"/>
                    </a:lnTo>
                    <a:lnTo>
                      <a:pt x="f595" y="f241"/>
                    </a:lnTo>
                    <a:lnTo>
                      <a:pt x="f596" y="f241"/>
                    </a:lnTo>
                    <a:lnTo>
                      <a:pt x="f597" y="f587"/>
                    </a:lnTo>
                    <a:lnTo>
                      <a:pt x="f598" y="f599"/>
                    </a:lnTo>
                    <a:lnTo>
                      <a:pt x="f600" y="f236"/>
                    </a:lnTo>
                    <a:lnTo>
                      <a:pt x="f601" y="f602"/>
                    </a:lnTo>
                    <a:lnTo>
                      <a:pt x="f603" y="f227"/>
                    </a:lnTo>
                    <a:lnTo>
                      <a:pt x="f5" y="f604"/>
                    </a:lnTo>
                    <a:lnTo>
                      <a:pt x="f5" y="f221"/>
                    </a:lnTo>
                    <a:lnTo>
                      <a:pt x="f605" y="f606"/>
                    </a:lnTo>
                    <a:lnTo>
                      <a:pt x="f14" y="f607"/>
                    </a:lnTo>
                    <a:lnTo>
                      <a:pt x="f600" y="f215"/>
                    </a:lnTo>
                    <a:lnTo>
                      <a:pt x="f598" y="f393"/>
                    </a:lnTo>
                    <a:lnTo>
                      <a:pt x="f608" y="f424"/>
                    </a:lnTo>
                    <a:lnTo>
                      <a:pt x="f609" y="f424"/>
                    </a:lnTo>
                    <a:lnTo>
                      <a:pt x="f24" y="f474"/>
                    </a:lnTo>
                    <a:lnTo>
                      <a:pt x="f610" y="f611"/>
                    </a:lnTo>
                    <a:lnTo>
                      <a:pt x="f612" y="f399"/>
                    </a:lnTo>
                    <a:lnTo>
                      <a:pt x="f613" y="f210"/>
                    </a:lnTo>
                    <a:lnTo>
                      <a:pt x="f34" y="f397"/>
                    </a:lnTo>
                    <a:lnTo>
                      <a:pt x="f575" y="f614"/>
                    </a:lnTo>
                    <a:lnTo>
                      <a:pt x="f567" y="f209"/>
                    </a:lnTo>
                    <a:lnTo>
                      <a:pt x="f564" y="f208"/>
                    </a:lnTo>
                    <a:lnTo>
                      <a:pt x="f615" y="f465"/>
                    </a:lnTo>
                    <a:lnTo>
                      <a:pt x="f616" y="f436"/>
                    </a:lnTo>
                    <a:lnTo>
                      <a:pt x="f617" y="f436"/>
                    </a:lnTo>
                    <a:lnTo>
                      <a:pt x="f618" y="f462"/>
                    </a:lnTo>
                    <a:lnTo>
                      <a:pt x="f619" y="f462"/>
                    </a:lnTo>
                    <a:lnTo>
                      <a:pt x="f620" y="f458"/>
                    </a:lnTo>
                    <a:lnTo>
                      <a:pt x="f621" y="f622"/>
                    </a:lnTo>
                    <a:lnTo>
                      <a:pt x="f623" y="f439"/>
                    </a:lnTo>
                    <a:lnTo>
                      <a:pt x="f51" y="f624"/>
                    </a:lnTo>
                    <a:lnTo>
                      <a:pt x="f625" y="f443"/>
                    </a:lnTo>
                    <a:lnTo>
                      <a:pt x="f66" y="f443"/>
                    </a:lnTo>
                    <a:lnTo>
                      <a:pt x="f626" y="f624"/>
                    </a:lnTo>
                    <a:lnTo>
                      <a:pt x="f627" y="f628"/>
                    </a:lnTo>
                    <a:lnTo>
                      <a:pt x="f629" y="f200"/>
                    </a:lnTo>
                    <a:lnTo>
                      <a:pt x="f536" y="f202"/>
                    </a:lnTo>
                    <a:lnTo>
                      <a:pt x="f535" y="f202"/>
                    </a:lnTo>
                    <a:lnTo>
                      <a:pt x="f82" y="f200"/>
                    </a:lnTo>
                    <a:lnTo>
                      <a:pt x="f630" y="f631"/>
                    </a:lnTo>
                    <a:lnTo>
                      <a:pt x="f632" y="f631"/>
                    </a:lnTo>
                    <a:lnTo>
                      <a:pt x="f92" y="f633"/>
                    </a:lnTo>
                    <a:lnTo>
                      <a:pt x="f106" y="f628"/>
                    </a:lnTo>
                    <a:lnTo>
                      <a:pt x="f634" y="f635"/>
                    </a:lnTo>
                    <a:lnTo>
                      <a:pt x="f634" y="f636"/>
                    </a:lnTo>
                    <a:lnTo>
                      <a:pt x="f637" y="f494"/>
                    </a:lnTo>
                    <a:lnTo>
                      <a:pt x="f525" y="f638"/>
                    </a:lnTo>
                    <a:lnTo>
                      <a:pt x="f639" y="f183"/>
                    </a:lnTo>
                    <a:lnTo>
                      <a:pt x="f640" y="f499"/>
                    </a:lnTo>
                    <a:lnTo>
                      <a:pt x="f634" y="f500"/>
                    </a:lnTo>
                    <a:lnTo>
                      <a:pt x="f523" y="f143"/>
                    </a:lnTo>
                    <a:lnTo>
                      <a:pt x="f641" y="f159"/>
                    </a:lnTo>
                    <a:lnTo>
                      <a:pt x="f642" y="f643"/>
                    </a:lnTo>
                    <a:lnTo>
                      <a:pt x="f644" y="f149"/>
                    </a:lnTo>
                    <a:lnTo>
                      <a:pt x="f523" y="f135"/>
                    </a:lnTo>
                    <a:lnTo>
                      <a:pt x="f645" y="f646"/>
                    </a:lnTo>
                    <a:lnTo>
                      <a:pt x="f647" y="f510"/>
                    </a:lnTo>
                    <a:lnTo>
                      <a:pt x="f641" y="f648"/>
                    </a:lnTo>
                    <a:lnTo>
                      <a:pt x="f649" y="f128"/>
                    </a:lnTo>
                    <a:lnTo>
                      <a:pt x="f650" y="f651"/>
                    </a:lnTo>
                    <a:lnTo>
                      <a:pt x="f652" y="f653"/>
                    </a:lnTo>
                    <a:lnTo>
                      <a:pt x="f654" y="f655"/>
                    </a:lnTo>
                    <a:lnTo>
                      <a:pt x="f652" y="f115"/>
                    </a:lnTo>
                    <a:lnTo>
                      <a:pt x="f656" y="f657"/>
                    </a:lnTo>
                    <a:lnTo>
                      <a:pt x="f644" y="f658"/>
                    </a:lnTo>
                    <a:lnTo>
                      <a:pt x="f659" y="f114"/>
                    </a:lnTo>
                    <a:lnTo>
                      <a:pt x="f660" y="f661"/>
                    </a:lnTo>
                    <a:lnTo>
                      <a:pt x="f526" y="f662"/>
                    </a:lnTo>
                    <a:lnTo>
                      <a:pt x="f90" y="f663"/>
                    </a:lnTo>
                    <a:lnTo>
                      <a:pt x="f92" y="f664"/>
                    </a:lnTo>
                    <a:lnTo>
                      <a:pt x="f525" y="f665"/>
                    </a:lnTo>
                    <a:lnTo>
                      <a:pt x="f645" y="f639"/>
                    </a:lnTo>
                    <a:lnTo>
                      <a:pt x="f666" y="f667"/>
                    </a:lnTo>
                    <a:lnTo>
                      <a:pt x="f666" y="f86"/>
                    </a:lnTo>
                    <a:lnTo>
                      <a:pt x="f634" y="f82"/>
                    </a:lnTo>
                    <a:lnTo>
                      <a:pt x="f668" y="f669"/>
                    </a:lnTo>
                    <a:lnTo>
                      <a:pt x="f92" y="f78"/>
                    </a:lnTo>
                    <a:lnTo>
                      <a:pt x="f667" y="f669"/>
                    </a:lnTo>
                    <a:lnTo>
                      <a:pt x="f98" y="f669"/>
                    </a:lnTo>
                    <a:lnTo>
                      <a:pt x="f100" y="f670"/>
                    </a:lnTo>
                    <a:lnTo>
                      <a:pt x="f100" y="f671"/>
                    </a:lnTo>
                    <a:lnTo>
                      <a:pt x="f672" y="f673"/>
                    </a:lnTo>
                    <a:lnTo>
                      <a:pt x="f104" y="f674"/>
                    </a:lnTo>
                    <a:lnTo>
                      <a:pt x="f92" y="f675"/>
                    </a:lnTo>
                    <a:lnTo>
                      <a:pt x="f639" y="f676"/>
                    </a:lnTo>
                    <a:lnTo>
                      <a:pt x="f92" y="f677"/>
                    </a:lnTo>
                    <a:lnTo>
                      <a:pt x="f94" y="f619"/>
                    </a:lnTo>
                    <a:lnTo>
                      <a:pt x="f526" y="f678"/>
                    </a:lnTo>
                    <a:lnTo>
                      <a:pt x="f94" y="f546"/>
                    </a:lnTo>
                    <a:lnTo>
                      <a:pt x="f660" y="f42"/>
                    </a:lnTo>
                    <a:lnTo>
                      <a:pt x="f659" y="f550"/>
                    </a:lnTo>
                    <a:lnTo>
                      <a:pt x="f108" y="f679"/>
                    </a:lnTo>
                    <a:lnTo>
                      <a:pt x="f522" y="f680"/>
                    </a:lnTo>
                    <a:lnTo>
                      <a:pt x="f681" y="f680"/>
                    </a:lnTo>
                    <a:lnTo>
                      <a:pt x="f682" y="f552"/>
                    </a:lnTo>
                    <a:lnTo>
                      <a:pt x="f520" y="f544"/>
                    </a:lnTo>
                    <a:lnTo>
                      <a:pt x="f683" y="f679"/>
                    </a:lnTo>
                    <a:lnTo>
                      <a:pt x="f684" y="f685"/>
                    </a:lnTo>
                    <a:lnTo>
                      <a:pt x="f686" y="f554"/>
                    </a:lnTo>
                    <a:lnTo>
                      <a:pt x="f684" y="f687"/>
                    </a:lnTo>
                    <a:lnTo>
                      <a:pt x="f684" y="f688"/>
                    </a:lnTo>
                    <a:lnTo>
                      <a:pt x="f117" y="f585"/>
                    </a:lnTo>
                    <a:lnTo>
                      <a:pt x="f684" y="f30"/>
                    </a:lnTo>
                    <a:lnTo>
                      <a:pt x="f519" y="f689"/>
                    </a:lnTo>
                    <a:lnTo>
                      <a:pt x="f651" y="f610"/>
                    </a:lnTo>
                    <a:lnTo>
                      <a:pt x="f124" y="f690"/>
                    </a:lnTo>
                    <a:lnTo>
                      <a:pt x="f691" y="f610"/>
                    </a:lnTo>
                    <a:lnTo>
                      <a:pt x="f132" y="f26"/>
                    </a:lnTo>
                    <a:lnTo>
                      <a:pt x="f505" y="f612"/>
                    </a:lnTo>
                    <a:lnTo>
                      <a:pt x="f692" y="f28"/>
                    </a:lnTo>
                    <a:lnTo>
                      <a:pt x="f135" y="f28"/>
                    </a:lnTo>
                    <a:lnTo>
                      <a:pt x="f154" y="f612"/>
                    </a:lnTo>
                    <a:lnTo>
                      <a:pt x="f136" y="f582"/>
                    </a:lnTo>
                    <a:lnTo>
                      <a:pt x="f149" y="f690"/>
                    </a:lnTo>
                    <a:lnTo>
                      <a:pt x="f693" y="f24"/>
                    </a:lnTo>
                    <a:lnTo>
                      <a:pt x="f502" y="f694"/>
                    </a:lnTo>
                    <a:lnTo>
                      <a:pt x="f159" y="f694"/>
                    </a:lnTo>
                    <a:lnTo>
                      <a:pt x="f143" y="f695"/>
                    </a:lnTo>
                    <a:lnTo>
                      <a:pt x="f696" y="f582"/>
                    </a:lnTo>
                    <a:lnTo>
                      <a:pt x="f697" y="f28"/>
                    </a:lnTo>
                    <a:lnTo>
                      <a:pt x="f698" y="f699"/>
                    </a:lnTo>
                    <a:lnTo>
                      <a:pt x="f700" y="f701"/>
                    </a:lnTo>
                    <a:lnTo>
                      <a:pt x="f162" y="f702"/>
                    </a:lnTo>
                    <a:lnTo>
                      <a:pt x="f175" y="f579"/>
                    </a:lnTo>
                    <a:lnTo>
                      <a:pt x="f703" y="f32"/>
                    </a:lnTo>
                    <a:lnTo>
                      <a:pt x="f704" y="f613"/>
                    </a:lnTo>
                    <a:lnTo>
                      <a:pt x="f194" y="f580"/>
                    </a:lnTo>
                    <a:lnTo>
                      <a:pt x="f442" y="f612"/>
                    </a:lnTo>
                    <a:lnTo>
                      <a:pt x="f446" y="f582"/>
                    </a:lnTo>
                    <a:lnTo>
                      <a:pt x="f456" y="f695"/>
                    </a:lnTo>
                    <a:lnTo>
                      <a:pt x="f468" y="f595"/>
                    </a:lnTo>
                    <a:lnTo>
                      <a:pt x="f395" y="f705"/>
                    </a:lnTo>
                    <a:lnTo>
                      <a:pt x="f486" y="f608"/>
                    </a:lnTo>
                    <a:lnTo>
                      <a:pt x="f483" y="f706"/>
                    </a:lnTo>
                    <a:lnTo>
                      <a:pt x="f707" y="f708"/>
                    </a:lnTo>
                    <a:lnTo>
                      <a:pt x="f709" y="f710"/>
                    </a:lnTo>
                    <a:lnTo>
                      <a:pt x="f711" y="f712"/>
                    </a:lnTo>
                    <a:lnTo>
                      <a:pt x="f713" y="f714"/>
                    </a:lnTo>
                    <a:lnTo>
                      <a:pt x="f715" y="f716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90" name="Freeform 10">
                <a:extLst>
                  <a:ext uri="{FF2B5EF4-FFF2-40B4-BE49-F238E27FC236}">
                    <a16:creationId xmlns:a16="http://schemas.microsoft.com/office/drawing/2014/main" id="{CCED9829-2243-48AE-996D-DB1862271AF6}"/>
                  </a:ext>
                </a:extLst>
              </p:cNvPr>
              <p:cNvSpPr/>
              <p:nvPr/>
            </p:nvSpPr>
            <p:spPr>
              <a:xfrm>
                <a:off x="3978508" y="1988545"/>
                <a:ext cx="217389" cy="260192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1000"/>
                  <a:gd name="f8" fmla="val 1339"/>
                  <a:gd name="f9" fmla="val 415"/>
                  <a:gd name="f10" fmla="val 422"/>
                  <a:gd name="f11" fmla="val 430"/>
                  <a:gd name="f12" fmla="val 2"/>
                  <a:gd name="f13" fmla="val 440"/>
                  <a:gd name="f14" fmla="val 7"/>
                  <a:gd name="f15" fmla="val 450"/>
                  <a:gd name="f16" fmla="val 13"/>
                  <a:gd name="f17" fmla="val 459"/>
                  <a:gd name="f18" fmla="val 19"/>
                  <a:gd name="f19" fmla="val 468"/>
                  <a:gd name="f20" fmla="val 22"/>
                  <a:gd name="f21" fmla="val 475"/>
                  <a:gd name="f22" fmla="val 484"/>
                  <a:gd name="f23" fmla="val 17"/>
                  <a:gd name="f24" fmla="val 499"/>
                  <a:gd name="f25" fmla="val 8"/>
                  <a:gd name="f26" fmla="val 507"/>
                  <a:gd name="f27" fmla="val 512"/>
                  <a:gd name="f28" fmla="val 12"/>
                  <a:gd name="f29" fmla="val 516"/>
                  <a:gd name="f30" fmla="val 25"/>
                  <a:gd name="f31" fmla="val 519"/>
                  <a:gd name="f32" fmla="val 32"/>
                  <a:gd name="f33" fmla="val 532"/>
                  <a:gd name="f34" fmla="val 38"/>
                  <a:gd name="f35" fmla="val 535"/>
                  <a:gd name="f36" fmla="val 43"/>
                  <a:gd name="f37" fmla="val 539"/>
                  <a:gd name="f38" fmla="val 48"/>
                  <a:gd name="f39" fmla="val 542"/>
                  <a:gd name="f40" fmla="val 51"/>
                  <a:gd name="f41" fmla="val 547"/>
                  <a:gd name="f42" fmla="val 53"/>
                  <a:gd name="f43" fmla="val 554"/>
                  <a:gd name="f44" fmla="val 564"/>
                  <a:gd name="f45" fmla="val 570"/>
                  <a:gd name="f46" fmla="val 39"/>
                  <a:gd name="f47" fmla="val 576"/>
                  <a:gd name="f48" fmla="val 40"/>
                  <a:gd name="f49" fmla="val 582"/>
                  <a:gd name="f50" fmla="val 45"/>
                  <a:gd name="f51" fmla="val 590"/>
                  <a:gd name="f52" fmla="val 50"/>
                  <a:gd name="f53" fmla="val 600"/>
                  <a:gd name="f54" fmla="val 59"/>
                  <a:gd name="f55" fmla="val 611"/>
                  <a:gd name="f56" fmla="val 66"/>
                  <a:gd name="f57" fmla="val 621"/>
                  <a:gd name="f58" fmla="val 75"/>
                  <a:gd name="f59" fmla="val 631"/>
                  <a:gd name="f60" fmla="val 81"/>
                  <a:gd name="f61" fmla="val 640"/>
                  <a:gd name="f62" fmla="val 86"/>
                  <a:gd name="f63" fmla="val 646"/>
                  <a:gd name="f64" fmla="val 88"/>
                  <a:gd name="f65" fmla="val 651"/>
                  <a:gd name="f66" fmla="val 89"/>
                  <a:gd name="f67" fmla="val 655"/>
                  <a:gd name="f68" fmla="val 90"/>
                  <a:gd name="f69" fmla="val 658"/>
                  <a:gd name="f70" fmla="val 92"/>
                  <a:gd name="f71" fmla="val 662"/>
                  <a:gd name="f72" fmla="val 94"/>
                  <a:gd name="f73" fmla="val 672"/>
                  <a:gd name="f74" fmla="val 95"/>
                  <a:gd name="f75" fmla="val 682"/>
                  <a:gd name="f76" fmla="val 690"/>
                  <a:gd name="f77" fmla="val 700"/>
                  <a:gd name="f78" fmla="val 704"/>
                  <a:gd name="f79" fmla="val 97"/>
                  <a:gd name="f80" fmla="val 707"/>
                  <a:gd name="f81" fmla="val 104"/>
                  <a:gd name="f82" fmla="val 705"/>
                  <a:gd name="f83" fmla="val 110"/>
                  <a:gd name="f84" fmla="val 702"/>
                  <a:gd name="f85" fmla="val 117"/>
                  <a:gd name="f86" fmla="val 124"/>
                  <a:gd name="f87" fmla="val 696"/>
                  <a:gd name="f88" fmla="val 131"/>
                  <a:gd name="f89" fmla="val 692"/>
                  <a:gd name="f90" fmla="val 136"/>
                  <a:gd name="f91" fmla="val 689"/>
                  <a:gd name="f92" fmla="val 140"/>
                  <a:gd name="f93" fmla="val 688"/>
                  <a:gd name="f94" fmla="val 146"/>
                  <a:gd name="f95" fmla="val 152"/>
                  <a:gd name="f96" fmla="val 691"/>
                  <a:gd name="f97" fmla="val 159"/>
                  <a:gd name="f98" fmla="val 695"/>
                  <a:gd name="f99" fmla="val 163"/>
                  <a:gd name="f100" fmla="val 701"/>
                  <a:gd name="f101" fmla="val 166"/>
                  <a:gd name="f102" fmla="val 168"/>
                  <a:gd name="f103" fmla="val 716"/>
                  <a:gd name="f104" fmla="val 170"/>
                  <a:gd name="f105" fmla="val 723"/>
                  <a:gd name="f106" fmla="val 173"/>
                  <a:gd name="f107" fmla="val 728"/>
                  <a:gd name="f108" fmla="val 175"/>
                  <a:gd name="f109" fmla="val 179"/>
                  <a:gd name="f110" fmla="val 724"/>
                  <a:gd name="f111" fmla="val 183"/>
                  <a:gd name="f112" fmla="val 721"/>
                  <a:gd name="f113" fmla="val 191"/>
                  <a:gd name="f114" fmla="val 717"/>
                  <a:gd name="f115" fmla="val 198"/>
                  <a:gd name="f116" fmla="val 710"/>
                  <a:gd name="f117" fmla="val 216"/>
                  <a:gd name="f118" fmla="val 709"/>
                  <a:gd name="f119" fmla="val 222"/>
                  <a:gd name="f120" fmla="val 226"/>
                  <a:gd name="f121" fmla="val 715"/>
                  <a:gd name="f122" fmla="val 229"/>
                  <a:gd name="f123" fmla="val 729"/>
                  <a:gd name="f124" fmla="val 745"/>
                  <a:gd name="f125" fmla="val 230"/>
                  <a:gd name="f126" fmla="val 760"/>
                  <a:gd name="f127" fmla="val 770"/>
                  <a:gd name="f128" fmla="val 231"/>
                  <a:gd name="f129" fmla="val 775"/>
                  <a:gd name="f130" fmla="val 232"/>
                  <a:gd name="f131" fmla="val 778"/>
                  <a:gd name="f132" fmla="val 235"/>
                  <a:gd name="f133" fmla="val 780"/>
                  <a:gd name="f134" fmla="val 238"/>
                  <a:gd name="f135" fmla="val 782"/>
                  <a:gd name="f136" fmla="val 240"/>
                  <a:gd name="f137" fmla="val 788"/>
                  <a:gd name="f138" fmla="val 241"/>
                  <a:gd name="f139" fmla="val 790"/>
                  <a:gd name="f140" fmla="val 792"/>
                  <a:gd name="f141" fmla="val 793"/>
                  <a:gd name="f142" fmla="val 239"/>
                  <a:gd name="f143" fmla="val 794"/>
                  <a:gd name="f144" fmla="val 237"/>
                  <a:gd name="f145" fmla="val 236"/>
                  <a:gd name="f146" fmla="val 795"/>
                  <a:gd name="f147" fmla="val 796"/>
                  <a:gd name="f148" fmla="val 233"/>
                  <a:gd name="f149" fmla="val 797"/>
                  <a:gd name="f150" fmla="val 799"/>
                  <a:gd name="f151" fmla="val 832"/>
                  <a:gd name="f152" fmla="val 838"/>
                  <a:gd name="f153" fmla="val 227"/>
                  <a:gd name="f154" fmla="val 842"/>
                  <a:gd name="f155" fmla="val 221"/>
                  <a:gd name="f156" fmla="val 846"/>
                  <a:gd name="f157" fmla="val 213"/>
                  <a:gd name="f158" fmla="val 206"/>
                  <a:gd name="f159" fmla="val 843"/>
                  <a:gd name="f160" fmla="val 203"/>
                  <a:gd name="f161" fmla="val 202"/>
                  <a:gd name="f162" fmla="val 825"/>
                  <a:gd name="f163" fmla="val 199"/>
                  <a:gd name="f164" fmla="val 821"/>
                  <a:gd name="f165" fmla="val 197"/>
                  <a:gd name="f166" fmla="val 195"/>
                  <a:gd name="f167" fmla="val 190"/>
                  <a:gd name="f168" fmla="val 837"/>
                  <a:gd name="f169" fmla="val 176"/>
                  <a:gd name="f170" fmla="val 841"/>
                  <a:gd name="f171" fmla="val 158"/>
                  <a:gd name="f172" fmla="val 149"/>
                  <a:gd name="f173" fmla="val 833"/>
                  <a:gd name="f174" fmla="val 830"/>
                  <a:gd name="f175" fmla="val 132"/>
                  <a:gd name="f176" fmla="val 828"/>
                  <a:gd name="f177" fmla="val 125"/>
                  <a:gd name="f178" fmla="val 120"/>
                  <a:gd name="f179" fmla="val 839"/>
                  <a:gd name="f180" fmla="val 118"/>
                  <a:gd name="f181" fmla="val 850"/>
                  <a:gd name="f182" fmla="val 889"/>
                  <a:gd name="f183" fmla="val 900"/>
                  <a:gd name="f184" fmla="val 126"/>
                  <a:gd name="f185" fmla="val 919"/>
                  <a:gd name="f186" fmla="val 928"/>
                  <a:gd name="f187" fmla="val 129"/>
                  <a:gd name="f188" fmla="val 941"/>
                  <a:gd name="f189" fmla="val 135"/>
                  <a:gd name="f190" fmla="val 955"/>
                  <a:gd name="f191" fmla="val 966"/>
                  <a:gd name="f192" fmla="val 154"/>
                  <a:gd name="f193" fmla="val 972"/>
                  <a:gd name="f194" fmla="val 162"/>
                  <a:gd name="f195" fmla="val 977"/>
                  <a:gd name="f196" fmla="val 169"/>
                  <a:gd name="f197" fmla="val 978"/>
                  <a:gd name="f198" fmla="val 178"/>
                  <a:gd name="f199" fmla="val 201"/>
                  <a:gd name="f200" fmla="val 975"/>
                  <a:gd name="f201" fmla="val 215"/>
                  <a:gd name="f202" fmla="val 974"/>
                  <a:gd name="f203" fmla="val 973"/>
                  <a:gd name="f204" fmla="val 248"/>
                  <a:gd name="f205" fmla="val 265"/>
                  <a:gd name="f206" fmla="val 281"/>
                  <a:gd name="f207" fmla="val 294"/>
                  <a:gd name="f208" fmla="val 979"/>
                  <a:gd name="f209" fmla="val 303"/>
                  <a:gd name="f210" fmla="val 984"/>
                  <a:gd name="f211" fmla="val 309"/>
                  <a:gd name="f212" fmla="val 989"/>
                  <a:gd name="f213" fmla="val 312"/>
                  <a:gd name="f214" fmla="val 995"/>
                  <a:gd name="f215" fmla="val 313"/>
                  <a:gd name="f216" fmla="val 998"/>
                  <a:gd name="f217" fmla="val 315"/>
                  <a:gd name="f218" fmla="val 318"/>
                  <a:gd name="f219" fmla="val 324"/>
                  <a:gd name="f220" fmla="val 992"/>
                  <a:gd name="f221" fmla="val 335"/>
                  <a:gd name="f222" fmla="val 987"/>
                  <a:gd name="f223" fmla="val 350"/>
                  <a:gd name="f224" fmla="val 983"/>
                  <a:gd name="f225" fmla="val 351"/>
                  <a:gd name="f226" fmla="val 960"/>
                  <a:gd name="f227" fmla="val 354"/>
                  <a:gd name="f228" fmla="val 949"/>
                  <a:gd name="f229" fmla="val 939"/>
                  <a:gd name="f230" fmla="val 366"/>
                  <a:gd name="f231" fmla="val 936"/>
                  <a:gd name="f232" fmla="val 373"/>
                  <a:gd name="f233" fmla="val 934"/>
                  <a:gd name="f234" fmla="val 381"/>
                  <a:gd name="f235" fmla="val 933"/>
                  <a:gd name="f236" fmla="val 392"/>
                  <a:gd name="f237" fmla="val 403"/>
                  <a:gd name="f238" fmla="val 931"/>
                  <a:gd name="f239" fmla="val 412"/>
                  <a:gd name="f240" fmla="val 930"/>
                  <a:gd name="f241" fmla="val 421"/>
                  <a:gd name="f242" fmla="val 925"/>
                  <a:gd name="f243" fmla="val 427"/>
                  <a:gd name="f244" fmla="val 916"/>
                  <a:gd name="f245" fmla="val 434"/>
                  <a:gd name="f246" fmla="val 906"/>
                  <a:gd name="f247" fmla="val 893"/>
                  <a:gd name="f248" fmla="val 446"/>
                  <a:gd name="f249" fmla="val 882"/>
                  <a:gd name="f250" fmla="val 452"/>
                  <a:gd name="f251" fmla="val 874"/>
                  <a:gd name="f252" fmla="val 456"/>
                  <a:gd name="f253" fmla="val 868"/>
                  <a:gd name="f254" fmla="val 460"/>
                  <a:gd name="f255" fmla="val 865"/>
                  <a:gd name="f256" fmla="val 467"/>
                  <a:gd name="f257" fmla="val 863"/>
                  <a:gd name="f258" fmla="val 489"/>
                  <a:gd name="f259" fmla="val 858"/>
                  <a:gd name="f260" fmla="val 851"/>
                  <a:gd name="f261" fmla="val 514"/>
                  <a:gd name="f262" fmla="val 520"/>
                  <a:gd name="f263" fmla="val 524"/>
                  <a:gd name="f264" fmla="val 836"/>
                  <a:gd name="f265" fmla="val 528"/>
                  <a:gd name="f266" fmla="val 533"/>
                  <a:gd name="f267" fmla="val 538"/>
                  <a:gd name="f268" fmla="val 574"/>
                  <a:gd name="f269" fmla="val 834"/>
                  <a:gd name="f270" fmla="val 580"/>
                  <a:gd name="f271" fmla="val 826"/>
                  <a:gd name="f272" fmla="val 588"/>
                  <a:gd name="f273" fmla="val 819"/>
                  <a:gd name="f274" fmla="val 594"/>
                  <a:gd name="f275" fmla="val 810"/>
                  <a:gd name="f276" fmla="val 602"/>
                  <a:gd name="f277" fmla="val 805"/>
                  <a:gd name="f278" fmla="val 608"/>
                  <a:gd name="f279" fmla="val 804"/>
                  <a:gd name="f280" fmla="val 614"/>
                  <a:gd name="f281" fmla="val 807"/>
                  <a:gd name="f282" fmla="val 622"/>
                  <a:gd name="f283" fmla="val 812"/>
                  <a:gd name="f284" fmla="val 628"/>
                  <a:gd name="f285" fmla="val 817"/>
                  <a:gd name="f286" fmla="val 636"/>
                  <a:gd name="f287" fmla="val 645"/>
                  <a:gd name="f288" fmla="val 816"/>
                  <a:gd name="f289" fmla="val 652"/>
                  <a:gd name="f290" fmla="val 809"/>
                  <a:gd name="f291" fmla="val 659"/>
                  <a:gd name="f292" fmla="val 801"/>
                  <a:gd name="f293" fmla="val 665"/>
                  <a:gd name="f294" fmla="val 791"/>
                  <a:gd name="f295" fmla="val 670"/>
                  <a:gd name="f296" fmla="val 783"/>
                  <a:gd name="f297" fmla="val 675"/>
                  <a:gd name="f298" fmla="val 777"/>
                  <a:gd name="f299" fmla="val 677"/>
                  <a:gd name="f300" fmla="val 681"/>
                  <a:gd name="f301" fmla="val 766"/>
                  <a:gd name="f302" fmla="val 763"/>
                  <a:gd name="f303" fmla="val 762"/>
                  <a:gd name="f304" fmla="val 706"/>
                  <a:gd name="f305" fmla="val 713"/>
                  <a:gd name="f306" fmla="val 755"/>
                  <a:gd name="f307" fmla="val 722"/>
                  <a:gd name="f308" fmla="val 748"/>
                  <a:gd name="f309" fmla="val 733"/>
                  <a:gd name="f310" fmla="val 740"/>
                  <a:gd name="f311" fmla="val 754"/>
                  <a:gd name="f312" fmla="val 764"/>
                  <a:gd name="f313" fmla="val 776"/>
                  <a:gd name="f314" fmla="val 736"/>
                  <a:gd name="f315" fmla="val 784"/>
                  <a:gd name="f316" fmla="val 753"/>
                  <a:gd name="f317" fmla="val 761"/>
                  <a:gd name="f318" fmla="val 802"/>
                  <a:gd name="f319" fmla="val 744"/>
                  <a:gd name="f320" fmla="val 738"/>
                  <a:gd name="f321" fmla="val 739"/>
                  <a:gd name="f322" fmla="val 742"/>
                  <a:gd name="f323" fmla="val 823"/>
                  <a:gd name="f324" fmla="val 743"/>
                  <a:gd name="f325" fmla="val 735"/>
                  <a:gd name="f326" fmla="val 848"/>
                  <a:gd name="f327" fmla="val 732"/>
                  <a:gd name="f328" fmla="val 853"/>
                  <a:gd name="f329" fmla="val 731"/>
                  <a:gd name="f330" fmla="val 860"/>
                  <a:gd name="f331" fmla="val 873"/>
                  <a:gd name="f332" fmla="val 903"/>
                  <a:gd name="f333" fmla="val 918"/>
                  <a:gd name="f334" fmla="val 922"/>
                  <a:gd name="f335" fmla="val 924"/>
                  <a:gd name="f336" fmla="val 923"/>
                  <a:gd name="f337" fmla="val 921"/>
                  <a:gd name="f338" fmla="val 767"/>
                  <a:gd name="f339" fmla="val 773"/>
                  <a:gd name="f340" fmla="val 917"/>
                  <a:gd name="f341" fmla="val 779"/>
                  <a:gd name="f342" fmla="val 781"/>
                  <a:gd name="f343" fmla="val 787"/>
                  <a:gd name="f344" fmla="val 946"/>
                  <a:gd name="f345" fmla="val 959"/>
                  <a:gd name="f346" fmla="val 970"/>
                  <a:gd name="f347" fmla="val 806"/>
                  <a:gd name="f348" fmla="val 981"/>
                  <a:gd name="f349" fmla="val 811"/>
                  <a:gd name="f350" fmla="val 990"/>
                  <a:gd name="f351" fmla="val 813"/>
                  <a:gd name="f352" fmla="val 996"/>
                  <a:gd name="f353" fmla="val 1005"/>
                  <a:gd name="f354" fmla="val 1008"/>
                  <a:gd name="f355" fmla="val 1013"/>
                  <a:gd name="f356" fmla="val 1021"/>
                  <a:gd name="f357" fmla="val 1026"/>
                  <a:gd name="f358" fmla="val 824"/>
                  <a:gd name="f359" fmla="val 831"/>
                  <a:gd name="f360" fmla="val 1024"/>
                  <a:gd name="f361" fmla="val 1015"/>
                  <a:gd name="f362" fmla="val 852"/>
                  <a:gd name="f363" fmla="val 1017"/>
                  <a:gd name="f364" fmla="val 857"/>
                  <a:gd name="f365" fmla="val 1023"/>
                  <a:gd name="f366" fmla="val 862"/>
                  <a:gd name="f367" fmla="val 1029"/>
                  <a:gd name="f368" fmla="val 864"/>
                  <a:gd name="f369" fmla="val 1037"/>
                  <a:gd name="f370" fmla="val 1041"/>
                  <a:gd name="f371" fmla="val 1046"/>
                  <a:gd name="f372" fmla="val 1052"/>
                  <a:gd name="f373" fmla="val 1061"/>
                  <a:gd name="f374" fmla="val 1070"/>
                  <a:gd name="f375" fmla="val 1079"/>
                  <a:gd name="f376" fmla="val 845"/>
                  <a:gd name="f377" fmla="val 1084"/>
                  <a:gd name="f378" fmla="val 1090"/>
                  <a:gd name="f379" fmla="val 1094"/>
                  <a:gd name="f380" fmla="val 867"/>
                  <a:gd name="f381" fmla="val 1097"/>
                  <a:gd name="f382" fmla="val 1105"/>
                  <a:gd name="f383" fmla="val 885"/>
                  <a:gd name="f384" fmla="val 1109"/>
                  <a:gd name="f385" fmla="val 886"/>
                  <a:gd name="f386" fmla="val 1115"/>
                  <a:gd name="f387" fmla="val 1121"/>
                  <a:gd name="f388" fmla="val 1129"/>
                  <a:gd name="f389" fmla="val 884"/>
                  <a:gd name="f390" fmla="val 1142"/>
                  <a:gd name="f391" fmla="val 1151"/>
                  <a:gd name="f392" fmla="val 878"/>
                  <a:gd name="f393" fmla="val 1156"/>
                  <a:gd name="f394" fmla="val 1158"/>
                  <a:gd name="f395" fmla="val 1160"/>
                  <a:gd name="f396" fmla="val 1161"/>
                  <a:gd name="f397" fmla="val 1164"/>
                  <a:gd name="f398" fmla="val 1170"/>
                  <a:gd name="f399" fmla="val 1177"/>
                  <a:gd name="f400" fmla="val 1185"/>
                  <a:gd name="f401" fmla="val 1197"/>
                  <a:gd name="f402" fmla="val 1204"/>
                  <a:gd name="f403" fmla="val 854"/>
                  <a:gd name="f404" fmla="val 1206"/>
                  <a:gd name="f405" fmla="val 1207"/>
                  <a:gd name="f406" fmla="val 840"/>
                  <a:gd name="f407" fmla="val 1210"/>
                  <a:gd name="f408" fmla="val 1214"/>
                  <a:gd name="f409" fmla="val 1218"/>
                  <a:gd name="f410" fmla="val 1224"/>
                  <a:gd name="f411" fmla="val 855"/>
                  <a:gd name="f412" fmla="val 1228"/>
                  <a:gd name="f413" fmla="val 1234"/>
                  <a:gd name="f414" fmla="val 1241"/>
                  <a:gd name="f415" fmla="val 847"/>
                  <a:gd name="f416" fmla="val 1251"/>
                  <a:gd name="f417" fmla="val 1275"/>
                  <a:gd name="f418" fmla="val 1285"/>
                  <a:gd name="f419" fmla="val 1294"/>
                  <a:gd name="f420" fmla="val 1298"/>
                  <a:gd name="f421" fmla="val 1296"/>
                  <a:gd name="f422" fmla="val 1281"/>
                  <a:gd name="f423" fmla="val 1279"/>
                  <a:gd name="f424" fmla="val 1276"/>
                  <a:gd name="f425" fmla="val 1271"/>
                  <a:gd name="f426" fmla="val 1267"/>
                  <a:gd name="f427" fmla="val 1265"/>
                  <a:gd name="f428" fmla="val 750"/>
                  <a:gd name="f429" fmla="val 1266"/>
                  <a:gd name="f430" fmla="val 747"/>
                  <a:gd name="f431" fmla="val 1270"/>
                  <a:gd name="f432" fmla="val 1277"/>
                  <a:gd name="f433" fmla="val 1282"/>
                  <a:gd name="f434" fmla="val 1289"/>
                  <a:gd name="f435" fmla="val 1297"/>
                  <a:gd name="f436" fmla="val 725"/>
                  <a:gd name="f437" fmla="val 718"/>
                  <a:gd name="f438" fmla="val 1295"/>
                  <a:gd name="f439" fmla="val 1293"/>
                  <a:gd name="f440" fmla="val 1291"/>
                  <a:gd name="f441" fmla="val 703"/>
                  <a:gd name="f442" fmla="val 1286"/>
                  <a:gd name="f443" fmla="val 1283"/>
                  <a:gd name="f444" fmla="val 679"/>
                  <a:gd name="f445" fmla="val 666"/>
                  <a:gd name="f446" fmla="val 650"/>
                  <a:gd name="f447" fmla="val 1278"/>
                  <a:gd name="f448" fmla="val 643"/>
                  <a:gd name="f449" fmla="val 1280"/>
                  <a:gd name="f450" fmla="val 638"/>
                  <a:gd name="f451" fmla="val 1292"/>
                  <a:gd name="f452" fmla="val 634"/>
                  <a:gd name="f453" fmla="val 1300"/>
                  <a:gd name="f454" fmla="val 633"/>
                  <a:gd name="f455" fmla="val 1308"/>
                  <a:gd name="f456" fmla="val 632"/>
                  <a:gd name="f457" fmla="val 1317"/>
                  <a:gd name="f458" fmla="val 630"/>
                  <a:gd name="f459" fmla="val 1323"/>
                  <a:gd name="f460" fmla="val 627"/>
                  <a:gd name="f461" fmla="val 1327"/>
                  <a:gd name="f462" fmla="val 620"/>
                  <a:gd name="f463" fmla="val 1329"/>
                  <a:gd name="f464" fmla="val 613"/>
                  <a:gd name="f465" fmla="val 605"/>
                  <a:gd name="f466" fmla="val 597"/>
                  <a:gd name="f467" fmla="val 589"/>
                  <a:gd name="f468" fmla="val 1310"/>
                  <a:gd name="f469" fmla="val 1306"/>
                  <a:gd name="f470" fmla="val 575"/>
                  <a:gd name="f471" fmla="val 1303"/>
                  <a:gd name="f472" fmla="val 568"/>
                  <a:gd name="f473" fmla="val 1304"/>
                  <a:gd name="f474" fmla="val 562"/>
                  <a:gd name="f475" fmla="val 1309"/>
                  <a:gd name="f476" fmla="val 552"/>
                  <a:gd name="f477" fmla="val 1324"/>
                  <a:gd name="f478" fmla="val 546"/>
                  <a:gd name="f479" fmla="val 540"/>
                  <a:gd name="f480" fmla="val 1333"/>
                  <a:gd name="f481" fmla="val 530"/>
                  <a:gd name="f482" fmla="val 1334"/>
                  <a:gd name="f483" fmla="val 511"/>
                  <a:gd name="f484" fmla="val 504"/>
                  <a:gd name="f485" fmla="val 1336"/>
                  <a:gd name="f486" fmla="val 493"/>
                  <a:gd name="f487" fmla="val 486"/>
                  <a:gd name="f488" fmla="val 481"/>
                  <a:gd name="f489" fmla="val 480"/>
                  <a:gd name="f490" fmla="val 1314"/>
                  <a:gd name="f491" fmla="val 483"/>
                  <a:gd name="f492" fmla="val 485"/>
                  <a:gd name="f493" fmla="val 1290"/>
                  <a:gd name="f494" fmla="val 482"/>
                  <a:gd name="f495" fmla="val 476"/>
                  <a:gd name="f496" fmla="val 474"/>
                  <a:gd name="f497" fmla="val 478"/>
                  <a:gd name="f498" fmla="val 1261"/>
                  <a:gd name="f499" fmla="val 1255"/>
                  <a:gd name="f500" fmla="val 472"/>
                  <a:gd name="f501" fmla="val 1250"/>
                  <a:gd name="f502" fmla="val 466"/>
                  <a:gd name="f503" fmla="val 1243"/>
                  <a:gd name="f504" fmla="val 1239"/>
                  <a:gd name="f505" fmla="val 1235"/>
                  <a:gd name="f506" fmla="val 1220"/>
                  <a:gd name="f507" fmla="val 455"/>
                  <a:gd name="f508" fmla="val 1211"/>
                  <a:gd name="f509" fmla="val 445"/>
                  <a:gd name="f510" fmla="val 436"/>
                  <a:gd name="f511" fmla="val 1190"/>
                  <a:gd name="f512" fmla="val 423"/>
                  <a:gd name="f513" fmla="val 1182"/>
                  <a:gd name="f514" fmla="val 395"/>
                  <a:gd name="f515" fmla="val 1168"/>
                  <a:gd name="f516" fmla="val 383"/>
                  <a:gd name="f517" fmla="val 1163"/>
                  <a:gd name="f518" fmla="val 376"/>
                  <a:gd name="f519" fmla="val 371"/>
                  <a:gd name="f520" fmla="val 367"/>
                  <a:gd name="f521" fmla="val 362"/>
                  <a:gd name="f522" fmla="val 357"/>
                  <a:gd name="f523" fmla="val 1174"/>
                  <a:gd name="f524" fmla="val 1178"/>
                  <a:gd name="f525" fmla="val 344"/>
                  <a:gd name="f526" fmla="val 337"/>
                  <a:gd name="f527" fmla="val 332"/>
                  <a:gd name="f528" fmla="val 1166"/>
                  <a:gd name="f529" fmla="val 340"/>
                  <a:gd name="f530" fmla="val 1139"/>
                  <a:gd name="f531" fmla="val 346"/>
                  <a:gd name="f532" fmla="val 1131"/>
                  <a:gd name="f533" fmla="val 1124"/>
                  <a:gd name="f534" fmla="val 1120"/>
                  <a:gd name="f535" fmla="val 349"/>
                  <a:gd name="f536" fmla="val 343"/>
                  <a:gd name="f537" fmla="val 1108"/>
                  <a:gd name="f538" fmla="val 1099"/>
                  <a:gd name="f539" fmla="val 320"/>
                  <a:gd name="f540" fmla="val 1080"/>
                  <a:gd name="f541" fmla="val 311"/>
                  <a:gd name="f542" fmla="val 1071"/>
                  <a:gd name="f543" fmla="val 1066"/>
                  <a:gd name="f544" fmla="val 296"/>
                  <a:gd name="f545" fmla="val 1063"/>
                  <a:gd name="f546" fmla="val 288"/>
                  <a:gd name="f547" fmla="val 1064"/>
                  <a:gd name="f548" fmla="val 279"/>
                  <a:gd name="f549" fmla="val 1068"/>
                  <a:gd name="f550" fmla="val 272"/>
                  <a:gd name="f551" fmla="val 1074"/>
                  <a:gd name="f552" fmla="val 264"/>
                  <a:gd name="f553" fmla="val 1078"/>
                  <a:gd name="f554" fmla="val 256"/>
                  <a:gd name="f555" fmla="val 250"/>
                  <a:gd name="f556" fmla="val 247"/>
                  <a:gd name="f557" fmla="val 1072"/>
                  <a:gd name="f558" fmla="val 1069"/>
                  <a:gd name="f559" fmla="val 1067"/>
                  <a:gd name="f560" fmla="val 225"/>
                  <a:gd name="f561" fmla="val 1075"/>
                  <a:gd name="f562" fmla="val 208"/>
                  <a:gd name="f563" fmla="val 196"/>
                  <a:gd name="f564" fmla="val 194"/>
                  <a:gd name="f565" fmla="val 1049"/>
                  <a:gd name="f566" fmla="val 193"/>
                  <a:gd name="f567" fmla="val 1043"/>
                  <a:gd name="f568" fmla="val 1039"/>
                  <a:gd name="f569" fmla="val 188"/>
                  <a:gd name="f570" fmla="val 1038"/>
                  <a:gd name="f571" fmla="val 184"/>
                  <a:gd name="f572" fmla="val 1045"/>
                  <a:gd name="f573" fmla="val 174"/>
                  <a:gd name="f574" fmla="val 1042"/>
                  <a:gd name="f575" fmla="val 1035"/>
                  <a:gd name="f576" fmla="val 157"/>
                  <a:gd name="f577" fmla="val 156"/>
                  <a:gd name="f578" fmla="val 1007"/>
                  <a:gd name="f579" fmla="val 153"/>
                  <a:gd name="f580" fmla="val 150"/>
                  <a:gd name="f581" fmla="val 985"/>
                  <a:gd name="f582" fmla="val 976"/>
                  <a:gd name="f583" fmla="val 142"/>
                  <a:gd name="f584" fmla="val 968"/>
                  <a:gd name="f585" fmla="val 137"/>
                  <a:gd name="f586" fmla="val 134"/>
                  <a:gd name="f587" fmla="val 967"/>
                  <a:gd name="f588" fmla="val 969"/>
                  <a:gd name="f589" fmla="val 113"/>
                  <a:gd name="f590" fmla="val 102"/>
                  <a:gd name="f591" fmla="val 964"/>
                  <a:gd name="f592" fmla="val 71"/>
                  <a:gd name="f593" fmla="val 58"/>
                  <a:gd name="f594" fmla="val 938"/>
                  <a:gd name="f595" fmla="val 47"/>
                  <a:gd name="f596" fmla="val 927"/>
                  <a:gd name="f597" fmla="val 29"/>
                  <a:gd name="f598" fmla="val 911"/>
                  <a:gd name="f599" fmla="val 909"/>
                  <a:gd name="f600" fmla="val 9"/>
                  <a:gd name="f601" fmla="val 914"/>
                  <a:gd name="f602" fmla="val 904"/>
                  <a:gd name="f603" fmla="val 15"/>
                  <a:gd name="f604" fmla="val 894"/>
                  <a:gd name="f605" fmla="val 20"/>
                  <a:gd name="f606" fmla="val 24"/>
                  <a:gd name="f607" fmla="val 26"/>
                  <a:gd name="f608" fmla="val 875"/>
                  <a:gd name="f609" fmla="val 27"/>
                  <a:gd name="f610" fmla="val 28"/>
                  <a:gd name="f611" fmla="val 31"/>
                  <a:gd name="f612" fmla="val 70"/>
                  <a:gd name="f613" fmla="val 79"/>
                  <a:gd name="f614" fmla="val 786"/>
                  <a:gd name="f615" fmla="val 83"/>
                  <a:gd name="f616" fmla="val 82"/>
                  <a:gd name="f617" fmla="val 768"/>
                  <a:gd name="f618" fmla="val 106"/>
                  <a:gd name="f619" fmla="val 756"/>
                  <a:gd name="f620" fmla="val 751"/>
                  <a:gd name="f621" fmla="val 746"/>
                  <a:gd name="f622" fmla="val 141"/>
                  <a:gd name="f623" fmla="val 144"/>
                  <a:gd name="f624" fmla="val 145"/>
                  <a:gd name="f625" fmla="val 734"/>
                  <a:gd name="f626" fmla="val 143"/>
                  <a:gd name="f627" fmla="val 138"/>
                  <a:gd name="f628" fmla="val 714"/>
                  <a:gd name="f629" fmla="val 699"/>
                  <a:gd name="f630" fmla="val 685"/>
                  <a:gd name="f631" fmla="val 130"/>
                  <a:gd name="f632" fmla="val 680"/>
                  <a:gd name="f633" fmla="val 656"/>
                  <a:gd name="f634" fmla="val 99"/>
                  <a:gd name="f635" fmla="val 85"/>
                  <a:gd name="f636" fmla="val 647"/>
                  <a:gd name="f637" fmla="val 653"/>
                  <a:gd name="f638" fmla="val 62"/>
                  <a:gd name="f639" fmla="val 57"/>
                  <a:gd name="f640" fmla="val 654"/>
                  <a:gd name="f641" fmla="val 649"/>
                  <a:gd name="f642" fmla="val 49"/>
                  <a:gd name="f643" fmla="val 639"/>
                  <a:gd name="f644" fmla="val 624"/>
                  <a:gd name="f645" fmla="val 617"/>
                  <a:gd name="f646" fmla="val 41"/>
                  <a:gd name="f647" fmla="val 610"/>
                  <a:gd name="f648" fmla="val 34"/>
                  <a:gd name="f649" fmla="val 604"/>
                  <a:gd name="f650" fmla="val 23"/>
                  <a:gd name="f651" fmla="val 592"/>
                  <a:gd name="f652" fmla="val 587"/>
                  <a:gd name="f653" fmla="val 581"/>
                  <a:gd name="f654" fmla="val 577"/>
                  <a:gd name="f655" fmla="val 563"/>
                  <a:gd name="f656" fmla="val 60"/>
                  <a:gd name="f657" fmla="val 555"/>
                  <a:gd name="f658" fmla="val 548"/>
                  <a:gd name="f659" fmla="val 78"/>
                  <a:gd name="f660" fmla="val 527"/>
                  <a:gd name="f661" fmla="val 84"/>
                  <a:gd name="f662" fmla="val 517"/>
                  <a:gd name="f663" fmla="val 491"/>
                  <a:gd name="f664" fmla="val 479"/>
                  <a:gd name="f665" fmla="val 463"/>
                  <a:gd name="f666" fmla="val 100"/>
                  <a:gd name="f667" fmla="val 105"/>
                  <a:gd name="f668" fmla="val 109"/>
                  <a:gd name="f669" fmla="val 488"/>
                  <a:gd name="f670" fmla="val 115"/>
                  <a:gd name="f671" fmla="val 487"/>
                  <a:gd name="f672" fmla="val 128"/>
                  <a:gd name="f673" fmla="val 151"/>
                  <a:gd name="f674" fmla="val 477"/>
                  <a:gd name="f675" fmla="val 167"/>
                  <a:gd name="f676" fmla="val 189"/>
                  <a:gd name="f677" fmla="val 200"/>
                  <a:gd name="f678" fmla="val 210"/>
                  <a:gd name="f679" fmla="val 251"/>
                  <a:gd name="f680" fmla="val 470"/>
                  <a:gd name="f681" fmla="val 465"/>
                  <a:gd name="f682" fmla="val 276"/>
                  <a:gd name="f683" fmla="val 461"/>
                  <a:gd name="f684" fmla="val 283"/>
                  <a:gd name="f685" fmla="val 284"/>
                  <a:gd name="f686" fmla="val 282"/>
                  <a:gd name="f687" fmla="val 448"/>
                  <a:gd name="f688" fmla="val 278"/>
                  <a:gd name="f689" fmla="val 441"/>
                  <a:gd name="f690" fmla="val 274"/>
                  <a:gd name="f691" fmla="val 431"/>
                  <a:gd name="f692" fmla="val 426"/>
                  <a:gd name="f693" fmla="val 289"/>
                  <a:gd name="f694" fmla="val 417"/>
                  <a:gd name="f695" fmla="val 410"/>
                  <a:gd name="f696" fmla="val 402"/>
                  <a:gd name="f697" fmla="val 295"/>
                  <a:gd name="f698" fmla="val 291"/>
                  <a:gd name="f699" fmla="val 387"/>
                  <a:gd name="f700" fmla="val 285"/>
                  <a:gd name="f701" fmla="val 375"/>
                  <a:gd name="f702" fmla="val 363"/>
                  <a:gd name="f703" fmla="val 270"/>
                  <a:gd name="f704" fmla="val 338"/>
                  <a:gd name="f705" fmla="val 258"/>
                  <a:gd name="f706" fmla="val 327"/>
                  <a:gd name="f707" fmla="val 253"/>
                  <a:gd name="f708" fmla="val 316"/>
                  <a:gd name="f709" fmla="val 249"/>
                  <a:gd name="f710" fmla="val 305"/>
                  <a:gd name="f711" fmla="val 299"/>
                  <a:gd name="f712" fmla="val 246"/>
                  <a:gd name="f713" fmla="val 297"/>
                  <a:gd name="f714" fmla="val 254"/>
                  <a:gd name="f715" fmla="val 263"/>
                  <a:gd name="f716" fmla="val 292"/>
                  <a:gd name="f717" fmla="val 275"/>
                  <a:gd name="f718" fmla="val 277"/>
                  <a:gd name="f719" fmla="val 273"/>
                  <a:gd name="f720" fmla="val 280"/>
                  <a:gd name="f721" fmla="val 269"/>
                  <a:gd name="f722" fmla="val 287"/>
                  <a:gd name="f723" fmla="val 267"/>
                  <a:gd name="f724" fmla="val 266"/>
                  <a:gd name="f725" fmla="val 307"/>
                  <a:gd name="f726" fmla="val 319"/>
                  <a:gd name="f727" fmla="val 331"/>
                  <a:gd name="f728" fmla="val 260"/>
                  <a:gd name="f729" fmla="val 255"/>
                  <a:gd name="f730" fmla="val 347"/>
                  <a:gd name="f731" fmla="val 364"/>
                  <a:gd name="f732" fmla="val 224"/>
                  <a:gd name="f733" fmla="val 218"/>
                  <a:gd name="f734" fmla="val 396"/>
                  <a:gd name="f735" fmla="val 212"/>
                  <a:gd name="f736" fmla="val 207"/>
                  <a:gd name="f737" fmla="val 405"/>
                  <a:gd name="f738" fmla="val 400"/>
                  <a:gd name="f739" fmla="val 165"/>
                  <a:gd name="f740" fmla="val 390"/>
                  <a:gd name="f741" fmla="val 164"/>
                  <a:gd name="f742" fmla="val 368"/>
                  <a:gd name="f743" fmla="val 370"/>
                  <a:gd name="f744" fmla="val 147"/>
                  <a:gd name="f745" fmla="val 378"/>
                  <a:gd name="f746" fmla="val 399"/>
                  <a:gd name="f747" fmla="val 123"/>
                  <a:gd name="f748" fmla="val 397"/>
                  <a:gd name="f749" fmla="val 121"/>
                  <a:gd name="f750" fmla="val 119"/>
                  <a:gd name="f751" fmla="val 385"/>
                  <a:gd name="f752" fmla="val 382"/>
                  <a:gd name="f753" fmla="val 116"/>
                  <a:gd name="f754" fmla="val 386"/>
                  <a:gd name="f755" fmla="val 391"/>
                  <a:gd name="f756" fmla="val 394"/>
                  <a:gd name="f757" fmla="val 103"/>
                  <a:gd name="f758" fmla="val 398"/>
                  <a:gd name="f759" fmla="val 401"/>
                  <a:gd name="f760" fmla="val 101"/>
                  <a:gd name="f761" fmla="val 93"/>
                  <a:gd name="f762" fmla="val 77"/>
                  <a:gd name="f763" fmla="val 63"/>
                  <a:gd name="f764" fmla="val 406"/>
                  <a:gd name="f765" fmla="val 61"/>
                  <a:gd name="f766" fmla="val 414"/>
                  <a:gd name="f767" fmla="val 54"/>
                  <a:gd name="f768" fmla="val 44"/>
                  <a:gd name="f769" fmla="val 416"/>
                  <a:gd name="f770" fmla="val 413"/>
                  <a:gd name="f771" fmla="val 3"/>
                  <a:gd name="f772" fmla="+- 0 0 -90"/>
                  <a:gd name="f773" fmla="*/ f4 1 1000"/>
                  <a:gd name="f774" fmla="*/ f5 1 1339"/>
                  <a:gd name="f775" fmla="+- f8 0 f6"/>
                  <a:gd name="f776" fmla="+- f7 0 f6"/>
                  <a:gd name="f777" fmla="*/ f772 f0 1"/>
                  <a:gd name="f778" fmla="*/ f776 1 1000"/>
                  <a:gd name="f779" fmla="*/ f775 1 1339"/>
                  <a:gd name="f780" fmla="*/ f777 1 f3"/>
                  <a:gd name="f781" fmla="*/ 499 1 f778"/>
                  <a:gd name="f782" fmla="*/ 8 1 f779"/>
                  <a:gd name="f783" fmla="*/ 554 1 f778"/>
                  <a:gd name="f784" fmla="*/ 51 1 f779"/>
                  <a:gd name="f785" fmla="*/ 640 1 f778"/>
                  <a:gd name="f786" fmla="*/ 86 1 f779"/>
                  <a:gd name="f787" fmla="*/ 704 1 f778"/>
                  <a:gd name="f788" fmla="*/ 97 1 f779"/>
                  <a:gd name="f789" fmla="*/ 691 1 f778"/>
                  <a:gd name="f790" fmla="*/ 159 1 f779"/>
                  <a:gd name="f791" fmla="*/ 717 1 f778"/>
                  <a:gd name="f792" fmla="*/ 198 1 f779"/>
                  <a:gd name="f793" fmla="*/ 778 1 f778"/>
                  <a:gd name="f794" fmla="*/ 235 1 f779"/>
                  <a:gd name="f795" fmla="*/ 796 1 f778"/>
                  <a:gd name="f796" fmla="*/ 233 1 f779"/>
                  <a:gd name="f797" fmla="*/ 825 1 f778"/>
                  <a:gd name="f798" fmla="*/ 199 1 f779"/>
                  <a:gd name="f799" fmla="*/ 830 1 f778"/>
                  <a:gd name="f800" fmla="*/ 132 1 f779"/>
                  <a:gd name="f801" fmla="*/ 955 1 f778"/>
                  <a:gd name="f802" fmla="*/ 146 1 f779"/>
                  <a:gd name="f803" fmla="*/ 973 1 f778"/>
                  <a:gd name="f804" fmla="*/ 265 1 f779"/>
                  <a:gd name="f805" fmla="*/ 995 1 f778"/>
                  <a:gd name="f806" fmla="*/ 324 1 f779"/>
                  <a:gd name="f807" fmla="*/ 933 1 f778"/>
                  <a:gd name="f808" fmla="*/ 392 1 f779"/>
                  <a:gd name="f809" fmla="*/ 868 1 f778"/>
                  <a:gd name="f810" fmla="*/ 460 1 f779"/>
                  <a:gd name="f811" fmla="*/ 839 1 f778"/>
                  <a:gd name="f812" fmla="*/ 538 1 f779"/>
                  <a:gd name="f813" fmla="*/ 812 1 f778"/>
                  <a:gd name="f814" fmla="*/ 628 1 f779"/>
                  <a:gd name="f815" fmla="*/ 766 1 f778"/>
                  <a:gd name="f816" fmla="*/ 688 1 f779"/>
                  <a:gd name="f817" fmla="*/ 723 1 f778"/>
                  <a:gd name="f818" fmla="*/ 776 1 f779"/>
                  <a:gd name="f819" fmla="*/ 744 1 f778"/>
                  <a:gd name="f820" fmla="*/ 810 1 f779"/>
                  <a:gd name="f821" fmla="*/ 731 1 f778"/>
                  <a:gd name="f822" fmla="*/ 860 1 f779"/>
                  <a:gd name="f823" fmla="*/ 777 1 f778"/>
                  <a:gd name="f824" fmla="*/ 919 1 f779"/>
                  <a:gd name="f825" fmla="*/ 809 1 f778"/>
                  <a:gd name="f826" fmla="*/ 1008 1 f779"/>
                  <a:gd name="f827" fmla="*/ 864 1 f778"/>
                  <a:gd name="f828" fmla="*/ 1037 1 f779"/>
                  <a:gd name="f829" fmla="*/ 867 1 f778"/>
                  <a:gd name="f830" fmla="*/ 1097 1 f779"/>
                  <a:gd name="f831" fmla="*/ 1160 1 f779"/>
                  <a:gd name="f832" fmla="*/ 840 1 f778"/>
                  <a:gd name="f833" fmla="*/ 1207 1 f779"/>
                  <a:gd name="f834" fmla="*/ 823 1 f778"/>
                  <a:gd name="f835" fmla="*/ 1285 1 f779"/>
                  <a:gd name="f836" fmla="*/ 1267 1 f779"/>
                  <a:gd name="f837" fmla="*/ 725 1 f778"/>
                  <a:gd name="f838" fmla="*/ 1297 1 f779"/>
                  <a:gd name="f839" fmla="*/ 666 1 f778"/>
                  <a:gd name="f840" fmla="*/ 1276 1 f779"/>
                  <a:gd name="f841" fmla="*/ 620 1 f778"/>
                  <a:gd name="f842" fmla="*/ 1329 1 f779"/>
                  <a:gd name="f843" fmla="*/ 546 1 f778"/>
                  <a:gd name="f844" fmla="*/ 481 1 f778"/>
                  <a:gd name="f845" fmla="*/ 1314 1 f779"/>
                  <a:gd name="f846" fmla="*/ 466 1 f778"/>
                  <a:gd name="f847" fmla="*/ 1243 1 f779"/>
                  <a:gd name="f848" fmla="*/ 383 1 f778"/>
                  <a:gd name="f849" fmla="*/ 1163 1 f779"/>
                  <a:gd name="f850" fmla="*/ 332 1 f778"/>
                  <a:gd name="f851" fmla="*/ 1156 1 f779"/>
                  <a:gd name="f852" fmla="*/ 303 1 f778"/>
                  <a:gd name="f853" fmla="*/ 1066 1 f779"/>
                  <a:gd name="f854" fmla="*/ 237 1 f778"/>
                  <a:gd name="f855" fmla="*/ 1069 1 f779"/>
                  <a:gd name="f856" fmla="*/ 193 1 f778"/>
                  <a:gd name="f857" fmla="*/ 1043 1 f779"/>
                  <a:gd name="f858" fmla="*/ 157 1 f778"/>
                  <a:gd name="f859" fmla="*/ 1015 1 f779"/>
                  <a:gd name="f860" fmla="*/ 113 1 f778"/>
                  <a:gd name="f861" fmla="*/ 968 1 f779"/>
                  <a:gd name="f862" fmla="*/ 0 1 f778"/>
                  <a:gd name="f863" fmla="*/ 914 1 f779"/>
                  <a:gd name="f864" fmla="*/ 39 1 f778"/>
                  <a:gd name="f865" fmla="*/ 828 1 f779"/>
                  <a:gd name="f866" fmla="*/ 94 1 f778"/>
                  <a:gd name="f867" fmla="*/ 763 1 f779"/>
                  <a:gd name="f868" fmla="*/ 134 1 f778"/>
                  <a:gd name="f869" fmla="*/ 706 1 f779"/>
                  <a:gd name="f870" fmla="*/ 70 1 f778"/>
                  <a:gd name="f871" fmla="*/ 653 1 f779"/>
                  <a:gd name="f872" fmla="*/ 27 1 f778"/>
                  <a:gd name="f873" fmla="*/ 597 1 f779"/>
                  <a:gd name="f874" fmla="*/ 82 1 f778"/>
                  <a:gd name="f875" fmla="*/ 535 1 f779"/>
                  <a:gd name="f876" fmla="*/ 102 1 f778"/>
                  <a:gd name="f877" fmla="*/ 480 1 f779"/>
                  <a:gd name="f878" fmla="*/ 173 1 f778"/>
                  <a:gd name="f879" fmla="*/ 276 1 f778"/>
                  <a:gd name="f880" fmla="*/ 461 1 f779"/>
                  <a:gd name="f881" fmla="*/ 294 1 f778"/>
                  <a:gd name="f882" fmla="*/ 410 1 f779"/>
                  <a:gd name="f883" fmla="*/ 251 1 f778"/>
                  <a:gd name="f884" fmla="*/ 316 1 f779"/>
                  <a:gd name="f885" fmla="*/ 270 1 f778"/>
                  <a:gd name="f886" fmla="*/ 292 1 f779"/>
                  <a:gd name="f887" fmla="*/ 331 1 f778"/>
                  <a:gd name="f888" fmla="*/ 260 1 f779"/>
                  <a:gd name="f889" fmla="*/ 405 1 f778"/>
                  <a:gd name="f890" fmla="*/ 189 1 f779"/>
                  <a:gd name="f891" fmla="*/ 370 1 f778"/>
                  <a:gd name="f892" fmla="*/ 147 1 f779"/>
                  <a:gd name="f893" fmla="*/ 390 1 f778"/>
                  <a:gd name="f894" fmla="*/ 118 1 f779"/>
                  <a:gd name="f895" fmla="*/ 398 1 f778"/>
                  <a:gd name="f896" fmla="*/ 103 1 f779"/>
                  <a:gd name="f897" fmla="*/ 423 1 f778"/>
                  <a:gd name="f898" fmla="*/ 32 1 f779"/>
                  <a:gd name="f899" fmla="*/ f7 1 f778"/>
                  <a:gd name="f900" fmla="*/ 0 1 f779"/>
                  <a:gd name="f901" fmla="*/ f8 1 f779"/>
                  <a:gd name="f902" fmla="+- f780 0 f1"/>
                  <a:gd name="f903" fmla="*/ f862 f773 1"/>
                  <a:gd name="f904" fmla="*/ f899 f773 1"/>
                  <a:gd name="f905" fmla="*/ f901 f774 1"/>
                  <a:gd name="f906" fmla="*/ f900 f774 1"/>
                  <a:gd name="f907" fmla="*/ f781 f773 1"/>
                  <a:gd name="f908" fmla="*/ f782 f774 1"/>
                  <a:gd name="f909" fmla="*/ f783 f773 1"/>
                  <a:gd name="f910" fmla="*/ f784 f774 1"/>
                  <a:gd name="f911" fmla="*/ f785 f773 1"/>
                  <a:gd name="f912" fmla="*/ f786 f774 1"/>
                  <a:gd name="f913" fmla="*/ f787 f773 1"/>
                  <a:gd name="f914" fmla="*/ f788 f774 1"/>
                  <a:gd name="f915" fmla="*/ f789 f773 1"/>
                  <a:gd name="f916" fmla="*/ f790 f774 1"/>
                  <a:gd name="f917" fmla="*/ f791 f773 1"/>
                  <a:gd name="f918" fmla="*/ f792 f774 1"/>
                  <a:gd name="f919" fmla="*/ f793 f773 1"/>
                  <a:gd name="f920" fmla="*/ f794 f774 1"/>
                  <a:gd name="f921" fmla="*/ f795 f773 1"/>
                  <a:gd name="f922" fmla="*/ f796 f774 1"/>
                  <a:gd name="f923" fmla="*/ f797 f773 1"/>
                  <a:gd name="f924" fmla="*/ f798 f774 1"/>
                  <a:gd name="f925" fmla="*/ f799 f773 1"/>
                  <a:gd name="f926" fmla="*/ f800 f774 1"/>
                  <a:gd name="f927" fmla="*/ f801 f773 1"/>
                  <a:gd name="f928" fmla="*/ f802 f774 1"/>
                  <a:gd name="f929" fmla="*/ f803 f773 1"/>
                  <a:gd name="f930" fmla="*/ f804 f774 1"/>
                  <a:gd name="f931" fmla="*/ f805 f773 1"/>
                  <a:gd name="f932" fmla="*/ f806 f774 1"/>
                  <a:gd name="f933" fmla="*/ f807 f773 1"/>
                  <a:gd name="f934" fmla="*/ f808 f774 1"/>
                  <a:gd name="f935" fmla="*/ f809 f773 1"/>
                  <a:gd name="f936" fmla="*/ f810 f774 1"/>
                  <a:gd name="f937" fmla="*/ f811 f773 1"/>
                  <a:gd name="f938" fmla="*/ f812 f774 1"/>
                  <a:gd name="f939" fmla="*/ f813 f773 1"/>
                  <a:gd name="f940" fmla="*/ f814 f774 1"/>
                  <a:gd name="f941" fmla="*/ f815 f773 1"/>
                  <a:gd name="f942" fmla="*/ f816 f774 1"/>
                  <a:gd name="f943" fmla="*/ f817 f773 1"/>
                  <a:gd name="f944" fmla="*/ f818 f774 1"/>
                  <a:gd name="f945" fmla="*/ f819 f773 1"/>
                  <a:gd name="f946" fmla="*/ f820 f774 1"/>
                  <a:gd name="f947" fmla="*/ f821 f773 1"/>
                  <a:gd name="f948" fmla="*/ f822 f774 1"/>
                  <a:gd name="f949" fmla="*/ f823 f773 1"/>
                  <a:gd name="f950" fmla="*/ f824 f774 1"/>
                  <a:gd name="f951" fmla="*/ f825 f773 1"/>
                  <a:gd name="f952" fmla="*/ f826 f774 1"/>
                  <a:gd name="f953" fmla="*/ f827 f773 1"/>
                  <a:gd name="f954" fmla="*/ f828 f774 1"/>
                  <a:gd name="f955" fmla="*/ f829 f773 1"/>
                  <a:gd name="f956" fmla="*/ f830 f774 1"/>
                  <a:gd name="f957" fmla="*/ f831 f774 1"/>
                  <a:gd name="f958" fmla="*/ f832 f773 1"/>
                  <a:gd name="f959" fmla="*/ f833 f774 1"/>
                  <a:gd name="f960" fmla="*/ f834 f773 1"/>
                  <a:gd name="f961" fmla="*/ f835 f774 1"/>
                  <a:gd name="f962" fmla="*/ f836 f774 1"/>
                  <a:gd name="f963" fmla="*/ f837 f773 1"/>
                  <a:gd name="f964" fmla="*/ f838 f774 1"/>
                  <a:gd name="f965" fmla="*/ f839 f773 1"/>
                  <a:gd name="f966" fmla="*/ f840 f774 1"/>
                  <a:gd name="f967" fmla="*/ f841 f773 1"/>
                  <a:gd name="f968" fmla="*/ f842 f774 1"/>
                  <a:gd name="f969" fmla="*/ f843 f773 1"/>
                  <a:gd name="f970" fmla="*/ f844 f773 1"/>
                  <a:gd name="f971" fmla="*/ f845 f774 1"/>
                  <a:gd name="f972" fmla="*/ f846 f773 1"/>
                  <a:gd name="f973" fmla="*/ f847 f774 1"/>
                  <a:gd name="f974" fmla="*/ f848 f773 1"/>
                  <a:gd name="f975" fmla="*/ f849 f774 1"/>
                  <a:gd name="f976" fmla="*/ f850 f773 1"/>
                  <a:gd name="f977" fmla="*/ f851 f774 1"/>
                  <a:gd name="f978" fmla="*/ f852 f773 1"/>
                  <a:gd name="f979" fmla="*/ f853 f774 1"/>
                  <a:gd name="f980" fmla="*/ f854 f773 1"/>
                  <a:gd name="f981" fmla="*/ f855 f774 1"/>
                  <a:gd name="f982" fmla="*/ f856 f773 1"/>
                  <a:gd name="f983" fmla="*/ f857 f774 1"/>
                  <a:gd name="f984" fmla="*/ f858 f773 1"/>
                  <a:gd name="f985" fmla="*/ f859 f774 1"/>
                  <a:gd name="f986" fmla="*/ f860 f773 1"/>
                  <a:gd name="f987" fmla="*/ f861 f774 1"/>
                  <a:gd name="f988" fmla="*/ f863 f774 1"/>
                  <a:gd name="f989" fmla="*/ f864 f773 1"/>
                  <a:gd name="f990" fmla="*/ f865 f774 1"/>
                  <a:gd name="f991" fmla="*/ f866 f773 1"/>
                  <a:gd name="f992" fmla="*/ f867 f774 1"/>
                  <a:gd name="f993" fmla="*/ f868 f773 1"/>
                  <a:gd name="f994" fmla="*/ f869 f774 1"/>
                  <a:gd name="f995" fmla="*/ f870 f773 1"/>
                  <a:gd name="f996" fmla="*/ f871 f774 1"/>
                  <a:gd name="f997" fmla="*/ f872 f773 1"/>
                  <a:gd name="f998" fmla="*/ f873 f774 1"/>
                  <a:gd name="f999" fmla="*/ f874 f773 1"/>
                  <a:gd name="f1000" fmla="*/ f875 f774 1"/>
                  <a:gd name="f1001" fmla="*/ f876 f773 1"/>
                  <a:gd name="f1002" fmla="*/ f877 f774 1"/>
                  <a:gd name="f1003" fmla="*/ f878 f773 1"/>
                  <a:gd name="f1004" fmla="*/ f879 f773 1"/>
                  <a:gd name="f1005" fmla="*/ f880 f774 1"/>
                  <a:gd name="f1006" fmla="*/ f881 f773 1"/>
                  <a:gd name="f1007" fmla="*/ f882 f774 1"/>
                  <a:gd name="f1008" fmla="*/ f883 f773 1"/>
                  <a:gd name="f1009" fmla="*/ f884 f774 1"/>
                  <a:gd name="f1010" fmla="*/ f885 f773 1"/>
                  <a:gd name="f1011" fmla="*/ f886 f774 1"/>
                  <a:gd name="f1012" fmla="*/ f887 f773 1"/>
                  <a:gd name="f1013" fmla="*/ f888 f774 1"/>
                  <a:gd name="f1014" fmla="*/ f889 f773 1"/>
                  <a:gd name="f1015" fmla="*/ f890 f774 1"/>
                  <a:gd name="f1016" fmla="*/ f891 f773 1"/>
                  <a:gd name="f1017" fmla="*/ f892 f774 1"/>
                  <a:gd name="f1018" fmla="*/ f893 f773 1"/>
                  <a:gd name="f1019" fmla="*/ f894 f774 1"/>
                  <a:gd name="f1020" fmla="*/ f895 f773 1"/>
                  <a:gd name="f1021" fmla="*/ f896 f774 1"/>
                  <a:gd name="f1022" fmla="*/ f897 f773 1"/>
                  <a:gd name="f1023" fmla="*/ f898 f77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902">
                    <a:pos x="f907" y="f908"/>
                  </a:cxn>
                  <a:cxn ang="f902">
                    <a:pos x="f909" y="f910"/>
                  </a:cxn>
                  <a:cxn ang="f902">
                    <a:pos x="f911" y="f912"/>
                  </a:cxn>
                  <a:cxn ang="f902">
                    <a:pos x="f913" y="f914"/>
                  </a:cxn>
                  <a:cxn ang="f902">
                    <a:pos x="f915" y="f916"/>
                  </a:cxn>
                  <a:cxn ang="f902">
                    <a:pos x="f917" y="f918"/>
                  </a:cxn>
                  <a:cxn ang="f902">
                    <a:pos x="f919" y="f920"/>
                  </a:cxn>
                  <a:cxn ang="f902">
                    <a:pos x="f921" y="f922"/>
                  </a:cxn>
                  <a:cxn ang="f902">
                    <a:pos x="f923" y="f924"/>
                  </a:cxn>
                  <a:cxn ang="f902">
                    <a:pos x="f925" y="f926"/>
                  </a:cxn>
                  <a:cxn ang="f902">
                    <a:pos x="f927" y="f928"/>
                  </a:cxn>
                  <a:cxn ang="f902">
                    <a:pos x="f929" y="f930"/>
                  </a:cxn>
                  <a:cxn ang="f902">
                    <a:pos x="f931" y="f932"/>
                  </a:cxn>
                  <a:cxn ang="f902">
                    <a:pos x="f933" y="f934"/>
                  </a:cxn>
                  <a:cxn ang="f902">
                    <a:pos x="f935" y="f936"/>
                  </a:cxn>
                  <a:cxn ang="f902">
                    <a:pos x="f937" y="f938"/>
                  </a:cxn>
                  <a:cxn ang="f902">
                    <a:pos x="f939" y="f940"/>
                  </a:cxn>
                  <a:cxn ang="f902">
                    <a:pos x="f941" y="f942"/>
                  </a:cxn>
                  <a:cxn ang="f902">
                    <a:pos x="f943" y="f944"/>
                  </a:cxn>
                  <a:cxn ang="f902">
                    <a:pos x="f945" y="f946"/>
                  </a:cxn>
                  <a:cxn ang="f902">
                    <a:pos x="f947" y="f948"/>
                  </a:cxn>
                  <a:cxn ang="f902">
                    <a:pos x="f949" y="f950"/>
                  </a:cxn>
                  <a:cxn ang="f902">
                    <a:pos x="f951" y="f952"/>
                  </a:cxn>
                  <a:cxn ang="f902">
                    <a:pos x="f953" y="f954"/>
                  </a:cxn>
                  <a:cxn ang="f902">
                    <a:pos x="f955" y="f956"/>
                  </a:cxn>
                  <a:cxn ang="f902">
                    <a:pos x="f935" y="f957"/>
                  </a:cxn>
                  <a:cxn ang="f902">
                    <a:pos x="f958" y="f959"/>
                  </a:cxn>
                  <a:cxn ang="f902">
                    <a:pos x="f960" y="f961"/>
                  </a:cxn>
                  <a:cxn ang="f902">
                    <a:pos x="f941" y="f962"/>
                  </a:cxn>
                  <a:cxn ang="f902">
                    <a:pos x="f963" y="f964"/>
                  </a:cxn>
                  <a:cxn ang="f902">
                    <a:pos x="f965" y="f966"/>
                  </a:cxn>
                  <a:cxn ang="f902">
                    <a:pos x="f967" y="f968"/>
                  </a:cxn>
                  <a:cxn ang="f902">
                    <a:pos x="f969" y="f968"/>
                  </a:cxn>
                  <a:cxn ang="f902">
                    <a:pos x="f970" y="f971"/>
                  </a:cxn>
                  <a:cxn ang="f902">
                    <a:pos x="f972" y="f973"/>
                  </a:cxn>
                  <a:cxn ang="f902">
                    <a:pos x="f974" y="f975"/>
                  </a:cxn>
                  <a:cxn ang="f902">
                    <a:pos x="f976" y="f977"/>
                  </a:cxn>
                  <a:cxn ang="f902">
                    <a:pos x="f978" y="f979"/>
                  </a:cxn>
                  <a:cxn ang="f902">
                    <a:pos x="f980" y="f981"/>
                  </a:cxn>
                  <a:cxn ang="f902">
                    <a:pos x="f982" y="f983"/>
                  </a:cxn>
                  <a:cxn ang="f902">
                    <a:pos x="f984" y="f985"/>
                  </a:cxn>
                  <a:cxn ang="f902">
                    <a:pos x="f986" y="f987"/>
                  </a:cxn>
                  <a:cxn ang="f902">
                    <a:pos x="f903" y="f988"/>
                  </a:cxn>
                  <a:cxn ang="f902">
                    <a:pos x="f989" y="f990"/>
                  </a:cxn>
                  <a:cxn ang="f902">
                    <a:pos x="f991" y="f992"/>
                  </a:cxn>
                  <a:cxn ang="f902">
                    <a:pos x="f993" y="f994"/>
                  </a:cxn>
                  <a:cxn ang="f902">
                    <a:pos x="f995" y="f996"/>
                  </a:cxn>
                  <a:cxn ang="f902">
                    <a:pos x="f997" y="f998"/>
                  </a:cxn>
                  <a:cxn ang="f902">
                    <a:pos x="f999" y="f1000"/>
                  </a:cxn>
                  <a:cxn ang="f902">
                    <a:pos x="f1001" y="f1002"/>
                  </a:cxn>
                  <a:cxn ang="f902">
                    <a:pos x="f1003" y="f1002"/>
                  </a:cxn>
                  <a:cxn ang="f902">
                    <a:pos x="f1004" y="f1005"/>
                  </a:cxn>
                  <a:cxn ang="f902">
                    <a:pos x="f1006" y="f1007"/>
                  </a:cxn>
                  <a:cxn ang="f902">
                    <a:pos x="f1008" y="f1009"/>
                  </a:cxn>
                  <a:cxn ang="f902">
                    <a:pos x="f1010" y="f1011"/>
                  </a:cxn>
                  <a:cxn ang="f902">
                    <a:pos x="f1012" y="f1013"/>
                  </a:cxn>
                  <a:cxn ang="f902">
                    <a:pos x="f1014" y="f1015"/>
                  </a:cxn>
                  <a:cxn ang="f902">
                    <a:pos x="f1016" y="f1017"/>
                  </a:cxn>
                  <a:cxn ang="f902">
                    <a:pos x="f1018" y="f1019"/>
                  </a:cxn>
                  <a:cxn ang="f902">
                    <a:pos x="f1020" y="f1021"/>
                  </a:cxn>
                  <a:cxn ang="f902">
                    <a:pos x="f1022" y="f1023"/>
                  </a:cxn>
                </a:cxnLst>
                <a:rect l="f903" t="f906" r="f904" b="f905"/>
                <a:pathLst>
                  <a:path w="1000" h="1339">
                    <a:moveTo>
                      <a:pt x="f9" y="f6"/>
                    </a:moveTo>
                    <a:lnTo>
                      <a:pt x="f10" y="f6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0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5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0"/>
                    </a:lnTo>
                    <a:lnTo>
                      <a:pt x="f44" y="f36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4"/>
                    </a:lnTo>
                    <a:lnTo>
                      <a:pt x="f76" y="f72"/>
                    </a:lnTo>
                    <a:lnTo>
                      <a:pt x="f77" y="f72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lnTo>
                      <a:pt x="f77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1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80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107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16" y="f120"/>
                    </a:lnTo>
                    <a:lnTo>
                      <a:pt x="f121" y="f122"/>
                    </a:lnTo>
                    <a:lnTo>
                      <a:pt x="f123" y="f122"/>
                    </a:lnTo>
                    <a:lnTo>
                      <a:pt x="f124" y="f125"/>
                    </a:lnTo>
                    <a:lnTo>
                      <a:pt x="f126" y="f125"/>
                    </a:ln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38"/>
                    </a:lnTo>
                    <a:lnTo>
                      <a:pt x="f140" y="f136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3" y="f145"/>
                    </a:lnTo>
                    <a:lnTo>
                      <a:pt x="f146" y="f132"/>
                    </a:lnTo>
                    <a:lnTo>
                      <a:pt x="f147" y="f148"/>
                    </a:lnTo>
                    <a:lnTo>
                      <a:pt x="f149" y="f130"/>
                    </a:lnTo>
                    <a:lnTo>
                      <a:pt x="f150" y="f128"/>
                    </a:lnTo>
                    <a:lnTo>
                      <a:pt x="f151" y="f128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6" y="f158"/>
                    </a:lnTo>
                    <a:lnTo>
                      <a:pt x="f159" y="f160"/>
                    </a:lnTo>
                    <a:lnTo>
                      <a:pt x="f152" y="f161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4" y="f166"/>
                    </a:lnTo>
                    <a:lnTo>
                      <a:pt x="f162" y="f167"/>
                    </a:lnTo>
                    <a:lnTo>
                      <a:pt x="f151" y="f111"/>
                    </a:lnTo>
                    <a:lnTo>
                      <a:pt x="f168" y="f169"/>
                    </a:lnTo>
                    <a:lnTo>
                      <a:pt x="f170" y="f101"/>
                    </a:lnTo>
                    <a:lnTo>
                      <a:pt x="f170" y="f171"/>
                    </a:lnTo>
                    <a:lnTo>
                      <a:pt x="f152" y="f172"/>
                    </a:lnTo>
                    <a:lnTo>
                      <a:pt x="f173" y="f92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3" y="f178"/>
                    </a:lnTo>
                    <a:lnTo>
                      <a:pt x="f179" y="f180"/>
                    </a:lnTo>
                    <a:lnTo>
                      <a:pt x="f181" y="f180"/>
                    </a:lnTo>
                    <a:lnTo>
                      <a:pt x="f182" y="f86"/>
                    </a:lnTo>
                    <a:lnTo>
                      <a:pt x="f183" y="f184"/>
                    </a:lnTo>
                    <a:lnTo>
                      <a:pt x="f185" y="f184"/>
                    </a:lnTo>
                    <a:lnTo>
                      <a:pt x="f186" y="f187"/>
                    </a:lnTo>
                    <a:lnTo>
                      <a:pt x="f188" y="f189"/>
                    </a:lnTo>
                    <a:lnTo>
                      <a:pt x="f190" y="f94"/>
                    </a:lnTo>
                    <a:lnTo>
                      <a:pt x="f191" y="f192"/>
                    </a:lnTo>
                    <a:lnTo>
                      <a:pt x="f193" y="f194"/>
                    </a:lnTo>
                    <a:lnTo>
                      <a:pt x="f195" y="f196"/>
                    </a:lnTo>
                    <a:lnTo>
                      <a:pt x="f197" y="f198"/>
                    </a:lnTo>
                    <a:lnTo>
                      <a:pt x="f197" y="f167"/>
                    </a:lnTo>
                    <a:lnTo>
                      <a:pt x="f195" y="f199"/>
                    </a:lnTo>
                    <a:lnTo>
                      <a:pt x="f200" y="f201"/>
                    </a:lnTo>
                    <a:lnTo>
                      <a:pt x="f202" y="f128"/>
                    </a:lnTo>
                    <a:lnTo>
                      <a:pt x="f203" y="f204"/>
                    </a:lnTo>
                    <a:lnTo>
                      <a:pt x="f203" y="f205"/>
                    </a:lnTo>
                    <a:lnTo>
                      <a:pt x="f202" y="f206"/>
                    </a:lnTo>
                    <a:lnTo>
                      <a:pt x="f200" y="f207"/>
                    </a:lnTo>
                    <a:lnTo>
                      <a:pt x="f208" y="f209"/>
                    </a:lnTo>
                    <a:lnTo>
                      <a:pt x="f210" y="f211"/>
                    </a:lnTo>
                    <a:lnTo>
                      <a:pt x="f212" y="f213"/>
                    </a:lnTo>
                    <a:lnTo>
                      <a:pt x="f214" y="f215"/>
                    </a:lnTo>
                    <a:lnTo>
                      <a:pt x="f216" y="f215"/>
                    </a:lnTo>
                    <a:lnTo>
                      <a:pt x="f7" y="f217"/>
                    </a:lnTo>
                    <a:lnTo>
                      <a:pt x="f216" y="f218"/>
                    </a:lnTo>
                    <a:lnTo>
                      <a:pt x="f214" y="f219"/>
                    </a:lnTo>
                    <a:lnTo>
                      <a:pt x="f220" y="f221"/>
                    </a:lnTo>
                    <a:lnTo>
                      <a:pt x="f222" y="f223"/>
                    </a:lnTo>
                    <a:lnTo>
                      <a:pt x="f224" y="f223"/>
                    </a:lnTo>
                    <a:lnTo>
                      <a:pt x="f193" y="f225"/>
                    </a:lnTo>
                    <a:lnTo>
                      <a:pt x="f226" y="f227"/>
                    </a:lnTo>
                    <a:lnTo>
                      <a:pt x="f228" y="f2"/>
                    </a:lnTo>
                    <a:lnTo>
                      <a:pt x="f229" y="f230"/>
                    </a:lnTo>
                    <a:lnTo>
                      <a:pt x="f231" y="f232"/>
                    </a:lnTo>
                    <a:lnTo>
                      <a:pt x="f233" y="f234"/>
                    </a:lnTo>
                    <a:lnTo>
                      <a:pt x="f235" y="f236"/>
                    </a:lnTo>
                    <a:lnTo>
                      <a:pt x="f235" y="f237"/>
                    </a:lnTo>
                    <a:lnTo>
                      <a:pt x="f238" y="f239"/>
                    </a:lnTo>
                    <a:lnTo>
                      <a:pt x="f240" y="f241"/>
                    </a:lnTo>
                    <a:lnTo>
                      <a:pt x="f242" y="f243"/>
                    </a:lnTo>
                    <a:lnTo>
                      <a:pt x="f244" y="f245"/>
                    </a:lnTo>
                    <a:lnTo>
                      <a:pt x="f246" y="f13"/>
                    </a:lnTo>
                    <a:lnTo>
                      <a:pt x="f247" y="f248"/>
                    </a:lnTo>
                    <a:lnTo>
                      <a:pt x="f249" y="f250"/>
                    </a:lnTo>
                    <a:lnTo>
                      <a:pt x="f251" y="f252"/>
                    </a:lnTo>
                    <a:lnTo>
                      <a:pt x="f253" y="f254"/>
                    </a:lnTo>
                    <a:lnTo>
                      <a:pt x="f255" y="f256"/>
                    </a:lnTo>
                    <a:lnTo>
                      <a:pt x="f257" y="f258"/>
                    </a:lnTo>
                    <a:lnTo>
                      <a:pt x="f257" y="f24"/>
                    </a:lnTo>
                    <a:lnTo>
                      <a:pt x="f259" y="f26"/>
                    </a:lnTo>
                    <a:lnTo>
                      <a:pt x="f260" y="f261"/>
                    </a:lnTo>
                    <a:lnTo>
                      <a:pt x="f154" y="f262"/>
                    </a:lnTo>
                    <a:lnTo>
                      <a:pt x="f168" y="f263"/>
                    </a:lnTo>
                    <a:lnTo>
                      <a:pt x="f264" y="f265"/>
                    </a:lnTo>
                    <a:lnTo>
                      <a:pt x="f168" y="f266"/>
                    </a:lnTo>
                    <a:lnTo>
                      <a:pt x="f179" y="f267"/>
                    </a:lnTo>
                    <a:lnTo>
                      <a:pt x="f179" y="f44"/>
                    </a:lnTo>
                    <a:lnTo>
                      <a:pt x="f168" y="f268"/>
                    </a:lnTo>
                    <a:lnTo>
                      <a:pt x="f269" y="f270"/>
                    </a:lnTo>
                    <a:lnTo>
                      <a:pt x="f271" y="f272"/>
                    </a:lnTo>
                    <a:lnTo>
                      <a:pt x="f273" y="f274"/>
                    </a:lnTo>
                    <a:lnTo>
                      <a:pt x="f275" y="f276"/>
                    </a:lnTo>
                    <a:lnTo>
                      <a:pt x="f277" y="f278"/>
                    </a:lnTo>
                    <a:lnTo>
                      <a:pt x="f279" y="f280"/>
                    </a:lnTo>
                    <a:lnTo>
                      <a:pt x="f281" y="f282"/>
                    </a:lnTo>
                    <a:lnTo>
                      <a:pt x="f283" y="f284"/>
                    </a:lnTo>
                    <a:lnTo>
                      <a:pt x="f285" y="f286"/>
                    </a:lnTo>
                    <a:lnTo>
                      <a:pt x="f273" y="f287"/>
                    </a:lnTo>
                    <a:lnTo>
                      <a:pt x="f288" y="f289"/>
                    </a:lnTo>
                    <a:lnTo>
                      <a:pt x="f290" y="f291"/>
                    </a:lnTo>
                    <a:lnTo>
                      <a:pt x="f292" y="f293"/>
                    </a:lnTo>
                    <a:lnTo>
                      <a:pt x="f294" y="f295"/>
                    </a:lnTo>
                    <a:lnTo>
                      <a:pt x="f296" y="f297"/>
                    </a:lnTo>
                    <a:lnTo>
                      <a:pt x="f298" y="f299"/>
                    </a:lnTo>
                    <a:lnTo>
                      <a:pt x="f127" y="f300"/>
                    </a:lnTo>
                    <a:lnTo>
                      <a:pt x="f301" y="f93"/>
                    </a:lnTo>
                    <a:lnTo>
                      <a:pt x="f302" y="f87"/>
                    </a:lnTo>
                    <a:lnTo>
                      <a:pt x="f303" y="f304"/>
                    </a:lnTo>
                    <a:lnTo>
                      <a:pt x="f126" y="f305"/>
                    </a:lnTo>
                    <a:lnTo>
                      <a:pt x="f306" y="f307"/>
                    </a:lnTo>
                    <a:lnTo>
                      <a:pt x="f308" y="f309"/>
                    </a:lnTo>
                    <a:lnTo>
                      <a:pt x="f310" y="f124"/>
                    </a:lnTo>
                    <a:lnTo>
                      <a:pt x="f309" y="f311"/>
                    </a:lnTo>
                    <a:lnTo>
                      <a:pt x="f107" y="f312"/>
                    </a:lnTo>
                    <a:lnTo>
                      <a:pt x="f105" y="f127"/>
                    </a:lnTo>
                    <a:lnTo>
                      <a:pt x="f105" y="f313"/>
                    </a:lnTo>
                    <a:lnTo>
                      <a:pt x="f123" y="f133"/>
                    </a:lnTo>
                    <a:lnTo>
                      <a:pt x="f314" y="f315"/>
                    </a:lnTo>
                    <a:lnTo>
                      <a:pt x="f124" y="f137"/>
                    </a:lnTo>
                    <a:lnTo>
                      <a:pt x="f316" y="f140"/>
                    </a:lnTo>
                    <a:lnTo>
                      <a:pt x="f317" y="f147"/>
                    </a:lnTo>
                    <a:lnTo>
                      <a:pt x="f312" y="f318"/>
                    </a:lnTo>
                    <a:lnTo>
                      <a:pt x="f302" y="f281"/>
                    </a:lnTo>
                    <a:lnTo>
                      <a:pt x="f126" y="f290"/>
                    </a:lnTo>
                    <a:lnTo>
                      <a:pt x="f311" y="f275"/>
                    </a:lnTo>
                    <a:lnTo>
                      <a:pt x="f319" y="f275"/>
                    </a:lnTo>
                    <a:lnTo>
                      <a:pt x="f310" y="f283"/>
                    </a:lnTo>
                    <a:lnTo>
                      <a:pt x="f320" y="f288"/>
                    </a:lnTo>
                    <a:lnTo>
                      <a:pt x="f321" y="f273"/>
                    </a:lnTo>
                    <a:lnTo>
                      <a:pt x="f322" y="f323"/>
                    </a:lnTo>
                    <a:lnTo>
                      <a:pt x="f324" y="f151"/>
                    </a:lnTo>
                    <a:lnTo>
                      <a:pt x="f322" y="f152"/>
                    </a:lnTo>
                    <a:lnTo>
                      <a:pt x="f320" y="f159"/>
                    </a:lnTo>
                    <a:lnTo>
                      <a:pt x="f325" y="f326"/>
                    </a:lnTo>
                    <a:lnTo>
                      <a:pt x="f327" y="f328"/>
                    </a:lnTo>
                    <a:lnTo>
                      <a:pt x="f329" y="f330"/>
                    </a:lnTo>
                    <a:lnTo>
                      <a:pt x="f309" y="f331"/>
                    </a:lnTo>
                    <a:lnTo>
                      <a:pt x="f321" y="f332"/>
                    </a:lnTo>
                    <a:lnTo>
                      <a:pt x="f322" y="f333"/>
                    </a:lnTo>
                    <a:lnTo>
                      <a:pt x="f319" y="f334"/>
                    </a:lnTo>
                    <a:lnTo>
                      <a:pt x="f308" y="f335"/>
                    </a:lnTo>
                    <a:lnTo>
                      <a:pt x="f316" y="f336"/>
                    </a:lnTo>
                    <a:lnTo>
                      <a:pt x="f317" y="f337"/>
                    </a:lnTo>
                    <a:lnTo>
                      <a:pt x="f338" y="f333"/>
                    </a:lnTo>
                    <a:lnTo>
                      <a:pt x="f339" y="f340"/>
                    </a:lnTo>
                    <a:lnTo>
                      <a:pt x="f298" y="f185"/>
                    </a:lnTo>
                    <a:lnTo>
                      <a:pt x="f341" y="f336"/>
                    </a:lnTo>
                    <a:lnTo>
                      <a:pt x="f342" y="f233"/>
                    </a:lnTo>
                    <a:lnTo>
                      <a:pt x="f343" y="f344"/>
                    </a:lnTo>
                    <a:lnTo>
                      <a:pt x="f141" y="f345"/>
                    </a:lnTo>
                    <a:lnTo>
                      <a:pt x="f292" y="f346"/>
                    </a:lnTo>
                    <a:lnTo>
                      <a:pt x="f347" y="f348"/>
                    </a:lnTo>
                    <a:lnTo>
                      <a:pt x="f349" y="f350"/>
                    </a:lnTo>
                    <a:lnTo>
                      <a:pt x="f351" y="f352"/>
                    </a:lnTo>
                    <a:lnTo>
                      <a:pt x="f349" y="f353"/>
                    </a:lnTo>
                    <a:lnTo>
                      <a:pt x="f290" y="f354"/>
                    </a:lnTo>
                    <a:lnTo>
                      <a:pt x="f275" y="f355"/>
                    </a:lnTo>
                    <a:lnTo>
                      <a:pt x="f351" y="f356"/>
                    </a:lnTo>
                    <a:lnTo>
                      <a:pt x="f273" y="f357"/>
                    </a:lnTo>
                    <a:lnTo>
                      <a:pt x="f358" y="f357"/>
                    </a:lnTo>
                    <a:lnTo>
                      <a:pt x="f359" y="f360"/>
                    </a:lnTo>
                    <a:lnTo>
                      <a:pt x="f326" y="f361"/>
                    </a:lnTo>
                    <a:lnTo>
                      <a:pt x="f362" y="f363"/>
                    </a:lnTo>
                    <a:lnTo>
                      <a:pt x="f364" y="f365"/>
                    </a:lnTo>
                    <a:lnTo>
                      <a:pt x="f366" y="f367"/>
                    </a:lnTo>
                    <a:lnTo>
                      <a:pt x="f368" y="f369"/>
                    </a:lnTo>
                    <a:lnTo>
                      <a:pt x="f255" y="f370"/>
                    </a:lnTo>
                    <a:lnTo>
                      <a:pt x="f257" y="f371"/>
                    </a:lnTo>
                    <a:lnTo>
                      <a:pt x="f259" y="f372"/>
                    </a:lnTo>
                    <a:lnTo>
                      <a:pt x="f328" y="f373"/>
                    </a:lnTo>
                    <a:lnTo>
                      <a:pt x="f326" y="f374"/>
                    </a:lnTo>
                    <a:lnTo>
                      <a:pt x="f159" y="f375"/>
                    </a:lnTo>
                    <a:lnTo>
                      <a:pt x="f376" y="f377"/>
                    </a:lnTo>
                    <a:lnTo>
                      <a:pt x="f181" y="f378"/>
                    </a:lnTo>
                    <a:lnTo>
                      <a:pt x="f364" y="f379"/>
                    </a:lnTo>
                    <a:lnTo>
                      <a:pt x="f380" y="f381"/>
                    </a:lnTo>
                    <a:lnTo>
                      <a:pt x="f249" y="f382"/>
                    </a:lnTo>
                    <a:lnTo>
                      <a:pt x="f383" y="f384"/>
                    </a:lnTo>
                    <a:lnTo>
                      <a:pt x="f385" y="f386"/>
                    </a:lnTo>
                    <a:lnTo>
                      <a:pt x="f385" y="f387"/>
                    </a:lnTo>
                    <a:lnTo>
                      <a:pt x="f383" y="f388"/>
                    </a:lnTo>
                    <a:lnTo>
                      <a:pt x="f389" y="f390"/>
                    </a:lnTo>
                    <a:lnTo>
                      <a:pt x="f249" y="f391"/>
                    </a:lnTo>
                    <a:lnTo>
                      <a:pt x="f392" y="f393"/>
                    </a:lnTo>
                    <a:lnTo>
                      <a:pt x="f251" y="f394"/>
                    </a:lnTo>
                    <a:lnTo>
                      <a:pt x="f253" y="f395"/>
                    </a:lnTo>
                    <a:lnTo>
                      <a:pt x="f368" y="f396"/>
                    </a:lnTo>
                    <a:lnTo>
                      <a:pt x="f330" y="f397"/>
                    </a:lnTo>
                    <a:lnTo>
                      <a:pt x="f364" y="f398"/>
                    </a:lnTo>
                    <a:lnTo>
                      <a:pt x="f364" y="f399"/>
                    </a:lnTo>
                    <a:lnTo>
                      <a:pt x="f259" y="f400"/>
                    </a:lnTo>
                    <a:lnTo>
                      <a:pt x="f259" y="f401"/>
                    </a:lnTo>
                    <a:lnTo>
                      <a:pt x="f364" y="f402"/>
                    </a:lnTo>
                    <a:lnTo>
                      <a:pt x="f403" y="f404"/>
                    </a:lnTo>
                    <a:lnTo>
                      <a:pt x="f181" y="f405"/>
                    </a:lnTo>
                    <a:lnTo>
                      <a:pt x="f406" y="f405"/>
                    </a:lnTo>
                    <a:lnTo>
                      <a:pt x="f168" y="f407"/>
                    </a:lnTo>
                    <a:lnTo>
                      <a:pt x="f168" y="f408"/>
                    </a:lnTo>
                    <a:lnTo>
                      <a:pt x="f170" y="f409"/>
                    </a:lnTo>
                    <a:lnTo>
                      <a:pt x="f362" y="f410"/>
                    </a:lnTo>
                    <a:lnTo>
                      <a:pt x="f411" y="f412"/>
                    </a:lnTo>
                    <a:lnTo>
                      <a:pt x="f411" y="f413"/>
                    </a:lnTo>
                    <a:lnTo>
                      <a:pt x="f362" y="f414"/>
                    </a:lnTo>
                    <a:lnTo>
                      <a:pt x="f415" y="f416"/>
                    </a:lnTo>
                    <a:lnTo>
                      <a:pt x="f151" y="f417"/>
                    </a:lnTo>
                    <a:lnTo>
                      <a:pt x="f323" y="f418"/>
                    </a:lnTo>
                    <a:lnTo>
                      <a:pt x="f285" y="f419"/>
                    </a:lnTo>
                    <a:lnTo>
                      <a:pt x="f349" y="f420"/>
                    </a:lnTo>
                    <a:lnTo>
                      <a:pt x="f281" y="f420"/>
                    </a:lnTo>
                    <a:lnTo>
                      <a:pt x="f277" y="f421"/>
                    </a:lnTo>
                    <a:lnTo>
                      <a:pt x="f292" y="f418"/>
                    </a:lnTo>
                    <a:lnTo>
                      <a:pt x="f149" y="f422"/>
                    </a:lnTo>
                    <a:lnTo>
                      <a:pt x="f140" y="f423"/>
                    </a:lnTo>
                    <a:lnTo>
                      <a:pt x="f135" y="f424"/>
                    </a:lnTo>
                    <a:lnTo>
                      <a:pt x="f129" y="f425"/>
                    </a:lnTo>
                    <a:lnTo>
                      <a:pt x="f301" y="f426"/>
                    </a:lnTo>
                    <a:lnTo>
                      <a:pt x="f306" y="f427"/>
                    </a:lnTo>
                    <a:lnTo>
                      <a:pt x="f428" y="f429"/>
                    </a:lnTo>
                    <a:lnTo>
                      <a:pt x="f430" y="f431"/>
                    </a:lnTo>
                    <a:lnTo>
                      <a:pt x="f124" y="f432"/>
                    </a:lnTo>
                    <a:lnTo>
                      <a:pt x="f124" y="f433"/>
                    </a:lnTo>
                    <a:lnTo>
                      <a:pt x="f319" y="f434"/>
                    </a:lnTo>
                    <a:lnTo>
                      <a:pt x="f324" y="f419"/>
                    </a:lnTo>
                    <a:lnTo>
                      <a:pt x="f320" y="f435"/>
                    </a:lnTo>
                    <a:lnTo>
                      <a:pt x="f309" y="f420"/>
                    </a:lnTo>
                    <a:lnTo>
                      <a:pt x="f436" y="f435"/>
                    </a:lnTo>
                    <a:lnTo>
                      <a:pt x="f437" y="f438"/>
                    </a:lnTo>
                    <a:lnTo>
                      <a:pt x="f304" y="f438"/>
                    </a:lnTo>
                    <a:lnTo>
                      <a:pt x="f304" y="f419"/>
                    </a:lnTo>
                    <a:lnTo>
                      <a:pt x="f82" y="f439"/>
                    </a:lnTo>
                    <a:lnTo>
                      <a:pt x="f82" y="f440"/>
                    </a:lnTo>
                    <a:lnTo>
                      <a:pt x="f441" y="f442"/>
                    </a:lnTo>
                    <a:lnTo>
                      <a:pt x="f77" y="f443"/>
                    </a:lnTo>
                    <a:lnTo>
                      <a:pt x="f76" y="f432"/>
                    </a:lnTo>
                    <a:lnTo>
                      <a:pt x="f444" y="f424"/>
                    </a:lnTo>
                    <a:lnTo>
                      <a:pt x="f445" y="f424"/>
                    </a:lnTo>
                    <a:lnTo>
                      <a:pt x="f446" y="f447"/>
                    </a:lnTo>
                    <a:lnTo>
                      <a:pt x="f448" y="f449"/>
                    </a:lnTo>
                    <a:lnTo>
                      <a:pt x="f450" y="f418"/>
                    </a:lnTo>
                    <a:lnTo>
                      <a:pt x="f286" y="f451"/>
                    </a:lnTo>
                    <a:lnTo>
                      <a:pt x="f452" y="f453"/>
                    </a:lnTo>
                    <a:lnTo>
                      <a:pt x="f454" y="f455"/>
                    </a:lnTo>
                    <a:lnTo>
                      <a:pt x="f456" y="f457"/>
                    </a:lnTo>
                    <a:lnTo>
                      <a:pt x="f458" y="f459"/>
                    </a:lnTo>
                    <a:lnTo>
                      <a:pt x="f460" y="f461"/>
                    </a:lnTo>
                    <a:lnTo>
                      <a:pt x="f462" y="f463"/>
                    </a:lnTo>
                    <a:lnTo>
                      <a:pt x="f464" y="f461"/>
                    </a:lnTo>
                    <a:lnTo>
                      <a:pt x="f465" y="f459"/>
                    </a:lnTo>
                    <a:lnTo>
                      <a:pt x="f466" y="f457"/>
                    </a:lnTo>
                    <a:lnTo>
                      <a:pt x="f467" y="f468"/>
                    </a:lnTo>
                    <a:lnTo>
                      <a:pt x="f49" y="f469"/>
                    </a:lnTo>
                    <a:lnTo>
                      <a:pt x="f470" y="f471"/>
                    </a:lnTo>
                    <a:lnTo>
                      <a:pt x="f472" y="f473"/>
                    </a:lnTo>
                    <a:lnTo>
                      <a:pt x="f474" y="f475"/>
                    </a:lnTo>
                    <a:lnTo>
                      <a:pt x="f476" y="f477"/>
                    </a:lnTo>
                    <a:lnTo>
                      <a:pt x="f478" y="f463"/>
                    </a:lnTo>
                    <a:lnTo>
                      <a:pt x="f479" y="f480"/>
                    </a:lnTo>
                    <a:lnTo>
                      <a:pt x="f481" y="f482"/>
                    </a:lnTo>
                    <a:lnTo>
                      <a:pt x="f483" y="f482"/>
                    </a:lnTo>
                    <a:lnTo>
                      <a:pt x="f484" y="f485"/>
                    </a:lnTo>
                    <a:lnTo>
                      <a:pt x="f24" y="f8"/>
                    </a:lnTo>
                    <a:lnTo>
                      <a:pt x="f486" y="f8"/>
                    </a:lnTo>
                    <a:lnTo>
                      <a:pt x="f487" y="f485"/>
                    </a:lnTo>
                    <a:lnTo>
                      <a:pt x="f488" y="f463"/>
                    </a:lnTo>
                    <a:lnTo>
                      <a:pt x="f489" y="f459"/>
                    </a:lnTo>
                    <a:lnTo>
                      <a:pt x="f488" y="f490"/>
                    </a:lnTo>
                    <a:lnTo>
                      <a:pt x="f491" y="f469"/>
                    </a:lnTo>
                    <a:lnTo>
                      <a:pt x="f22" y="f435"/>
                    </a:lnTo>
                    <a:lnTo>
                      <a:pt x="f492" y="f493"/>
                    </a:lnTo>
                    <a:lnTo>
                      <a:pt x="f494" y="f443"/>
                    </a:lnTo>
                    <a:lnTo>
                      <a:pt x="f495" y="f417"/>
                    </a:lnTo>
                    <a:lnTo>
                      <a:pt x="f496" y="f426"/>
                    </a:lnTo>
                    <a:lnTo>
                      <a:pt x="f497" y="f498"/>
                    </a:lnTo>
                    <a:lnTo>
                      <a:pt x="f495" y="f499"/>
                    </a:lnTo>
                    <a:lnTo>
                      <a:pt x="f500" y="f501"/>
                    </a:lnTo>
                    <a:lnTo>
                      <a:pt x="f502" y="f503"/>
                    </a:lnTo>
                    <a:lnTo>
                      <a:pt x="f17" y="f504"/>
                    </a:lnTo>
                    <a:lnTo>
                      <a:pt x="f252" y="f505"/>
                    </a:lnTo>
                    <a:lnTo>
                      <a:pt x="f252" y="f506"/>
                    </a:lnTo>
                    <a:lnTo>
                      <a:pt x="f507" y="f508"/>
                    </a:lnTo>
                    <a:lnTo>
                      <a:pt x="f250" y="f402"/>
                    </a:lnTo>
                    <a:lnTo>
                      <a:pt x="f509" y="f401"/>
                    </a:lnTo>
                    <a:lnTo>
                      <a:pt x="f510" y="f511"/>
                    </a:lnTo>
                    <a:lnTo>
                      <a:pt x="f512" y="f513"/>
                    </a:lnTo>
                    <a:lnTo>
                      <a:pt x="f514" y="f515"/>
                    </a:lnTo>
                    <a:lnTo>
                      <a:pt x="f516" y="f517"/>
                    </a:lnTo>
                    <a:lnTo>
                      <a:pt x="f518" y="f395"/>
                    </a:lnTo>
                    <a:lnTo>
                      <a:pt x="f519" y="f395"/>
                    </a:lnTo>
                    <a:lnTo>
                      <a:pt x="f520" y="f517"/>
                    </a:lnTo>
                    <a:lnTo>
                      <a:pt x="f521" y="f515"/>
                    </a:lnTo>
                    <a:lnTo>
                      <a:pt x="f522" y="f523"/>
                    </a:lnTo>
                    <a:lnTo>
                      <a:pt x="f225" y="f524"/>
                    </a:lnTo>
                    <a:lnTo>
                      <a:pt x="f525" y="f524"/>
                    </a:lnTo>
                    <a:lnTo>
                      <a:pt x="f526" y="f523"/>
                    </a:lnTo>
                    <a:lnTo>
                      <a:pt x="f527" y="f528"/>
                    </a:lnTo>
                    <a:lnTo>
                      <a:pt x="f527" y="f393"/>
                    </a:lnTo>
                    <a:lnTo>
                      <a:pt x="f529" y="f530"/>
                    </a:lnTo>
                    <a:lnTo>
                      <a:pt x="f531" y="f532"/>
                    </a:lnTo>
                    <a:lnTo>
                      <a:pt x="f223" y="f533"/>
                    </a:lnTo>
                    <a:lnTo>
                      <a:pt x="f225" y="f534"/>
                    </a:lnTo>
                    <a:lnTo>
                      <a:pt x="f535" y="f386"/>
                    </a:lnTo>
                    <a:lnTo>
                      <a:pt x="f536" y="f537"/>
                    </a:lnTo>
                    <a:lnTo>
                      <a:pt x="f526" y="f538"/>
                    </a:lnTo>
                    <a:lnTo>
                      <a:pt x="f539" y="f540"/>
                    </a:lnTo>
                    <a:lnTo>
                      <a:pt x="f541" y="f542"/>
                    </a:lnTo>
                    <a:lnTo>
                      <a:pt x="f209" y="f543"/>
                    </a:lnTo>
                    <a:lnTo>
                      <a:pt x="f544" y="f545"/>
                    </a:lnTo>
                    <a:lnTo>
                      <a:pt x="f546" y="f547"/>
                    </a:lnTo>
                    <a:lnTo>
                      <a:pt x="f548" y="f549"/>
                    </a:lnTo>
                    <a:lnTo>
                      <a:pt x="f550" y="f551"/>
                    </a:lnTo>
                    <a:lnTo>
                      <a:pt x="f552" y="f553"/>
                    </a:lnTo>
                    <a:lnTo>
                      <a:pt x="f554" y="f540"/>
                    </a:lnTo>
                    <a:lnTo>
                      <a:pt x="f555" y="f540"/>
                    </a:lnTo>
                    <a:lnTo>
                      <a:pt x="f556" y="f553"/>
                    </a:lnTo>
                    <a:lnTo>
                      <a:pt x="f138" y="f557"/>
                    </a:lnTo>
                    <a:lnTo>
                      <a:pt x="f144" y="f558"/>
                    </a:lnTo>
                    <a:lnTo>
                      <a:pt x="f130" y="f559"/>
                    </a:lnTo>
                    <a:lnTo>
                      <a:pt x="f122" y="f549"/>
                    </a:lnTo>
                    <a:lnTo>
                      <a:pt x="f560" y="f374"/>
                    </a:lnTo>
                    <a:lnTo>
                      <a:pt x="f155" y="f551"/>
                    </a:lnTo>
                    <a:lnTo>
                      <a:pt x="f117" y="f561"/>
                    </a:lnTo>
                    <a:lnTo>
                      <a:pt x="f562" y="f551"/>
                    </a:lnTo>
                    <a:lnTo>
                      <a:pt x="f199" y="f558"/>
                    </a:lnTo>
                    <a:lnTo>
                      <a:pt x="f563" y="f547"/>
                    </a:lnTo>
                    <a:lnTo>
                      <a:pt x="f564" y="f565"/>
                    </a:lnTo>
                    <a:lnTo>
                      <a:pt x="f566" y="f567"/>
                    </a:lnTo>
                    <a:lnTo>
                      <a:pt x="f167" y="f568"/>
                    </a:lnTo>
                    <a:lnTo>
                      <a:pt x="f569" y="f570"/>
                    </a:lnTo>
                    <a:lnTo>
                      <a:pt x="f571" y="f570"/>
                    </a:lnTo>
                    <a:lnTo>
                      <a:pt x="f198" y="f567"/>
                    </a:lnTo>
                    <a:lnTo>
                      <a:pt x="f169" y="f572"/>
                    </a:lnTo>
                    <a:lnTo>
                      <a:pt x="f573" y="f572"/>
                    </a:lnTo>
                    <a:lnTo>
                      <a:pt x="f102" y="f574"/>
                    </a:lnTo>
                    <a:lnTo>
                      <a:pt x="f99" y="f575"/>
                    </a:lnTo>
                    <a:lnTo>
                      <a:pt x="f97" y="f357"/>
                    </a:lnTo>
                    <a:lnTo>
                      <a:pt x="f576" y="f361"/>
                    </a:lnTo>
                    <a:lnTo>
                      <a:pt x="f577" y="f578"/>
                    </a:lnTo>
                    <a:lnTo>
                      <a:pt x="f579" y="f352"/>
                    </a:lnTo>
                    <a:lnTo>
                      <a:pt x="f580" y="f581"/>
                    </a:lnTo>
                    <a:lnTo>
                      <a:pt x="f94" y="f582"/>
                    </a:lnTo>
                    <a:lnTo>
                      <a:pt x="f583" y="f584"/>
                    </a:lnTo>
                    <a:lnTo>
                      <a:pt x="f585" y="f191"/>
                    </a:lnTo>
                    <a:lnTo>
                      <a:pt x="f586" y="f587"/>
                    </a:lnTo>
                    <a:lnTo>
                      <a:pt x="f184" y="f588"/>
                    </a:lnTo>
                    <a:lnTo>
                      <a:pt x="f178" y="f588"/>
                    </a:lnTo>
                    <a:lnTo>
                      <a:pt x="f589" y="f584"/>
                    </a:lnTo>
                    <a:lnTo>
                      <a:pt x="f590" y="f591"/>
                    </a:lnTo>
                    <a:lnTo>
                      <a:pt x="f64" y="f345"/>
                    </a:lnTo>
                    <a:lnTo>
                      <a:pt x="f592" y="f228"/>
                    </a:lnTo>
                    <a:lnTo>
                      <a:pt x="f593" y="f594"/>
                    </a:lnTo>
                    <a:lnTo>
                      <a:pt x="f595" y="f596"/>
                    </a:lnTo>
                    <a:lnTo>
                      <a:pt x="f46" y="f333"/>
                    </a:lnTo>
                    <a:lnTo>
                      <a:pt x="f597" y="f598"/>
                    </a:lnTo>
                    <a:lnTo>
                      <a:pt x="f18" y="f599"/>
                    </a:lnTo>
                    <a:lnTo>
                      <a:pt x="f600" y="f598"/>
                    </a:lnTo>
                    <a:lnTo>
                      <a:pt x="f6" y="f601"/>
                    </a:lnTo>
                    <a:lnTo>
                      <a:pt x="f600" y="f602"/>
                    </a:lnTo>
                    <a:lnTo>
                      <a:pt x="f603" y="f604"/>
                    </a:lnTo>
                    <a:lnTo>
                      <a:pt x="f605" y="f385"/>
                    </a:lnTo>
                    <a:lnTo>
                      <a:pt x="f606" y="f249"/>
                    </a:lnTo>
                    <a:lnTo>
                      <a:pt x="f607" y="f608"/>
                    </a:lnTo>
                    <a:lnTo>
                      <a:pt x="f609" y="f255"/>
                    </a:lnTo>
                    <a:lnTo>
                      <a:pt x="f609" y="f376"/>
                    </a:lnTo>
                    <a:lnTo>
                      <a:pt x="f610" y="f168"/>
                    </a:lnTo>
                    <a:lnTo>
                      <a:pt x="f611" y="f173"/>
                    </a:lnTo>
                    <a:lnTo>
                      <a:pt x="f46" y="f176"/>
                    </a:lnTo>
                    <a:lnTo>
                      <a:pt x="f38" y="f164"/>
                    </a:lnTo>
                    <a:lnTo>
                      <a:pt x="f612" y="f279"/>
                    </a:lnTo>
                    <a:lnTo>
                      <a:pt x="f613" y="f147"/>
                    </a:lnTo>
                    <a:lnTo>
                      <a:pt x="f62" y="f294"/>
                    </a:lnTo>
                    <a:lnTo>
                      <a:pt x="f64" y="f614"/>
                    </a:lnTo>
                    <a:lnTo>
                      <a:pt x="f62" y="f135"/>
                    </a:lnTo>
                    <a:lnTo>
                      <a:pt x="f615" y="f131"/>
                    </a:lnTo>
                    <a:lnTo>
                      <a:pt x="f616" y="f339"/>
                    </a:lnTo>
                    <a:lnTo>
                      <a:pt x="f62" y="f617"/>
                    </a:lnTo>
                    <a:lnTo>
                      <a:pt x="f72" y="f302"/>
                    </a:lnTo>
                    <a:lnTo>
                      <a:pt x="f618" y="f619"/>
                    </a:lnTo>
                    <a:lnTo>
                      <a:pt x="f178" y="f620"/>
                    </a:lnTo>
                    <a:lnTo>
                      <a:pt x="f175" y="f621"/>
                    </a:lnTo>
                    <a:lnTo>
                      <a:pt x="f622" y="f322"/>
                    </a:lnTo>
                    <a:lnTo>
                      <a:pt x="f623" y="f321"/>
                    </a:lnTo>
                    <a:lnTo>
                      <a:pt x="f624" y="f625"/>
                    </a:lnTo>
                    <a:lnTo>
                      <a:pt x="f626" y="f107"/>
                    </a:lnTo>
                    <a:lnTo>
                      <a:pt x="f627" y="f307"/>
                    </a:lnTo>
                    <a:lnTo>
                      <a:pt x="f189" y="f628"/>
                    </a:lnTo>
                    <a:lnTo>
                      <a:pt x="f586" y="f304"/>
                    </a:lnTo>
                    <a:lnTo>
                      <a:pt x="f90" y="f629"/>
                    </a:lnTo>
                    <a:lnTo>
                      <a:pt x="f585" y="f89"/>
                    </a:lnTo>
                    <a:lnTo>
                      <a:pt x="f586" y="f630"/>
                    </a:lnTo>
                    <a:lnTo>
                      <a:pt x="f631" y="f632"/>
                    </a:lnTo>
                    <a:lnTo>
                      <a:pt x="f618" y="f633"/>
                    </a:lnTo>
                    <a:lnTo>
                      <a:pt x="f634" y="f446"/>
                    </a:lnTo>
                    <a:lnTo>
                      <a:pt x="f72" y="f63"/>
                    </a:lnTo>
                    <a:lnTo>
                      <a:pt x="f68" y="f287"/>
                    </a:lnTo>
                    <a:lnTo>
                      <a:pt x="f635" y="f636"/>
                    </a:lnTo>
                    <a:lnTo>
                      <a:pt x="f612" y="f637"/>
                    </a:lnTo>
                    <a:lnTo>
                      <a:pt x="f638" y="f67"/>
                    </a:lnTo>
                    <a:lnTo>
                      <a:pt x="f639" y="f640"/>
                    </a:lnTo>
                    <a:lnTo>
                      <a:pt x="f42" y="f641"/>
                    </a:lnTo>
                    <a:lnTo>
                      <a:pt x="f642" y="f643"/>
                    </a:lnTo>
                    <a:lnTo>
                      <a:pt x="f38" y="f59"/>
                    </a:lnTo>
                    <a:lnTo>
                      <a:pt x="f595" y="f644"/>
                    </a:lnTo>
                    <a:lnTo>
                      <a:pt x="f50" y="f645"/>
                    </a:lnTo>
                    <a:lnTo>
                      <a:pt x="f646" y="f647"/>
                    </a:lnTo>
                    <a:lnTo>
                      <a:pt x="f648" y="f649"/>
                    </a:lnTo>
                    <a:lnTo>
                      <a:pt x="f609" y="f466"/>
                    </a:lnTo>
                    <a:lnTo>
                      <a:pt x="f650" y="f651"/>
                    </a:lnTo>
                    <a:lnTo>
                      <a:pt x="f605" y="f652"/>
                    </a:lnTo>
                    <a:lnTo>
                      <a:pt x="f650" y="f653"/>
                    </a:lnTo>
                    <a:lnTo>
                      <a:pt x="f610" y="f654"/>
                    </a:lnTo>
                    <a:lnTo>
                      <a:pt x="f34" y="f45"/>
                    </a:lnTo>
                    <a:lnTo>
                      <a:pt x="f38" y="f655"/>
                    </a:lnTo>
                    <a:lnTo>
                      <a:pt x="f656" y="f657"/>
                    </a:lnTo>
                    <a:lnTo>
                      <a:pt x="f592" y="f658"/>
                    </a:lnTo>
                    <a:lnTo>
                      <a:pt x="f659" y="f479"/>
                    </a:lnTo>
                    <a:lnTo>
                      <a:pt x="f616" y="f35"/>
                    </a:lnTo>
                    <a:lnTo>
                      <a:pt x="f615" y="f660"/>
                    </a:lnTo>
                    <a:lnTo>
                      <a:pt x="f661" y="f662"/>
                    </a:lnTo>
                    <a:lnTo>
                      <a:pt x="f64" y="f663"/>
                    </a:lnTo>
                    <a:lnTo>
                      <a:pt x="f68" y="f664"/>
                    </a:lnTo>
                    <a:lnTo>
                      <a:pt x="f70" y="f19"/>
                    </a:lnTo>
                    <a:lnTo>
                      <a:pt x="f72" y="f665"/>
                    </a:lnTo>
                    <a:lnTo>
                      <a:pt x="f79" y="f665"/>
                    </a:lnTo>
                    <a:lnTo>
                      <a:pt x="f634" y="f19"/>
                    </a:lnTo>
                    <a:lnTo>
                      <a:pt x="f666" y="f21"/>
                    </a:lnTo>
                    <a:lnTo>
                      <a:pt x="f590" y="f489"/>
                    </a:lnTo>
                    <a:lnTo>
                      <a:pt x="f667" y="f492"/>
                    </a:lnTo>
                    <a:lnTo>
                      <a:pt x="f668" y="f669"/>
                    </a:lnTo>
                    <a:lnTo>
                      <a:pt x="f670" y="f671"/>
                    </a:lnTo>
                    <a:lnTo>
                      <a:pt x="f672" y="f489"/>
                    </a:lnTo>
                    <a:lnTo>
                      <a:pt x="f622" y="f495"/>
                    </a:lnTo>
                    <a:lnTo>
                      <a:pt x="f673" y="f21"/>
                    </a:lnTo>
                    <a:lnTo>
                      <a:pt x="f171" y="f674"/>
                    </a:lnTo>
                    <a:lnTo>
                      <a:pt x="f99" y="f664"/>
                    </a:lnTo>
                    <a:lnTo>
                      <a:pt x="f675" y="f489"/>
                    </a:lnTo>
                    <a:lnTo>
                      <a:pt x="f106" y="f489"/>
                    </a:lnTo>
                    <a:lnTo>
                      <a:pt x="f3" y="f674"/>
                    </a:lnTo>
                    <a:lnTo>
                      <a:pt x="f676" y="f495"/>
                    </a:lnTo>
                    <a:lnTo>
                      <a:pt x="f677" y="f674"/>
                    </a:lnTo>
                    <a:lnTo>
                      <a:pt x="f678" y="f664"/>
                    </a:lnTo>
                    <a:lnTo>
                      <a:pt x="f119" y="f489"/>
                    </a:lnTo>
                    <a:lnTo>
                      <a:pt x="f130" y="f489"/>
                    </a:lnTo>
                    <a:lnTo>
                      <a:pt x="f142" y="f674"/>
                    </a:lnTo>
                    <a:lnTo>
                      <a:pt x="f679" y="f680"/>
                    </a:lnTo>
                    <a:lnTo>
                      <a:pt x="f552" y="f681"/>
                    </a:lnTo>
                    <a:lnTo>
                      <a:pt x="f682" y="f683"/>
                    </a:lnTo>
                    <a:lnTo>
                      <a:pt x="f684" y="f252"/>
                    </a:lnTo>
                    <a:lnTo>
                      <a:pt x="f685" y="f250"/>
                    </a:lnTo>
                    <a:lnTo>
                      <a:pt x="f686" y="f687"/>
                    </a:lnTo>
                    <a:lnTo>
                      <a:pt x="f688" y="f689"/>
                    </a:lnTo>
                    <a:lnTo>
                      <a:pt x="f690" y="f510"/>
                    </a:lnTo>
                    <a:lnTo>
                      <a:pt x="f550" y="f691"/>
                    </a:lnTo>
                    <a:lnTo>
                      <a:pt x="f690" y="f692"/>
                    </a:lnTo>
                    <a:lnTo>
                      <a:pt x="f206" y="f10"/>
                    </a:lnTo>
                    <a:lnTo>
                      <a:pt x="f693" y="f694"/>
                    </a:lnTo>
                    <a:lnTo>
                      <a:pt x="f207" y="f695"/>
                    </a:lnTo>
                    <a:lnTo>
                      <a:pt x="f544" y="f696"/>
                    </a:lnTo>
                    <a:lnTo>
                      <a:pt x="f697" y="f514"/>
                    </a:lnTo>
                    <a:lnTo>
                      <a:pt x="f698" y="f699"/>
                    </a:lnTo>
                    <a:lnTo>
                      <a:pt x="f700" y="f701"/>
                    </a:lnTo>
                    <a:lnTo>
                      <a:pt x="f688" y="f702"/>
                    </a:lnTo>
                    <a:lnTo>
                      <a:pt x="f703" y="f223"/>
                    </a:lnTo>
                    <a:lnTo>
                      <a:pt x="f552" y="f704"/>
                    </a:lnTo>
                    <a:lnTo>
                      <a:pt x="f705" y="f706"/>
                    </a:lnTo>
                    <a:lnTo>
                      <a:pt x="f707" y="f539"/>
                    </a:lnTo>
                    <a:lnTo>
                      <a:pt x="f679" y="f708"/>
                    </a:lnTo>
                    <a:lnTo>
                      <a:pt x="f709" y="f215"/>
                    </a:lnTo>
                    <a:lnTo>
                      <a:pt x="f132" y="f215"/>
                    </a:lnTo>
                    <a:lnTo>
                      <a:pt x="f128" y="f213"/>
                    </a:lnTo>
                    <a:lnTo>
                      <a:pt x="f125" y="f211"/>
                    </a:lnTo>
                    <a:lnTo>
                      <a:pt x="f130" y="f710"/>
                    </a:lnTo>
                    <a:lnTo>
                      <a:pt x="f144" y="f711"/>
                    </a:lnTo>
                    <a:lnTo>
                      <a:pt x="f712" y="f713"/>
                    </a:lnTo>
                    <a:lnTo>
                      <a:pt x="f714" y="f544"/>
                    </a:lnTo>
                    <a:lnTo>
                      <a:pt x="f715" y="f207"/>
                    </a:lnTo>
                    <a:lnTo>
                      <a:pt x="f703" y="f716"/>
                    </a:lnTo>
                    <a:lnTo>
                      <a:pt x="f717" y="f546"/>
                    </a:lnTo>
                    <a:lnTo>
                      <a:pt x="f718" y="f206"/>
                    </a:lnTo>
                    <a:lnTo>
                      <a:pt x="f718" y="f718"/>
                    </a:lnTo>
                    <a:lnTo>
                      <a:pt x="f688" y="f719"/>
                    </a:lnTo>
                    <a:lnTo>
                      <a:pt x="f720" y="f721"/>
                    </a:lnTo>
                    <a:lnTo>
                      <a:pt x="f722" y="f723"/>
                    </a:lnTo>
                    <a:lnTo>
                      <a:pt x="f697" y="f724"/>
                    </a:lnTo>
                    <a:lnTo>
                      <a:pt x="f725" y="f205"/>
                    </a:lnTo>
                    <a:lnTo>
                      <a:pt x="f726" y="f715"/>
                    </a:lnTo>
                    <a:lnTo>
                      <a:pt x="f727" y="f728"/>
                    </a:lnTo>
                    <a:lnTo>
                      <a:pt x="f529" y="f729"/>
                    </a:lnTo>
                    <a:lnTo>
                      <a:pt x="f730" y="f709"/>
                    </a:lnTo>
                    <a:lnTo>
                      <a:pt x="f227" y="f136"/>
                    </a:lnTo>
                    <a:lnTo>
                      <a:pt x="f731" y="f130"/>
                    </a:lnTo>
                    <a:lnTo>
                      <a:pt x="f518" y="f732"/>
                    </a:lnTo>
                    <a:lnTo>
                      <a:pt x="f699" y="f733"/>
                    </a:lnTo>
                    <a:lnTo>
                      <a:pt x="f734" y="f735"/>
                    </a:lnTo>
                    <a:lnTo>
                      <a:pt x="f696" y="f736"/>
                    </a:lnTo>
                    <a:lnTo>
                      <a:pt x="f737" y="f115"/>
                    </a:lnTo>
                    <a:lnTo>
                      <a:pt x="f737" y="f676"/>
                    </a:lnTo>
                    <a:lnTo>
                      <a:pt x="f237" y="f198"/>
                    </a:lnTo>
                    <a:lnTo>
                      <a:pt x="f738" y="f196"/>
                    </a:lnTo>
                    <a:lnTo>
                      <a:pt x="f734" y="f739"/>
                    </a:lnTo>
                    <a:lnTo>
                      <a:pt x="f740" y="f741"/>
                    </a:lnTo>
                    <a:lnTo>
                      <a:pt x="f701" y="f101"/>
                    </a:lnTo>
                    <a:lnTo>
                      <a:pt x="f742" y="f101"/>
                    </a:lnTo>
                    <a:lnTo>
                      <a:pt x="f731" y="f741"/>
                    </a:lnTo>
                    <a:lnTo>
                      <a:pt x="f521" y="f97"/>
                    </a:lnTo>
                    <a:lnTo>
                      <a:pt x="f731" y="f95"/>
                    </a:lnTo>
                    <a:lnTo>
                      <a:pt x="f743" y="f744"/>
                    </a:lnTo>
                    <a:lnTo>
                      <a:pt x="f745" y="f626"/>
                    </a:lnTo>
                    <a:lnTo>
                      <a:pt x="f699" y="f627"/>
                    </a:lnTo>
                    <a:lnTo>
                      <a:pt x="f514" y="f586"/>
                    </a:lnTo>
                    <a:lnTo>
                      <a:pt x="f746" y="f631"/>
                    </a:lnTo>
                    <a:lnTo>
                      <a:pt x="f738" y="f177"/>
                    </a:lnTo>
                    <a:lnTo>
                      <a:pt x="f746" y="f747"/>
                    </a:lnTo>
                    <a:lnTo>
                      <a:pt x="f748" y="f749"/>
                    </a:lnTo>
                    <a:lnTo>
                      <a:pt x="f514" y="f178"/>
                    </a:lnTo>
                    <a:lnTo>
                      <a:pt x="f236" y="f750"/>
                    </a:lnTo>
                    <a:lnTo>
                      <a:pt x="f740" y="f180"/>
                    </a:lnTo>
                    <a:lnTo>
                      <a:pt x="f699" y="f180"/>
                    </a:lnTo>
                    <a:lnTo>
                      <a:pt x="f751" y="f85"/>
                    </a:lnTo>
                    <a:lnTo>
                      <a:pt x="f516" y="f85"/>
                    </a:lnTo>
                    <a:lnTo>
                      <a:pt x="f752" y="f753"/>
                    </a:lnTo>
                    <a:lnTo>
                      <a:pt x="f752" y="f589"/>
                    </a:lnTo>
                    <a:lnTo>
                      <a:pt x="f754" y="f668"/>
                    </a:lnTo>
                    <a:lnTo>
                      <a:pt x="f755" y="f618"/>
                    </a:lnTo>
                    <a:lnTo>
                      <a:pt x="f756" y="f81"/>
                    </a:lnTo>
                    <a:lnTo>
                      <a:pt x="f734" y="f757"/>
                    </a:lnTo>
                    <a:lnTo>
                      <a:pt x="f758" y="f757"/>
                    </a:lnTo>
                    <a:lnTo>
                      <a:pt x="f738" y="f590"/>
                    </a:lnTo>
                    <a:lnTo>
                      <a:pt x="f759" y="f590"/>
                    </a:lnTo>
                    <a:lnTo>
                      <a:pt x="f696" y="f760"/>
                    </a:lnTo>
                    <a:lnTo>
                      <a:pt x="f696" y="f761"/>
                    </a:lnTo>
                    <a:lnTo>
                      <a:pt x="f746" y="f762"/>
                    </a:lnTo>
                    <a:lnTo>
                      <a:pt x="f734" y="f763"/>
                    </a:lnTo>
                    <a:lnTo>
                      <a:pt x="f764" y="f765"/>
                    </a:lnTo>
                    <a:lnTo>
                      <a:pt x="f766" y="f767"/>
                    </a:lnTo>
                    <a:lnTo>
                      <a:pt x="f241" y="f768"/>
                    </a:lnTo>
                    <a:lnTo>
                      <a:pt x="f512" y="f32"/>
                    </a:lnTo>
                    <a:lnTo>
                      <a:pt x="f241" y="f20"/>
                    </a:lnTo>
                    <a:lnTo>
                      <a:pt x="f769" y="f16"/>
                    </a:lnTo>
                    <a:lnTo>
                      <a:pt x="f770" y="f25"/>
                    </a:lnTo>
                    <a:lnTo>
                      <a:pt x="f239" y="f771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91" name="Freeform 11">
                <a:extLst>
                  <a:ext uri="{FF2B5EF4-FFF2-40B4-BE49-F238E27FC236}">
                    <a16:creationId xmlns:a16="http://schemas.microsoft.com/office/drawing/2014/main" id="{F2D811A9-0673-446B-9A14-17B6F0A352AB}"/>
                  </a:ext>
                </a:extLst>
              </p:cNvPr>
              <p:cNvSpPr/>
              <p:nvPr/>
            </p:nvSpPr>
            <p:spPr>
              <a:xfrm>
                <a:off x="3982202" y="1879338"/>
                <a:ext cx="286079" cy="191009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316"/>
                  <a:gd name="f7" fmla="val 983"/>
                  <a:gd name="f8" fmla="val 650"/>
                  <a:gd name="f9" fmla="val 654"/>
                  <a:gd name="f10" fmla="val 2"/>
                  <a:gd name="f11" fmla="val 656"/>
                  <a:gd name="f12" fmla="val 7"/>
                  <a:gd name="f13" fmla="val 16"/>
                  <a:gd name="f14" fmla="val 658"/>
                  <a:gd name="f15" fmla="val 24"/>
                  <a:gd name="f16" fmla="val 664"/>
                  <a:gd name="f17" fmla="val 41"/>
                  <a:gd name="f18" fmla="val 663"/>
                  <a:gd name="f19" fmla="val 48"/>
                  <a:gd name="f20" fmla="val 660"/>
                  <a:gd name="f21" fmla="val 53"/>
                  <a:gd name="f22" fmla="val 58"/>
                  <a:gd name="f23" fmla="val 64"/>
                  <a:gd name="f24" fmla="val 69"/>
                  <a:gd name="f25" fmla="val 657"/>
                  <a:gd name="f26" fmla="val 72"/>
                  <a:gd name="f27" fmla="val 661"/>
                  <a:gd name="f28" fmla="val 667"/>
                  <a:gd name="f29" fmla="val 671"/>
                  <a:gd name="f30" fmla="val 66"/>
                  <a:gd name="f31" fmla="val 676"/>
                  <a:gd name="f32" fmla="val 63"/>
                  <a:gd name="f33" fmla="val 679"/>
                  <a:gd name="f34" fmla="val 62"/>
                  <a:gd name="f35" fmla="val 684"/>
                  <a:gd name="f36" fmla="val 687"/>
                  <a:gd name="f37" fmla="val 65"/>
                  <a:gd name="f38" fmla="val 689"/>
                  <a:gd name="f39" fmla="val 692"/>
                  <a:gd name="f40" fmla="val 68"/>
                  <a:gd name="f41" fmla="val 697"/>
                  <a:gd name="f42" fmla="val 718"/>
                  <a:gd name="f43" fmla="val 728"/>
                  <a:gd name="f44" fmla="val 56"/>
                  <a:gd name="f45" fmla="val 735"/>
                  <a:gd name="f46" fmla="val 741"/>
                  <a:gd name="f47" fmla="val 71"/>
                  <a:gd name="f48" fmla="val 742"/>
                  <a:gd name="f49" fmla="val 77"/>
                  <a:gd name="f50" fmla="val 738"/>
                  <a:gd name="f51" fmla="val 81"/>
                  <a:gd name="f52" fmla="val 83"/>
                  <a:gd name="f53" fmla="val 732"/>
                  <a:gd name="f54" fmla="val 84"/>
                  <a:gd name="f55" fmla="val 730"/>
                  <a:gd name="f56" fmla="val 86"/>
                  <a:gd name="f57" fmla="val 731"/>
                  <a:gd name="f58" fmla="val 90"/>
                  <a:gd name="f59" fmla="val 734"/>
                  <a:gd name="f60" fmla="val 95"/>
                  <a:gd name="f61" fmla="val 743"/>
                  <a:gd name="f62" fmla="val 107"/>
                  <a:gd name="f63" fmla="val 749"/>
                  <a:gd name="f64" fmla="val 118"/>
                  <a:gd name="f65" fmla="val 756"/>
                  <a:gd name="f66" fmla="val 127"/>
                  <a:gd name="f67" fmla="val 761"/>
                  <a:gd name="f68" fmla="val 133"/>
                  <a:gd name="f69" fmla="val 769"/>
                  <a:gd name="f70" fmla="val 135"/>
                  <a:gd name="f71" fmla="val 779"/>
                  <a:gd name="f72" fmla="val 138"/>
                  <a:gd name="f73" fmla="val 793"/>
                  <a:gd name="f74" fmla="val 140"/>
                  <a:gd name="f75" fmla="val 808"/>
                  <a:gd name="f76" fmla="val 141"/>
                  <a:gd name="f77" fmla="val 821"/>
                  <a:gd name="f78" fmla="val 831"/>
                  <a:gd name="f79" fmla="val 137"/>
                  <a:gd name="f80" fmla="val 841"/>
                  <a:gd name="f81" fmla="val 129"/>
                  <a:gd name="f82" fmla="val 849"/>
                  <a:gd name="f83" fmla="val 123"/>
                  <a:gd name="f84" fmla="val 852"/>
                  <a:gd name="f85" fmla="val 116"/>
                  <a:gd name="f86" fmla="val 850"/>
                  <a:gd name="f87" fmla="val 109"/>
                  <a:gd name="f88" fmla="val 846"/>
                  <a:gd name="f89" fmla="val 102"/>
                  <a:gd name="f90" fmla="val 837"/>
                  <a:gd name="f91" fmla="val 92"/>
                  <a:gd name="f92" fmla="val 835"/>
                  <a:gd name="f93" fmla="val 838"/>
                  <a:gd name="f94" fmla="val 80"/>
                  <a:gd name="f95" fmla="val 840"/>
                  <a:gd name="f96" fmla="val 843"/>
                  <a:gd name="f97" fmla="val 75"/>
                  <a:gd name="f98" fmla="val 851"/>
                  <a:gd name="f99" fmla="val 76"/>
                  <a:gd name="f100" fmla="val 859"/>
                  <a:gd name="f101" fmla="val 868"/>
                  <a:gd name="f102" fmla="val 879"/>
                  <a:gd name="f103" fmla="val 889"/>
                  <a:gd name="f104" fmla="val 895"/>
                  <a:gd name="f105" fmla="val 61"/>
                  <a:gd name="f106" fmla="val 902"/>
                  <a:gd name="f107" fmla="val 909"/>
                  <a:gd name="f108" fmla="val 67"/>
                  <a:gd name="f109" fmla="val 917"/>
                  <a:gd name="f110" fmla="val 73"/>
                  <a:gd name="f111" fmla="val 924"/>
                  <a:gd name="f112" fmla="val 932"/>
                  <a:gd name="f113" fmla="val 942"/>
                  <a:gd name="f114" fmla="val 962"/>
                  <a:gd name="f115" fmla="val 968"/>
                  <a:gd name="f116" fmla="val 97"/>
                  <a:gd name="f117" fmla="val 970"/>
                  <a:gd name="f118" fmla="val 100"/>
                  <a:gd name="f119" fmla="val 966"/>
                  <a:gd name="f120" fmla="val 105"/>
                  <a:gd name="f121" fmla="val 963"/>
                  <a:gd name="f122" fmla="val 961"/>
                  <a:gd name="f123" fmla="val 114"/>
                  <a:gd name="f124" fmla="val 122"/>
                  <a:gd name="f125" fmla="val 128"/>
                  <a:gd name="f126" fmla="val 973"/>
                  <a:gd name="f127" fmla="val 981"/>
                  <a:gd name="f128" fmla="val 121"/>
                  <a:gd name="f129" fmla="val 986"/>
                  <a:gd name="f130" fmla="val 120"/>
                  <a:gd name="f131" fmla="val 1001"/>
                  <a:gd name="f132" fmla="val 1012"/>
                  <a:gd name="f133" fmla="val 119"/>
                  <a:gd name="f134" fmla="val 1022"/>
                  <a:gd name="f135" fmla="val 1029"/>
                  <a:gd name="f136" fmla="val 1036"/>
                  <a:gd name="f137" fmla="val 1038"/>
                  <a:gd name="f138" fmla="val 1040"/>
                  <a:gd name="f139" fmla="val 134"/>
                  <a:gd name="f140" fmla="val 1045"/>
                  <a:gd name="f141" fmla="val 144"/>
                  <a:gd name="f142" fmla="val 1053"/>
                  <a:gd name="f143" fmla="val 156"/>
                  <a:gd name="f144" fmla="val 1072"/>
                  <a:gd name="f145" fmla="val 184"/>
                  <a:gd name="f146" fmla="val 1082"/>
                  <a:gd name="f147" fmla="val 197"/>
                  <a:gd name="f148" fmla="val 1090"/>
                  <a:gd name="f149" fmla="val 209"/>
                  <a:gd name="f150" fmla="val 1097"/>
                  <a:gd name="f151" fmla="val 217"/>
                  <a:gd name="f152" fmla="val 1101"/>
                  <a:gd name="f153" fmla="val 223"/>
                  <a:gd name="f154" fmla="val 1102"/>
                  <a:gd name="f155" fmla="val 228"/>
                  <a:gd name="f156" fmla="val 1099"/>
                  <a:gd name="f157" fmla="val 231"/>
                  <a:gd name="f158" fmla="val 1095"/>
                  <a:gd name="f159" fmla="val 235"/>
                  <a:gd name="f160" fmla="val 1093"/>
                  <a:gd name="f161" fmla="val 238"/>
                  <a:gd name="f162" fmla="val 1094"/>
                  <a:gd name="f163" fmla="val 242"/>
                  <a:gd name="f164" fmla="val 247"/>
                  <a:gd name="f165" fmla="val 250"/>
                  <a:gd name="f166" fmla="val 1096"/>
                  <a:gd name="f167" fmla="val 253"/>
                  <a:gd name="f168" fmla="val 256"/>
                  <a:gd name="f169" fmla="val 1098"/>
                  <a:gd name="f170" fmla="val 262"/>
                  <a:gd name="f171" fmla="val 265"/>
                  <a:gd name="f172" fmla="val 1107"/>
                  <a:gd name="f173" fmla="val 264"/>
                  <a:gd name="f174" fmla="val 1110"/>
                  <a:gd name="f175" fmla="val 260"/>
                  <a:gd name="f176" fmla="val 1114"/>
                  <a:gd name="f177" fmla="val 257"/>
                  <a:gd name="f178" fmla="val 1119"/>
                  <a:gd name="f179" fmla="val 255"/>
                  <a:gd name="f180" fmla="val 1129"/>
                  <a:gd name="f181" fmla="val 1139"/>
                  <a:gd name="f182" fmla="val 1148"/>
                  <a:gd name="f183" fmla="val 1156"/>
                  <a:gd name="f184" fmla="val 266"/>
                  <a:gd name="f185" fmla="val 1163"/>
                  <a:gd name="f186" fmla="val 1179"/>
                  <a:gd name="f187" fmla="val 1184"/>
                  <a:gd name="f188" fmla="val 269"/>
                  <a:gd name="f189" fmla="val 274"/>
                  <a:gd name="f190" fmla="val 1181"/>
                  <a:gd name="f191" fmla="val 280"/>
                  <a:gd name="f192" fmla="val 1175"/>
                  <a:gd name="f193" fmla="val 285"/>
                  <a:gd name="f194" fmla="val 1170"/>
                  <a:gd name="f195" fmla="val 293"/>
                  <a:gd name="f196" fmla="val 1162"/>
                  <a:gd name="f197" fmla="val 308"/>
                  <a:gd name="f198" fmla="val 1158"/>
                  <a:gd name="f199" fmla="val 311"/>
                  <a:gd name="f200" fmla="val 1153"/>
                  <a:gd name="f201" fmla="val 312"/>
                  <a:gd name="f202" fmla="val 1145"/>
                  <a:gd name="f203" fmla="val 314"/>
                  <a:gd name="f204" fmla="val 1143"/>
                  <a:gd name="f205" fmla="val 317"/>
                  <a:gd name="f206" fmla="val 1140"/>
                  <a:gd name="f207" fmla="val 323"/>
                  <a:gd name="f208" fmla="val 1115"/>
                  <a:gd name="f209" fmla="val 348"/>
                  <a:gd name="f210" fmla="val 355"/>
                  <a:gd name="f211" fmla="val 362"/>
                  <a:gd name="f212" fmla="val 1100"/>
                  <a:gd name="f213" fmla="val 367"/>
                  <a:gd name="f214" fmla="val 371"/>
                  <a:gd name="f215" fmla="val 1105"/>
                  <a:gd name="f216" fmla="val 374"/>
                  <a:gd name="f217" fmla="val 1111"/>
                  <a:gd name="f218" fmla="val 379"/>
                  <a:gd name="f219" fmla="val 1116"/>
                  <a:gd name="f220" fmla="val 385"/>
                  <a:gd name="f221" fmla="val 1118"/>
                  <a:gd name="f222" fmla="val 388"/>
                  <a:gd name="f223" fmla="val 394"/>
                  <a:gd name="f224" fmla="val 1117"/>
                  <a:gd name="f225" fmla="val 395"/>
                  <a:gd name="f226" fmla="val 396"/>
                  <a:gd name="f227" fmla="val 1113"/>
                  <a:gd name="f228" fmla="val 1112"/>
                  <a:gd name="f229" fmla="val 397"/>
                  <a:gd name="f230" fmla="val 400"/>
                  <a:gd name="f231" fmla="val 403"/>
                  <a:gd name="f232" fmla="val 1120"/>
                  <a:gd name="f233" fmla="val 405"/>
                  <a:gd name="f234" fmla="val 1127"/>
                  <a:gd name="f235" fmla="val 407"/>
                  <a:gd name="f236" fmla="val 1132"/>
                  <a:gd name="f237" fmla="val 410"/>
                  <a:gd name="f238" fmla="val 1133"/>
                  <a:gd name="f239" fmla="val 412"/>
                  <a:gd name="f240" fmla="val 413"/>
                  <a:gd name="f241" fmla="val 415"/>
                  <a:gd name="f242" fmla="val 1131"/>
                  <a:gd name="f243" fmla="val 416"/>
                  <a:gd name="f244" fmla="val 417"/>
                  <a:gd name="f245" fmla="val 1125"/>
                  <a:gd name="f246" fmla="val 422"/>
                  <a:gd name="f247" fmla="val 1123"/>
                  <a:gd name="f248" fmla="val 426"/>
                  <a:gd name="f249" fmla="val 428"/>
                  <a:gd name="f250" fmla="val 1124"/>
                  <a:gd name="f251" fmla="val 429"/>
                  <a:gd name="f252" fmla="val 1126"/>
                  <a:gd name="f253" fmla="val 427"/>
                  <a:gd name="f254" fmla="val 1134"/>
                  <a:gd name="f255" fmla="val 1137"/>
                  <a:gd name="f256" fmla="val 1138"/>
                  <a:gd name="f257" fmla="val 435"/>
                  <a:gd name="f258" fmla="val 439"/>
                  <a:gd name="f259" fmla="val 1141"/>
                  <a:gd name="f260" fmla="val 442"/>
                  <a:gd name="f261" fmla="val 446"/>
                  <a:gd name="f262" fmla="val 452"/>
                  <a:gd name="f263" fmla="val 1155"/>
                  <a:gd name="f264" fmla="val 456"/>
                  <a:gd name="f265" fmla="val 1159"/>
                  <a:gd name="f266" fmla="val 455"/>
                  <a:gd name="f267" fmla="val 1164"/>
                  <a:gd name="f268" fmla="val 451"/>
                  <a:gd name="f269" fmla="val 1169"/>
                  <a:gd name="f270" fmla="val 1174"/>
                  <a:gd name="f271" fmla="val 445"/>
                  <a:gd name="f272" fmla="val 1182"/>
                  <a:gd name="f273" fmla="val 444"/>
                  <a:gd name="f274" fmla="val 1188"/>
                  <a:gd name="f275" fmla="val 1196"/>
                  <a:gd name="f276" fmla="val 1199"/>
                  <a:gd name="f277" fmla="val 443"/>
                  <a:gd name="f278" fmla="val 1202"/>
                  <a:gd name="f279" fmla="val 1204"/>
                  <a:gd name="f280" fmla="val 1206"/>
                  <a:gd name="f281" fmla="val 1208"/>
                  <a:gd name="f282" fmla="val 454"/>
                  <a:gd name="f283" fmla="val 1213"/>
                  <a:gd name="f284" fmla="val 453"/>
                  <a:gd name="f285" fmla="val 1221"/>
                  <a:gd name="f286" fmla="val 1226"/>
                  <a:gd name="f287" fmla="val 1233"/>
                  <a:gd name="f288" fmla="val 1242"/>
                  <a:gd name="f289" fmla="val 450"/>
                  <a:gd name="f290" fmla="val 1251"/>
                  <a:gd name="f291" fmla="val 1260"/>
                  <a:gd name="f292" fmla="val 1263"/>
                  <a:gd name="f293" fmla="val 457"/>
                  <a:gd name="f294" fmla="val 458"/>
                  <a:gd name="f295" fmla="val 1261"/>
                  <a:gd name="f296" fmla="val 462"/>
                  <a:gd name="f297" fmla="val 1259"/>
                  <a:gd name="f298" fmla="val 467"/>
                  <a:gd name="f299" fmla="val 1257"/>
                  <a:gd name="f300" fmla="val 476"/>
                  <a:gd name="f301" fmla="val 1256"/>
                  <a:gd name="f302" fmla="val 488"/>
                  <a:gd name="f303" fmla="val 1258"/>
                  <a:gd name="f304" fmla="val 498"/>
                  <a:gd name="f305" fmla="val 503"/>
                  <a:gd name="f306" fmla="val 1266"/>
                  <a:gd name="f307" fmla="val 507"/>
                  <a:gd name="f308" fmla="val 1273"/>
                  <a:gd name="f309" fmla="val 508"/>
                  <a:gd name="f310" fmla="val 1284"/>
                  <a:gd name="f311" fmla="val 510"/>
                  <a:gd name="f312" fmla="val 1288"/>
                  <a:gd name="f313" fmla="val 512"/>
                  <a:gd name="f314" fmla="val 1290"/>
                  <a:gd name="f315" fmla="val 517"/>
                  <a:gd name="f316" fmla="val 528"/>
                  <a:gd name="f317" fmla="val 1287"/>
                  <a:gd name="f318" fmla="val 538"/>
                  <a:gd name="f319" fmla="val 1283"/>
                  <a:gd name="f320" fmla="val 548"/>
                  <a:gd name="f321" fmla="val 1280"/>
                  <a:gd name="f322" fmla="val 556"/>
                  <a:gd name="f323" fmla="val 569"/>
                  <a:gd name="f324" fmla="val 1278"/>
                  <a:gd name="f325" fmla="val 579"/>
                  <a:gd name="f326" fmla="val 1275"/>
                  <a:gd name="f327" fmla="val 588"/>
                  <a:gd name="f328" fmla="val 1271"/>
                  <a:gd name="f329" fmla="val 598"/>
                  <a:gd name="f330" fmla="val 1267"/>
                  <a:gd name="f331" fmla="val 607"/>
                  <a:gd name="f332" fmla="val 1264"/>
                  <a:gd name="f333" fmla="val 613"/>
                  <a:gd name="f334" fmla="val 1265"/>
                  <a:gd name="f335" fmla="val 617"/>
                  <a:gd name="f336" fmla="val 1270"/>
                  <a:gd name="f337" fmla="val 624"/>
                  <a:gd name="f338" fmla="val 1276"/>
                  <a:gd name="f339" fmla="val 630"/>
                  <a:gd name="f340" fmla="val 1285"/>
                  <a:gd name="f341" fmla="val 637"/>
                  <a:gd name="f342" fmla="val 1294"/>
                  <a:gd name="f343" fmla="val 644"/>
                  <a:gd name="f344" fmla="val 1302"/>
                  <a:gd name="f345" fmla="val 651"/>
                  <a:gd name="f346" fmla="val 1308"/>
                  <a:gd name="f347" fmla="val 1311"/>
                  <a:gd name="f348" fmla="val 1315"/>
                  <a:gd name="f349" fmla="val 669"/>
                  <a:gd name="f350" fmla="val 680"/>
                  <a:gd name="f351" fmla="val 693"/>
                  <a:gd name="f352" fmla="val 700"/>
                  <a:gd name="f353" fmla="val 1305"/>
                  <a:gd name="f354" fmla="val 706"/>
                  <a:gd name="f355" fmla="val 1298"/>
                  <a:gd name="f356" fmla="val 710"/>
                  <a:gd name="f357" fmla="val 717"/>
                  <a:gd name="f358" fmla="val 1269"/>
                  <a:gd name="f359" fmla="val 715"/>
                  <a:gd name="f360" fmla="val 711"/>
                  <a:gd name="f361" fmla="val 1250"/>
                  <a:gd name="f362" fmla="val 707"/>
                  <a:gd name="f363" fmla="val 1239"/>
                  <a:gd name="f364" fmla="val 1229"/>
                  <a:gd name="f365" fmla="val 1222"/>
                  <a:gd name="f366" fmla="val 716"/>
                  <a:gd name="f367" fmla="val 1218"/>
                  <a:gd name="f368" fmla="val 724"/>
                  <a:gd name="f369" fmla="val 1215"/>
                  <a:gd name="f370" fmla="val 739"/>
                  <a:gd name="f371" fmla="val 1211"/>
                  <a:gd name="f372" fmla="val 745"/>
                  <a:gd name="f373" fmla="val 1210"/>
                  <a:gd name="f374" fmla="val 752"/>
                  <a:gd name="f375" fmla="val 757"/>
                  <a:gd name="f376" fmla="val 764"/>
                  <a:gd name="f377" fmla="val 1214"/>
                  <a:gd name="f378" fmla="val 772"/>
                  <a:gd name="f379" fmla="val 778"/>
                  <a:gd name="f380" fmla="val 1203"/>
                  <a:gd name="f381" fmla="val 783"/>
                  <a:gd name="f382" fmla="val 1191"/>
                  <a:gd name="f383" fmla="val 788"/>
                  <a:gd name="f384" fmla="val 799"/>
                  <a:gd name="f385" fmla="val 1151"/>
                  <a:gd name="f386" fmla="val 804"/>
                  <a:gd name="f387" fmla="val 809"/>
                  <a:gd name="f388" fmla="val 1136"/>
                  <a:gd name="f389" fmla="val 814"/>
                  <a:gd name="f390" fmla="val 1130"/>
                  <a:gd name="f391" fmla="val 824"/>
                  <a:gd name="f392" fmla="val 826"/>
                  <a:gd name="f393" fmla="val 830"/>
                  <a:gd name="f394" fmla="val 1104"/>
                  <a:gd name="f395" fmla="val 854"/>
                  <a:gd name="f396" fmla="val 1108"/>
                  <a:gd name="f397" fmla="val 860"/>
                  <a:gd name="f398" fmla="val 870"/>
                  <a:gd name="f399" fmla="val 881"/>
                  <a:gd name="f400" fmla="val 893"/>
                  <a:gd name="f401" fmla="val 908"/>
                  <a:gd name="f402" fmla="val 911"/>
                  <a:gd name="f403" fmla="val 912"/>
                  <a:gd name="f404" fmla="val 1103"/>
                  <a:gd name="f405" fmla="val 914"/>
                  <a:gd name="f406" fmla="val 915"/>
                  <a:gd name="f407" fmla="val 1087"/>
                  <a:gd name="f408" fmla="val 922"/>
                  <a:gd name="f409" fmla="val 1081"/>
                  <a:gd name="f410" fmla="val 929"/>
                  <a:gd name="f411" fmla="val 938"/>
                  <a:gd name="f412" fmla="val 1085"/>
                  <a:gd name="f413" fmla="val 947"/>
                  <a:gd name="f414" fmla="val 957"/>
                  <a:gd name="f415" fmla="val 1088"/>
                  <a:gd name="f416" fmla="val 967"/>
                  <a:gd name="f417" fmla="val 974"/>
                  <a:gd name="f418" fmla="val 1074"/>
                  <a:gd name="f419" fmla="val 1066"/>
                  <a:gd name="f420" fmla="val 1058"/>
                  <a:gd name="f421" fmla="val 977"/>
                  <a:gd name="f422" fmla="val 1055"/>
                  <a:gd name="f423" fmla="val 972"/>
                  <a:gd name="f424" fmla="val 1056"/>
                  <a:gd name="f425" fmla="val 960"/>
                  <a:gd name="f426" fmla="val 952"/>
                  <a:gd name="f427" fmla="val 943"/>
                  <a:gd name="f428" fmla="val 936"/>
                  <a:gd name="f429" fmla="val 1049"/>
                  <a:gd name="f430" fmla="val 931"/>
                  <a:gd name="f431" fmla="val 1042"/>
                  <a:gd name="f432" fmla="val 928"/>
                  <a:gd name="f433" fmla="val 1035"/>
                  <a:gd name="f434" fmla="val 927"/>
                  <a:gd name="f435" fmla="val 1026"/>
                  <a:gd name="f436" fmla="val 1024"/>
                  <a:gd name="f437" fmla="val 1021"/>
                  <a:gd name="f438" fmla="val 944"/>
                  <a:gd name="f439" fmla="val 1016"/>
                  <a:gd name="f440" fmla="val 950"/>
                  <a:gd name="f441" fmla="val 1009"/>
                  <a:gd name="f442" fmla="val 999"/>
                  <a:gd name="f443" fmla="val 982"/>
                  <a:gd name="f444" fmla="val 941"/>
                  <a:gd name="f445" fmla="val 978"/>
                  <a:gd name="f446" fmla="val 937"/>
                  <a:gd name="f447" fmla="val 976"/>
                  <a:gd name="f448" fmla="val 930"/>
                  <a:gd name="f449" fmla="val 975"/>
                  <a:gd name="f450" fmla="val 923"/>
                  <a:gd name="f451" fmla="val 916"/>
                  <a:gd name="f452" fmla="val 897"/>
                  <a:gd name="f453" fmla="val 886"/>
                  <a:gd name="f454" fmla="val 880"/>
                  <a:gd name="f455" fmla="val 877"/>
                  <a:gd name="f456" fmla="val 875"/>
                  <a:gd name="f457" fmla="val 874"/>
                  <a:gd name="f458" fmla="val 871"/>
                  <a:gd name="f459" fmla="val 865"/>
                  <a:gd name="f460" fmla="val 958"/>
                  <a:gd name="f461" fmla="val 856"/>
                  <a:gd name="f462" fmla="val 956"/>
                  <a:gd name="f463" fmla="val 827"/>
                  <a:gd name="f464" fmla="val 810"/>
                  <a:gd name="f465" fmla="val 777"/>
                  <a:gd name="f466" fmla="val 763"/>
                  <a:gd name="f467" fmla="val 740"/>
                  <a:gd name="f468" fmla="val 955"/>
                  <a:gd name="f469" fmla="val 949"/>
                  <a:gd name="f470" fmla="val 708"/>
                  <a:gd name="f471" fmla="val 691"/>
                  <a:gd name="f472" fmla="val 688"/>
                  <a:gd name="f473" fmla="val 883"/>
                  <a:gd name="f474" fmla="val 872"/>
                  <a:gd name="f475" fmla="val 686"/>
                  <a:gd name="f476" fmla="val 833"/>
                  <a:gd name="f477" fmla="val 822"/>
                  <a:gd name="f478" fmla="val 816"/>
                  <a:gd name="f479" fmla="val 682"/>
                  <a:gd name="f480" fmla="val 811"/>
                  <a:gd name="f481" fmla="val 813"/>
                  <a:gd name="f482" fmla="val 694"/>
                  <a:gd name="f483" fmla="val 702"/>
                  <a:gd name="f484" fmla="val 720"/>
                  <a:gd name="f485" fmla="val 820"/>
                  <a:gd name="f486" fmla="val 815"/>
                  <a:gd name="f487" fmla="val 759"/>
                  <a:gd name="f488" fmla="val 765"/>
                  <a:gd name="f489" fmla="val 829"/>
                  <a:gd name="f490" fmla="val 768"/>
                  <a:gd name="f491" fmla="val 775"/>
                  <a:gd name="f492" fmla="val 825"/>
                  <a:gd name="f493" fmla="val 789"/>
                  <a:gd name="f494" fmla="val 782"/>
                  <a:gd name="f495" fmla="val 780"/>
                  <a:gd name="f496" fmla="val 794"/>
                  <a:gd name="f497" fmla="val 795"/>
                  <a:gd name="f498" fmla="val 797"/>
                  <a:gd name="f499" fmla="val 798"/>
                  <a:gd name="f500" fmla="val 776"/>
                  <a:gd name="f501" fmla="val 801"/>
                  <a:gd name="f502" fmla="val 802"/>
                  <a:gd name="f503" fmla="val 773"/>
                  <a:gd name="f504" fmla="val 803"/>
                  <a:gd name="f505" fmla="val 771"/>
                  <a:gd name="f506" fmla="val 800"/>
                  <a:gd name="f507" fmla="val 758"/>
                  <a:gd name="f508" fmla="val 753"/>
                  <a:gd name="f509" fmla="val 792"/>
                  <a:gd name="f510" fmla="val 712"/>
                  <a:gd name="f511" fmla="val 791"/>
                  <a:gd name="f512" fmla="val 698"/>
                  <a:gd name="f513" fmla="val 784"/>
                  <a:gd name="f514" fmla="val 760"/>
                  <a:gd name="f515" fmla="val 704"/>
                  <a:gd name="f516" fmla="val 737"/>
                  <a:gd name="f517" fmla="val 699"/>
                  <a:gd name="f518" fmla="val 690"/>
                  <a:gd name="f519" fmla="val 678"/>
                  <a:gd name="f520" fmla="val 725"/>
                  <a:gd name="f521" fmla="val 674"/>
                  <a:gd name="f522" fmla="val 721"/>
                  <a:gd name="f523" fmla="val 672"/>
                  <a:gd name="f524" fmla="val 714"/>
                  <a:gd name="f525" fmla="val 675"/>
                  <a:gd name="f526" fmla="val 683"/>
                  <a:gd name="f527" fmla="val 685"/>
                  <a:gd name="f528" fmla="val 666"/>
                  <a:gd name="f529" fmla="val 659"/>
                  <a:gd name="f530" fmla="val 673"/>
                  <a:gd name="f531" fmla="val 665"/>
                  <a:gd name="f532" fmla="val 655"/>
                  <a:gd name="f533" fmla="val 645"/>
                  <a:gd name="f534" fmla="val 641"/>
                  <a:gd name="f535" fmla="val 638"/>
                  <a:gd name="f536" fmla="val 652"/>
                  <a:gd name="f537" fmla="val 634"/>
                  <a:gd name="f538" fmla="val 629"/>
                  <a:gd name="f539" fmla="val 623"/>
                  <a:gd name="f540" fmla="val 648"/>
                  <a:gd name="f541" fmla="val 614"/>
                  <a:gd name="f542" fmla="val 643"/>
                  <a:gd name="f543" fmla="val 604"/>
                  <a:gd name="f544" fmla="val 594"/>
                  <a:gd name="f545" fmla="val 628"/>
                  <a:gd name="f546" fmla="val 583"/>
                  <a:gd name="f547" fmla="val 621"/>
                  <a:gd name="f548" fmla="val 573"/>
                  <a:gd name="f549" fmla="val 612"/>
                  <a:gd name="f550" fmla="val 565"/>
                  <a:gd name="f551" fmla="val 559"/>
                  <a:gd name="f552" fmla="val 602"/>
                  <a:gd name="f553" fmla="val 553"/>
                  <a:gd name="f554" fmla="val 601"/>
                  <a:gd name="f555" fmla="val 547"/>
                  <a:gd name="f556" fmla="val 605"/>
                  <a:gd name="f557" fmla="val 537"/>
                  <a:gd name="f558" fmla="val 530"/>
                  <a:gd name="f559" fmla="val 615"/>
                  <a:gd name="f560" fmla="val 525"/>
                  <a:gd name="f561" fmla="val 522"/>
                  <a:gd name="f562" fmla="val 610"/>
                  <a:gd name="f563" fmla="val 518"/>
                  <a:gd name="f564" fmla="val 515"/>
                  <a:gd name="f565" fmla="val 600"/>
                  <a:gd name="f566" fmla="val 502"/>
                  <a:gd name="f567" fmla="val 499"/>
                  <a:gd name="f568" fmla="val 587"/>
                  <a:gd name="f569" fmla="val 495"/>
                  <a:gd name="f570" fmla="val 574"/>
                  <a:gd name="f571" fmla="val 490"/>
                  <a:gd name="f572" fmla="val 570"/>
                  <a:gd name="f573" fmla="val 482"/>
                  <a:gd name="f574" fmla="val 584"/>
                  <a:gd name="f575" fmla="val 581"/>
                  <a:gd name="f576" fmla="val 433"/>
                  <a:gd name="f577" fmla="val 575"/>
                  <a:gd name="f578" fmla="val 423"/>
                  <a:gd name="f579" fmla="val 564"/>
                  <a:gd name="f580" fmla="val 562"/>
                  <a:gd name="f581" fmla="val 398"/>
                  <a:gd name="f582" fmla="val 399"/>
                  <a:gd name="f583" fmla="val 404"/>
                  <a:gd name="f584" fmla="val 406"/>
                  <a:gd name="f585" fmla="val 606"/>
                  <a:gd name="f586" fmla="val 616"/>
                  <a:gd name="f587" fmla="val 389"/>
                  <a:gd name="f588" fmla="val 625"/>
                  <a:gd name="f589" fmla="val 356"/>
                  <a:gd name="f590" fmla="val 345"/>
                  <a:gd name="f591" fmla="val 334"/>
                  <a:gd name="f592" fmla="val 325"/>
                  <a:gd name="f593" fmla="val 627"/>
                  <a:gd name="f594" fmla="val 320"/>
                  <a:gd name="f595" fmla="val 631"/>
                  <a:gd name="f596" fmla="val 307"/>
                  <a:gd name="f597" fmla="val 301"/>
                  <a:gd name="f598" fmla="val 294"/>
                  <a:gd name="f599" fmla="val 646"/>
                  <a:gd name="f600" fmla="val 289"/>
                  <a:gd name="f601" fmla="val 278"/>
                  <a:gd name="f602" fmla="val 636"/>
                  <a:gd name="f603" fmla="val 275"/>
                  <a:gd name="f604" fmla="val 626"/>
                  <a:gd name="f605" fmla="val 277"/>
                  <a:gd name="f606" fmla="val 279"/>
                  <a:gd name="f607" fmla="val 608"/>
                  <a:gd name="f608" fmla="val 267"/>
                  <a:gd name="f609" fmla="val 597"/>
                  <a:gd name="f610" fmla="val 259"/>
                  <a:gd name="f611" fmla="val 596"/>
                  <a:gd name="f612" fmla="val 251"/>
                  <a:gd name="f613" fmla="val 595"/>
                  <a:gd name="f614" fmla="val 243"/>
                  <a:gd name="f615" fmla="val 589"/>
                  <a:gd name="f616" fmla="val 233"/>
                  <a:gd name="f617" fmla="val 568"/>
                  <a:gd name="f618" fmla="val 234"/>
                  <a:gd name="f619" fmla="val 550"/>
                  <a:gd name="f620" fmla="val 229"/>
                  <a:gd name="f621" fmla="val 222"/>
                  <a:gd name="f622" fmla="val 524"/>
                  <a:gd name="f623" fmla="val 211"/>
                  <a:gd name="f624" fmla="val 497"/>
                  <a:gd name="f625" fmla="val 204"/>
                  <a:gd name="f626" fmla="val 489"/>
                  <a:gd name="f627" fmla="val 199"/>
                  <a:gd name="f628" fmla="val 486"/>
                  <a:gd name="f629" fmla="val 194"/>
                  <a:gd name="f630" fmla="val 185"/>
                  <a:gd name="f631" fmla="val 178"/>
                  <a:gd name="f632" fmla="val 174"/>
                  <a:gd name="f633" fmla="val 171"/>
                  <a:gd name="f634" fmla="val 500"/>
                  <a:gd name="f635" fmla="val 167"/>
                  <a:gd name="f636" fmla="val 487"/>
                  <a:gd name="f637" fmla="val 163"/>
                  <a:gd name="f638" fmla="val 481"/>
                  <a:gd name="f639" fmla="val 159"/>
                  <a:gd name="f640" fmla="val 154"/>
                  <a:gd name="f641" fmla="val 473"/>
                  <a:gd name="f642" fmla="val 147"/>
                  <a:gd name="f643" fmla="val 471"/>
                  <a:gd name="f644" fmla="val 449"/>
                  <a:gd name="f645" fmla="val 113"/>
                  <a:gd name="f646" fmla="val 438"/>
                  <a:gd name="f647" fmla="val 103"/>
                  <a:gd name="f648" fmla="val 421"/>
                  <a:gd name="f649" fmla="val 99"/>
                  <a:gd name="f650" fmla="val 411"/>
                  <a:gd name="f651" fmla="val 96"/>
                  <a:gd name="f652" fmla="val 91"/>
                  <a:gd name="f653" fmla="val 85"/>
                  <a:gd name="f654" fmla="val 409"/>
                  <a:gd name="f655" fmla="val 79"/>
                  <a:gd name="f656" fmla="val 51"/>
                  <a:gd name="f657" fmla="val 50"/>
                  <a:gd name="f658" fmla="val 55"/>
                  <a:gd name="f659" fmla="val 387"/>
                  <a:gd name="f660" fmla="val 368"/>
                  <a:gd name="f661" fmla="val 57"/>
                  <a:gd name="f662" fmla="val 342"/>
                  <a:gd name="f663" fmla="val 331"/>
                  <a:gd name="f664" fmla="val 43"/>
                  <a:gd name="f665" fmla="val 36"/>
                  <a:gd name="f666" fmla="val 319"/>
                  <a:gd name="f667" fmla="val 28"/>
                  <a:gd name="f668" fmla="val 315"/>
                  <a:gd name="f669" fmla="val 25"/>
                  <a:gd name="f670" fmla="val 23"/>
                  <a:gd name="f671" fmla="val 306"/>
                  <a:gd name="f672" fmla="val 19"/>
                  <a:gd name="f673" fmla="val 298"/>
                  <a:gd name="f674" fmla="val 13"/>
                  <a:gd name="f675" fmla="val 291"/>
                  <a:gd name="f676" fmla="val 8"/>
                  <a:gd name="f677" fmla="val 282"/>
                  <a:gd name="f678" fmla="val 272"/>
                  <a:gd name="f679" fmla="val 6"/>
                  <a:gd name="f680" fmla="val 252"/>
                  <a:gd name="f681" fmla="val 3"/>
                  <a:gd name="f682" fmla="val 249"/>
                  <a:gd name="f683" fmla="val 236"/>
                  <a:gd name="f684" fmla="val 225"/>
                  <a:gd name="f685" fmla="val 215"/>
                  <a:gd name="f686" fmla="val 208"/>
                  <a:gd name="f687" fmla="val 14"/>
                  <a:gd name="f688" fmla="val 201"/>
                  <a:gd name="f689" fmla="val 10"/>
                  <a:gd name="f690" fmla="val 191"/>
                  <a:gd name="f691" fmla="val 179"/>
                  <a:gd name="f692" fmla="val 168"/>
                  <a:gd name="f693" fmla="val 166"/>
                  <a:gd name="f694" fmla="val 30"/>
                  <a:gd name="f695" fmla="val 164"/>
                  <a:gd name="f696" fmla="val 150"/>
                  <a:gd name="f697" fmla="val 15"/>
                  <a:gd name="f698" fmla="val 136"/>
                  <a:gd name="f699" fmla="val 18"/>
                  <a:gd name="f700" fmla="val 130"/>
                  <a:gd name="f701" fmla="val 125"/>
                  <a:gd name="f702" fmla="val 33"/>
                  <a:gd name="f703" fmla="val 35"/>
                  <a:gd name="f704" fmla="val 104"/>
                  <a:gd name="f705" fmla="val 38"/>
                  <a:gd name="f706" fmla="val 93"/>
                  <a:gd name="f707" fmla="val 47"/>
                  <a:gd name="f708" fmla="val 59"/>
                  <a:gd name="f709" fmla="val 151"/>
                  <a:gd name="f710" fmla="val 158"/>
                  <a:gd name="f711" fmla="val 89"/>
                  <a:gd name="f712" fmla="val 162"/>
                  <a:gd name="f713" fmla="val 94"/>
                  <a:gd name="f714" fmla="val 161"/>
                  <a:gd name="f715" fmla="val 98"/>
                  <a:gd name="f716" fmla="val 157"/>
                  <a:gd name="f717" fmla="val 101"/>
                  <a:gd name="f718" fmla="val 153"/>
                  <a:gd name="f719" fmla="val 149"/>
                  <a:gd name="f720" fmla="val 110"/>
                  <a:gd name="f721" fmla="val 145"/>
                  <a:gd name="f722" fmla="val 115"/>
                  <a:gd name="f723" fmla="val 131"/>
                  <a:gd name="f724" fmla="val 152"/>
                  <a:gd name="f725" fmla="val 165"/>
                  <a:gd name="f726" fmla="val 155"/>
                  <a:gd name="f727" fmla="val 170"/>
                  <a:gd name="f728" fmla="val 173"/>
                  <a:gd name="f729" fmla="val 169"/>
                  <a:gd name="f730" fmla="val 177"/>
                  <a:gd name="f731" fmla="val 183"/>
                  <a:gd name="f732" fmla="val 187"/>
                  <a:gd name="f733" fmla="val 195"/>
                  <a:gd name="f734" fmla="val 263"/>
                  <a:gd name="f735" fmla="val 268"/>
                  <a:gd name="f736" fmla="val 290"/>
                  <a:gd name="f737" fmla="val 304"/>
                  <a:gd name="f738" fmla="val 310"/>
                  <a:gd name="f739" fmla="val 126"/>
                  <a:gd name="f740" fmla="val 341"/>
                  <a:gd name="f741" fmla="val 354"/>
                  <a:gd name="f742" fmla="val 366"/>
                  <a:gd name="f743" fmla="val 376"/>
                  <a:gd name="f744" fmla="val 383"/>
                  <a:gd name="f745" fmla="val 390"/>
                  <a:gd name="f746" fmla="val 420"/>
                  <a:gd name="f747" fmla="val 434"/>
                  <a:gd name="f748" fmla="val 437"/>
                  <a:gd name="f749" fmla="val 124"/>
                  <a:gd name="f750" fmla="val 447"/>
                  <a:gd name="f751" fmla="val 463"/>
                  <a:gd name="f752" fmla="val 470"/>
                  <a:gd name="f753" fmla="val 88"/>
                  <a:gd name="f754" fmla="val 82"/>
                  <a:gd name="f755" fmla="val 511"/>
                  <a:gd name="f756" fmla="val 521"/>
                  <a:gd name="f757" fmla="val 531"/>
                  <a:gd name="f758" fmla="val 541"/>
                  <a:gd name="f759" fmla="val 549"/>
                  <a:gd name="f760" fmla="val 558"/>
                  <a:gd name="f761" fmla="val 567"/>
                  <a:gd name="f762" fmla="val 49"/>
                  <a:gd name="f763" fmla="val 42"/>
                  <a:gd name="f764" fmla="val 599"/>
                  <a:gd name="f765" fmla="val 619"/>
                  <a:gd name="f766" fmla="val 12"/>
                  <a:gd name="f767" fmla="val 640"/>
                  <a:gd name="f768" fmla="val 5"/>
                  <a:gd name="f769" fmla="+- 0 0 -90"/>
                  <a:gd name="f770" fmla="*/ f3 1 1316"/>
                  <a:gd name="f771" fmla="*/ f4 1 983"/>
                  <a:gd name="f772" fmla="+- f7 0 f5"/>
                  <a:gd name="f773" fmla="+- f6 0 f5"/>
                  <a:gd name="f774" fmla="*/ f769 f0 1"/>
                  <a:gd name="f775" fmla="*/ f773 1 1316"/>
                  <a:gd name="f776" fmla="*/ f772 1 983"/>
                  <a:gd name="f777" fmla="*/ f774 1 f2"/>
                  <a:gd name="f778" fmla="*/ 654 1 f775"/>
                  <a:gd name="f779" fmla="*/ 69 1 f776"/>
                  <a:gd name="f780" fmla="*/ 697 1 f775"/>
                  <a:gd name="f781" fmla="*/ 734 1 f775"/>
                  <a:gd name="f782" fmla="*/ 95 1 f776"/>
                  <a:gd name="f783" fmla="*/ 841 1 f775"/>
                  <a:gd name="f784" fmla="*/ 129 1 f776"/>
                  <a:gd name="f785" fmla="*/ 846 1 f775"/>
                  <a:gd name="f786" fmla="*/ 68 1 f776"/>
                  <a:gd name="f787" fmla="*/ 924 1 f775"/>
                  <a:gd name="f788" fmla="*/ 76 1 f776"/>
                  <a:gd name="f789" fmla="*/ 970 1 f775"/>
                  <a:gd name="f790" fmla="*/ 1045 1 f775"/>
                  <a:gd name="f791" fmla="*/ 144 1 f776"/>
                  <a:gd name="f792" fmla="*/ 1094 1 f775"/>
                  <a:gd name="f793" fmla="*/ 242 1 f776"/>
                  <a:gd name="f794" fmla="*/ 1129 1 f775"/>
                  <a:gd name="f795" fmla="*/ 257 1 f776"/>
                  <a:gd name="f796" fmla="*/ 1162 1 f775"/>
                  <a:gd name="f797" fmla="*/ 308 1 f776"/>
                  <a:gd name="f798" fmla="*/ 1102 1 f775"/>
                  <a:gd name="f799" fmla="*/ 371 1 f776"/>
                  <a:gd name="f800" fmla="*/ 1112 1 f775"/>
                  <a:gd name="f801" fmla="*/ 400 1 f776"/>
                  <a:gd name="f802" fmla="*/ 1123 1 f775"/>
                  <a:gd name="f803" fmla="*/ 426 1 f776"/>
                  <a:gd name="f804" fmla="*/ 1140 1 f775"/>
                  <a:gd name="f805" fmla="*/ 435 1 f776"/>
                  <a:gd name="f806" fmla="*/ 1188 1 f775"/>
                  <a:gd name="f807" fmla="*/ 442 1 f776"/>
                  <a:gd name="f808" fmla="*/ 1242 1 f775"/>
                  <a:gd name="f809" fmla="*/ 450 1 f776"/>
                  <a:gd name="f810" fmla="*/ 1266 1 f775"/>
                  <a:gd name="f811" fmla="*/ 507 1 f776"/>
                  <a:gd name="f812" fmla="*/ 1275 1 f775"/>
                  <a:gd name="f813" fmla="*/ 588 1 f776"/>
                  <a:gd name="f814" fmla="*/ 1311 1 f775"/>
                  <a:gd name="f815" fmla="*/ 660 1 f776"/>
                  <a:gd name="f816" fmla="*/ 1250 1 f775"/>
                  <a:gd name="f817" fmla="*/ 707 1 f776"/>
                  <a:gd name="f818" fmla="*/ 1214 1 f775"/>
                  <a:gd name="f819" fmla="*/ 772 1 f776"/>
                  <a:gd name="f820" fmla="*/ 1115 1 f775"/>
                  <a:gd name="f821" fmla="*/ 830 1 f776"/>
                  <a:gd name="f822" fmla="*/ 912 1 f776"/>
                  <a:gd name="f823" fmla="*/ 1082 1 f775"/>
                  <a:gd name="f824" fmla="*/ 981 1 f776"/>
                  <a:gd name="f825" fmla="*/ 1042 1 f775"/>
                  <a:gd name="f826" fmla="*/ 928 1 f776"/>
                  <a:gd name="f827" fmla="*/ 976 1 f775"/>
                  <a:gd name="f828" fmla="*/ 930 1 f776"/>
                  <a:gd name="f829" fmla="*/ 967 1 f775"/>
                  <a:gd name="f830" fmla="*/ 871 1 f776"/>
                  <a:gd name="f831" fmla="*/ 960 1 f775"/>
                  <a:gd name="f832" fmla="*/ 731 1 f776"/>
                  <a:gd name="f833" fmla="*/ 816 1 f775"/>
                  <a:gd name="f834" fmla="*/ 682 1 f776"/>
                  <a:gd name="f835" fmla="*/ 804 1 f775"/>
                  <a:gd name="f836" fmla="*/ 759 1 f776"/>
                  <a:gd name="f837" fmla="*/ 779 1 f775"/>
                  <a:gd name="f838" fmla="*/ 795 1 f776"/>
                  <a:gd name="f839" fmla="*/ 758 1 f775"/>
                  <a:gd name="f840" fmla="*/ 794 1 f776"/>
                  <a:gd name="f841" fmla="*/ 707 1 f775"/>
                  <a:gd name="f842" fmla="*/ 745 1 f776"/>
                  <a:gd name="f843" fmla="*/ 672 1 f775"/>
                  <a:gd name="f844" fmla="*/ 702 1 f776"/>
                  <a:gd name="f845" fmla="*/ 655 1 f775"/>
                  <a:gd name="f846" fmla="*/ 657 1 f776"/>
                  <a:gd name="f847" fmla="*/ 573 1 f775"/>
                  <a:gd name="f848" fmla="*/ 612 1 f776"/>
                  <a:gd name="f849" fmla="*/ 502 1 f775"/>
                  <a:gd name="f850" fmla="*/ 594 1 f776"/>
                  <a:gd name="f851" fmla="*/ 413 1 f775"/>
                  <a:gd name="f852" fmla="*/ 564 1 f776"/>
                  <a:gd name="f853" fmla="*/ 379 1 f775"/>
                  <a:gd name="f854" fmla="*/ 625 1 f776"/>
                  <a:gd name="f855" fmla="*/ 278 1 f775"/>
                  <a:gd name="f856" fmla="*/ 636 1 f776"/>
                  <a:gd name="f857" fmla="*/ 235 1 f775"/>
                  <a:gd name="f858" fmla="*/ 589 1 f776"/>
                  <a:gd name="f859" fmla="*/ 199 1 f775"/>
                  <a:gd name="f860" fmla="*/ 486 1 f776"/>
                  <a:gd name="f861" fmla="*/ 144 1 f775"/>
                  <a:gd name="f862" fmla="*/ 467 1 f776"/>
                  <a:gd name="f863" fmla="*/ 85 1 f775"/>
                  <a:gd name="f864" fmla="*/ 409 1 f776"/>
                  <a:gd name="f865" fmla="*/ 66 1 f775"/>
                  <a:gd name="f866" fmla="*/ 368 1 f776"/>
                  <a:gd name="f867" fmla="*/ 8 1 f775"/>
                  <a:gd name="f868" fmla="*/ 282 1 f776"/>
                  <a:gd name="f869" fmla="*/ 14 1 f775"/>
                  <a:gd name="f870" fmla="*/ 201 1 f776"/>
                  <a:gd name="f871" fmla="*/ 15 1 f775"/>
                  <a:gd name="f872" fmla="*/ 136 1 f776"/>
                  <a:gd name="f873" fmla="*/ 47 1 f775"/>
                  <a:gd name="f874" fmla="*/ 97 1 f776"/>
                  <a:gd name="f875" fmla="*/ 105 1 f775"/>
                  <a:gd name="f876" fmla="*/ 149 1 f776"/>
                  <a:gd name="f877" fmla="*/ 173 1 f775"/>
                  <a:gd name="f878" fmla="*/ 169 1 f776"/>
                  <a:gd name="f879" fmla="*/ 247 1 f775"/>
                  <a:gd name="f880" fmla="*/ 135 1 f776"/>
                  <a:gd name="f881" fmla="*/ 298 1 f775"/>
                  <a:gd name="f882" fmla="*/ 398 1 f775"/>
                  <a:gd name="f883" fmla="*/ 458 1 f775"/>
                  <a:gd name="f884" fmla="*/ 120 1 f776"/>
                  <a:gd name="f885" fmla="*/ 541 1 f775"/>
                  <a:gd name="f886" fmla="*/ 67 1 f776"/>
                  <a:gd name="f887" fmla="*/ 626 1 f775"/>
                  <a:gd name="f888" fmla="*/ 8 1 f776"/>
                  <a:gd name="f889" fmla="*/ 0 1 f775"/>
                  <a:gd name="f890" fmla="*/ f6 1 f775"/>
                  <a:gd name="f891" fmla="*/ 0 1 f776"/>
                  <a:gd name="f892" fmla="*/ f7 1 f776"/>
                  <a:gd name="f893" fmla="+- f777 0 f1"/>
                  <a:gd name="f894" fmla="*/ f889 f770 1"/>
                  <a:gd name="f895" fmla="*/ f890 f770 1"/>
                  <a:gd name="f896" fmla="*/ f892 f771 1"/>
                  <a:gd name="f897" fmla="*/ f891 f771 1"/>
                  <a:gd name="f898" fmla="*/ f778 f770 1"/>
                  <a:gd name="f899" fmla="*/ f779 f771 1"/>
                  <a:gd name="f900" fmla="*/ f780 f770 1"/>
                  <a:gd name="f901" fmla="*/ f781 f770 1"/>
                  <a:gd name="f902" fmla="*/ f782 f771 1"/>
                  <a:gd name="f903" fmla="*/ f783 f770 1"/>
                  <a:gd name="f904" fmla="*/ f784 f771 1"/>
                  <a:gd name="f905" fmla="*/ f785 f770 1"/>
                  <a:gd name="f906" fmla="*/ f786 f771 1"/>
                  <a:gd name="f907" fmla="*/ f787 f770 1"/>
                  <a:gd name="f908" fmla="*/ f788 f771 1"/>
                  <a:gd name="f909" fmla="*/ f789 f770 1"/>
                  <a:gd name="f910" fmla="*/ f790 f770 1"/>
                  <a:gd name="f911" fmla="*/ f791 f771 1"/>
                  <a:gd name="f912" fmla="*/ f792 f770 1"/>
                  <a:gd name="f913" fmla="*/ f793 f771 1"/>
                  <a:gd name="f914" fmla="*/ f794 f770 1"/>
                  <a:gd name="f915" fmla="*/ f795 f771 1"/>
                  <a:gd name="f916" fmla="*/ f796 f770 1"/>
                  <a:gd name="f917" fmla="*/ f797 f771 1"/>
                  <a:gd name="f918" fmla="*/ f798 f770 1"/>
                  <a:gd name="f919" fmla="*/ f799 f771 1"/>
                  <a:gd name="f920" fmla="*/ f800 f770 1"/>
                  <a:gd name="f921" fmla="*/ f801 f771 1"/>
                  <a:gd name="f922" fmla="*/ f802 f770 1"/>
                  <a:gd name="f923" fmla="*/ f803 f771 1"/>
                  <a:gd name="f924" fmla="*/ f804 f770 1"/>
                  <a:gd name="f925" fmla="*/ f805 f771 1"/>
                  <a:gd name="f926" fmla="*/ f806 f770 1"/>
                  <a:gd name="f927" fmla="*/ f807 f771 1"/>
                  <a:gd name="f928" fmla="*/ f808 f770 1"/>
                  <a:gd name="f929" fmla="*/ f809 f771 1"/>
                  <a:gd name="f930" fmla="*/ f810 f770 1"/>
                  <a:gd name="f931" fmla="*/ f811 f771 1"/>
                  <a:gd name="f932" fmla="*/ f812 f770 1"/>
                  <a:gd name="f933" fmla="*/ f813 f771 1"/>
                  <a:gd name="f934" fmla="*/ f814 f770 1"/>
                  <a:gd name="f935" fmla="*/ f815 f771 1"/>
                  <a:gd name="f936" fmla="*/ f816 f770 1"/>
                  <a:gd name="f937" fmla="*/ f817 f771 1"/>
                  <a:gd name="f938" fmla="*/ f818 f770 1"/>
                  <a:gd name="f939" fmla="*/ f819 f771 1"/>
                  <a:gd name="f940" fmla="*/ f820 f770 1"/>
                  <a:gd name="f941" fmla="*/ f821 f771 1"/>
                  <a:gd name="f942" fmla="*/ f822 f771 1"/>
                  <a:gd name="f943" fmla="*/ f823 f770 1"/>
                  <a:gd name="f944" fmla="*/ f824 f771 1"/>
                  <a:gd name="f945" fmla="*/ f825 f770 1"/>
                  <a:gd name="f946" fmla="*/ f826 f771 1"/>
                  <a:gd name="f947" fmla="*/ f827 f770 1"/>
                  <a:gd name="f948" fmla="*/ f828 f771 1"/>
                  <a:gd name="f949" fmla="*/ f829 f770 1"/>
                  <a:gd name="f950" fmla="*/ f830 f771 1"/>
                  <a:gd name="f951" fmla="*/ f831 f770 1"/>
                  <a:gd name="f952" fmla="*/ f832 f771 1"/>
                  <a:gd name="f953" fmla="*/ f833 f770 1"/>
                  <a:gd name="f954" fmla="*/ f834 f771 1"/>
                  <a:gd name="f955" fmla="*/ f835 f770 1"/>
                  <a:gd name="f956" fmla="*/ f836 f771 1"/>
                  <a:gd name="f957" fmla="*/ f837 f770 1"/>
                  <a:gd name="f958" fmla="*/ f838 f771 1"/>
                  <a:gd name="f959" fmla="*/ f839 f770 1"/>
                  <a:gd name="f960" fmla="*/ f840 f771 1"/>
                  <a:gd name="f961" fmla="*/ f841 f770 1"/>
                  <a:gd name="f962" fmla="*/ f842 f771 1"/>
                  <a:gd name="f963" fmla="*/ f843 f770 1"/>
                  <a:gd name="f964" fmla="*/ f844 f771 1"/>
                  <a:gd name="f965" fmla="*/ f845 f770 1"/>
                  <a:gd name="f966" fmla="*/ f846 f771 1"/>
                  <a:gd name="f967" fmla="*/ f847 f770 1"/>
                  <a:gd name="f968" fmla="*/ f848 f771 1"/>
                  <a:gd name="f969" fmla="*/ f849 f770 1"/>
                  <a:gd name="f970" fmla="*/ f850 f771 1"/>
                  <a:gd name="f971" fmla="*/ f851 f770 1"/>
                  <a:gd name="f972" fmla="*/ f852 f771 1"/>
                  <a:gd name="f973" fmla="*/ f853 f770 1"/>
                  <a:gd name="f974" fmla="*/ f854 f771 1"/>
                  <a:gd name="f975" fmla="*/ f855 f770 1"/>
                  <a:gd name="f976" fmla="*/ f856 f771 1"/>
                  <a:gd name="f977" fmla="*/ f857 f770 1"/>
                  <a:gd name="f978" fmla="*/ f858 f771 1"/>
                  <a:gd name="f979" fmla="*/ f859 f770 1"/>
                  <a:gd name="f980" fmla="*/ f860 f771 1"/>
                  <a:gd name="f981" fmla="*/ f861 f770 1"/>
                  <a:gd name="f982" fmla="*/ f862 f771 1"/>
                  <a:gd name="f983" fmla="*/ f863 f770 1"/>
                  <a:gd name="f984" fmla="*/ f864 f771 1"/>
                  <a:gd name="f985" fmla="*/ f865 f770 1"/>
                  <a:gd name="f986" fmla="*/ f866 f771 1"/>
                  <a:gd name="f987" fmla="*/ f867 f770 1"/>
                  <a:gd name="f988" fmla="*/ f868 f771 1"/>
                  <a:gd name="f989" fmla="*/ f869 f770 1"/>
                  <a:gd name="f990" fmla="*/ f870 f771 1"/>
                  <a:gd name="f991" fmla="*/ f871 f770 1"/>
                  <a:gd name="f992" fmla="*/ f872 f771 1"/>
                  <a:gd name="f993" fmla="*/ f873 f770 1"/>
                  <a:gd name="f994" fmla="*/ f874 f771 1"/>
                  <a:gd name="f995" fmla="*/ f875 f770 1"/>
                  <a:gd name="f996" fmla="*/ f876 f771 1"/>
                  <a:gd name="f997" fmla="*/ f877 f770 1"/>
                  <a:gd name="f998" fmla="*/ f878 f771 1"/>
                  <a:gd name="f999" fmla="*/ f879 f770 1"/>
                  <a:gd name="f1000" fmla="*/ f880 f771 1"/>
                  <a:gd name="f1001" fmla="*/ f881 f770 1"/>
                  <a:gd name="f1002" fmla="*/ f882 f770 1"/>
                  <a:gd name="f1003" fmla="*/ f883 f770 1"/>
                  <a:gd name="f1004" fmla="*/ f884 f771 1"/>
                  <a:gd name="f1005" fmla="*/ f885 f770 1"/>
                  <a:gd name="f1006" fmla="*/ f886 f771 1"/>
                  <a:gd name="f1007" fmla="*/ f887 f770 1"/>
                  <a:gd name="f1008" fmla="*/ f888 f77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893">
                    <a:pos x="f898" y="f899"/>
                  </a:cxn>
                  <a:cxn ang="f893">
                    <a:pos x="f900" y="f899"/>
                  </a:cxn>
                  <a:cxn ang="f893">
                    <a:pos x="f901" y="f902"/>
                  </a:cxn>
                  <a:cxn ang="f893">
                    <a:pos x="f903" y="f904"/>
                  </a:cxn>
                  <a:cxn ang="f893">
                    <a:pos x="f905" y="f906"/>
                  </a:cxn>
                  <a:cxn ang="f893">
                    <a:pos x="f907" y="f908"/>
                  </a:cxn>
                  <a:cxn ang="f893">
                    <a:pos x="f909" y="f904"/>
                  </a:cxn>
                  <a:cxn ang="f893">
                    <a:pos x="f910" y="f911"/>
                  </a:cxn>
                  <a:cxn ang="f893">
                    <a:pos x="f912" y="f913"/>
                  </a:cxn>
                  <a:cxn ang="f893">
                    <a:pos x="f914" y="f915"/>
                  </a:cxn>
                  <a:cxn ang="f893">
                    <a:pos x="f916" y="f917"/>
                  </a:cxn>
                  <a:cxn ang="f893">
                    <a:pos x="f918" y="f919"/>
                  </a:cxn>
                  <a:cxn ang="f893">
                    <a:pos x="f920" y="f921"/>
                  </a:cxn>
                  <a:cxn ang="f893">
                    <a:pos x="f922" y="f923"/>
                  </a:cxn>
                  <a:cxn ang="f893">
                    <a:pos x="f924" y="f925"/>
                  </a:cxn>
                  <a:cxn ang="f893">
                    <a:pos x="f926" y="f927"/>
                  </a:cxn>
                  <a:cxn ang="f893">
                    <a:pos x="f928" y="f929"/>
                  </a:cxn>
                  <a:cxn ang="f893">
                    <a:pos x="f930" y="f931"/>
                  </a:cxn>
                  <a:cxn ang="f893">
                    <a:pos x="f932" y="f933"/>
                  </a:cxn>
                  <a:cxn ang="f893">
                    <a:pos x="f934" y="f935"/>
                  </a:cxn>
                  <a:cxn ang="f893">
                    <a:pos x="f936" y="f937"/>
                  </a:cxn>
                  <a:cxn ang="f893">
                    <a:pos x="f938" y="f939"/>
                  </a:cxn>
                  <a:cxn ang="f893">
                    <a:pos x="f940" y="f941"/>
                  </a:cxn>
                  <a:cxn ang="f893">
                    <a:pos x="f920" y="f942"/>
                  </a:cxn>
                  <a:cxn ang="f893">
                    <a:pos x="f943" y="f944"/>
                  </a:cxn>
                  <a:cxn ang="f893">
                    <a:pos x="f945" y="f946"/>
                  </a:cxn>
                  <a:cxn ang="f893">
                    <a:pos x="f947" y="f948"/>
                  </a:cxn>
                  <a:cxn ang="f893">
                    <a:pos x="f949" y="f950"/>
                  </a:cxn>
                  <a:cxn ang="f893">
                    <a:pos x="f951" y="f952"/>
                  </a:cxn>
                  <a:cxn ang="f893">
                    <a:pos x="f953" y="f954"/>
                  </a:cxn>
                  <a:cxn ang="f893">
                    <a:pos x="f955" y="f956"/>
                  </a:cxn>
                  <a:cxn ang="f893">
                    <a:pos x="f957" y="f958"/>
                  </a:cxn>
                  <a:cxn ang="f893">
                    <a:pos x="f959" y="f960"/>
                  </a:cxn>
                  <a:cxn ang="f893">
                    <a:pos x="f961" y="f962"/>
                  </a:cxn>
                  <a:cxn ang="f893">
                    <a:pos x="f963" y="f964"/>
                  </a:cxn>
                  <a:cxn ang="f893">
                    <a:pos x="f965" y="f966"/>
                  </a:cxn>
                  <a:cxn ang="f893">
                    <a:pos x="f967" y="f968"/>
                  </a:cxn>
                  <a:cxn ang="f893">
                    <a:pos x="f969" y="f970"/>
                  </a:cxn>
                  <a:cxn ang="f893">
                    <a:pos x="f971" y="f972"/>
                  </a:cxn>
                  <a:cxn ang="f893">
                    <a:pos x="f973" y="f974"/>
                  </a:cxn>
                  <a:cxn ang="f893">
                    <a:pos x="f975" y="f976"/>
                  </a:cxn>
                  <a:cxn ang="f893">
                    <a:pos x="f977" y="f978"/>
                  </a:cxn>
                  <a:cxn ang="f893">
                    <a:pos x="f979" y="f980"/>
                  </a:cxn>
                  <a:cxn ang="f893">
                    <a:pos x="f981" y="f982"/>
                  </a:cxn>
                  <a:cxn ang="f893">
                    <a:pos x="f983" y="f984"/>
                  </a:cxn>
                  <a:cxn ang="f893">
                    <a:pos x="f985" y="f986"/>
                  </a:cxn>
                  <a:cxn ang="f893">
                    <a:pos x="f987" y="f988"/>
                  </a:cxn>
                  <a:cxn ang="f893">
                    <a:pos x="f989" y="f990"/>
                  </a:cxn>
                  <a:cxn ang="f893">
                    <a:pos x="f991" y="f992"/>
                  </a:cxn>
                  <a:cxn ang="f893">
                    <a:pos x="f993" y="f994"/>
                  </a:cxn>
                  <a:cxn ang="f893">
                    <a:pos x="f995" y="f996"/>
                  </a:cxn>
                  <a:cxn ang="f893">
                    <a:pos x="f997" y="f998"/>
                  </a:cxn>
                  <a:cxn ang="f893">
                    <a:pos x="f999" y="f1000"/>
                  </a:cxn>
                  <a:cxn ang="f893">
                    <a:pos x="f1001" y="f1000"/>
                  </a:cxn>
                  <a:cxn ang="f893">
                    <a:pos x="f1002" y="f904"/>
                  </a:cxn>
                  <a:cxn ang="f893">
                    <a:pos x="f1003" y="f1004"/>
                  </a:cxn>
                  <a:cxn ang="f893">
                    <a:pos x="f1005" y="f1006"/>
                  </a:cxn>
                  <a:cxn ang="f893">
                    <a:pos x="f1007" y="f1008"/>
                  </a:cxn>
                </a:cxnLst>
                <a:rect l="f894" t="f897" r="f895" b="f896"/>
                <a:pathLst>
                  <a:path w="1316" h="983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1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11" y="f22"/>
                    </a:lnTo>
                    <a:lnTo>
                      <a:pt x="f9" y="f23"/>
                    </a:lnTo>
                    <a:lnTo>
                      <a:pt x="f9" y="f24"/>
                    </a:lnTo>
                    <a:lnTo>
                      <a:pt x="f25" y="f26"/>
                    </a:lnTo>
                    <a:lnTo>
                      <a:pt x="f27" y="f26"/>
                    </a:lnTo>
                    <a:lnTo>
                      <a:pt x="f28" y="f24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4"/>
                    </a:lnTo>
                    <a:lnTo>
                      <a:pt x="f36" y="f37"/>
                    </a:lnTo>
                    <a:lnTo>
                      <a:pt x="f38" y="f30"/>
                    </a:lnTo>
                    <a:lnTo>
                      <a:pt x="f39" y="f40"/>
                    </a:lnTo>
                    <a:lnTo>
                      <a:pt x="f41" y="f24"/>
                    </a:lnTo>
                    <a:lnTo>
                      <a:pt x="f42" y="f19"/>
                    </a:lnTo>
                    <a:lnTo>
                      <a:pt x="f43" y="f44"/>
                    </a:lnTo>
                    <a:lnTo>
                      <a:pt x="f45" y="f23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51"/>
                    </a:lnTo>
                    <a:lnTo>
                      <a:pt x="f45" y="f52"/>
                    </a:lnTo>
                    <a:lnTo>
                      <a:pt x="f53" y="f54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4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8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92" y="f56"/>
                    </a:lnTo>
                    <a:lnTo>
                      <a:pt x="f92" y="f52"/>
                    </a:lnTo>
                    <a:lnTo>
                      <a:pt x="f93" y="f94"/>
                    </a:lnTo>
                    <a:lnTo>
                      <a:pt x="f95" y="f49"/>
                    </a:lnTo>
                    <a:lnTo>
                      <a:pt x="f96" y="f26"/>
                    </a:lnTo>
                    <a:lnTo>
                      <a:pt x="f88" y="f40"/>
                    </a:lnTo>
                    <a:lnTo>
                      <a:pt x="f82" y="f97"/>
                    </a:lnTo>
                    <a:lnTo>
                      <a:pt x="f98" y="f99"/>
                    </a:lnTo>
                    <a:lnTo>
                      <a:pt x="f100" y="f97"/>
                    </a:lnTo>
                    <a:lnTo>
                      <a:pt x="f101" y="f47"/>
                    </a:lnTo>
                    <a:lnTo>
                      <a:pt x="f102" y="f40"/>
                    </a:lnTo>
                    <a:lnTo>
                      <a:pt x="f103" y="f23"/>
                    </a:lnTo>
                    <a:lnTo>
                      <a:pt x="f104" y="f105"/>
                    </a:lnTo>
                    <a:lnTo>
                      <a:pt x="f106" y="f34"/>
                    </a:lnTo>
                    <a:lnTo>
                      <a:pt x="f107" y="f108"/>
                    </a:lnTo>
                    <a:lnTo>
                      <a:pt x="f109" y="f110"/>
                    </a:lnTo>
                    <a:lnTo>
                      <a:pt x="f111" y="f99"/>
                    </a:lnTo>
                    <a:lnTo>
                      <a:pt x="f112" y="f49"/>
                    </a:lnTo>
                    <a:lnTo>
                      <a:pt x="f113" y="f51"/>
                    </a:lnTo>
                    <a:lnTo>
                      <a:pt x="f114" y="f91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119" y="f120"/>
                    </a:lnTo>
                    <a:lnTo>
                      <a:pt x="f121" y="f87"/>
                    </a:lnTo>
                    <a:lnTo>
                      <a:pt x="f122" y="f123"/>
                    </a:lnTo>
                    <a:lnTo>
                      <a:pt x="f121" y="f124"/>
                    </a:lnTo>
                    <a:lnTo>
                      <a:pt x="f119" y="f125"/>
                    </a:lnTo>
                    <a:lnTo>
                      <a:pt x="f117" y="f81"/>
                    </a:lnTo>
                    <a:lnTo>
                      <a:pt x="f126" y="f125"/>
                    </a:ln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0"/>
                    </a:lnTo>
                    <a:lnTo>
                      <a:pt x="f132" y="f133"/>
                    </a:lnTo>
                    <a:lnTo>
                      <a:pt x="f134" y="f133"/>
                    </a:lnTo>
                    <a:lnTo>
                      <a:pt x="f135" y="f130"/>
                    </a:lnTo>
                    <a:lnTo>
                      <a:pt x="f136" y="f83"/>
                    </a:lnTo>
                    <a:lnTo>
                      <a:pt x="f137" y="f66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8" y="f159"/>
                    </a:lnTo>
                    <a:lnTo>
                      <a:pt x="f160" y="f161"/>
                    </a:lnTo>
                    <a:lnTo>
                      <a:pt x="f162" y="f163"/>
                    </a:lnTo>
                    <a:lnTo>
                      <a:pt x="f150" y="f164"/>
                    </a:lnTo>
                    <a:lnTo>
                      <a:pt x="f150" y="f165"/>
                    </a:lnTo>
                    <a:lnTo>
                      <a:pt x="f166" y="f167"/>
                    </a:lnTo>
                    <a:lnTo>
                      <a:pt x="f166" y="f168"/>
                    </a:lnTo>
                    <a:lnTo>
                      <a:pt x="f169" y="f170"/>
                    </a:lnTo>
                    <a:lnTo>
                      <a:pt x="f154" y="f171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lnTo>
                      <a:pt x="f180" y="f177"/>
                    </a:lnTo>
                    <a:lnTo>
                      <a:pt x="f181" y="f175"/>
                    </a:lnTo>
                    <a:lnTo>
                      <a:pt x="f182" y="f171"/>
                    </a:lnTo>
                    <a:lnTo>
                      <a:pt x="f183" y="f184"/>
                    </a:lnTo>
                    <a:lnTo>
                      <a:pt x="f185" y="f171"/>
                    </a:lnTo>
                    <a:lnTo>
                      <a:pt x="f186" y="f171"/>
                    </a:lnTo>
                    <a:lnTo>
                      <a:pt x="f187" y="f188"/>
                    </a:lnTo>
                    <a:lnTo>
                      <a:pt x="f187" y="f189"/>
                    </a:lnTo>
                    <a:lnTo>
                      <a:pt x="f190" y="f191"/>
                    </a:lnTo>
                    <a:lnTo>
                      <a:pt x="f192" y="f193"/>
                    </a:lnTo>
                    <a:lnTo>
                      <a:pt x="f194" y="f195"/>
                    </a:lnTo>
                    <a:lnTo>
                      <a:pt x="f196" y="f197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182" y="f201"/>
                    </a:lnTo>
                    <a:lnTo>
                      <a:pt x="f202" y="f203"/>
                    </a:lnTo>
                    <a:lnTo>
                      <a:pt x="f204" y="f205"/>
                    </a:lnTo>
                    <a:lnTo>
                      <a:pt x="f206" y="f207"/>
                    </a:lnTo>
                    <a:lnTo>
                      <a:pt x="f208" y="f209"/>
                    </a:lnTo>
                    <a:lnTo>
                      <a:pt x="f172" y="f210"/>
                    </a:lnTo>
                    <a:lnTo>
                      <a:pt x="f154" y="f211"/>
                    </a:lnTo>
                    <a:lnTo>
                      <a:pt x="f212" y="f213"/>
                    </a:lnTo>
                    <a:lnTo>
                      <a:pt x="f154" y="f214"/>
                    </a:lnTo>
                    <a:lnTo>
                      <a:pt x="f215" y="f216"/>
                    </a:lnTo>
                    <a:lnTo>
                      <a:pt x="f217" y="f218"/>
                    </a:lnTo>
                    <a:lnTo>
                      <a:pt x="f219" y="f220"/>
                    </a:lnTo>
                    <a:lnTo>
                      <a:pt x="f221" y="f222"/>
                    </a:lnTo>
                    <a:lnTo>
                      <a:pt x="f221" y="f223"/>
                    </a:lnTo>
                    <a:lnTo>
                      <a:pt x="f224" y="f225"/>
                    </a:lnTo>
                    <a:lnTo>
                      <a:pt x="f208" y="f225"/>
                    </a:lnTo>
                    <a:lnTo>
                      <a:pt x="f176" y="f226"/>
                    </a:lnTo>
                    <a:lnTo>
                      <a:pt x="f227" y="f226"/>
                    </a:lnTo>
                    <a:lnTo>
                      <a:pt x="f228" y="f229"/>
                    </a:lnTo>
                    <a:lnTo>
                      <a:pt x="f228" y="f230"/>
                    </a:lnTo>
                    <a:lnTo>
                      <a:pt x="f208" y="f231"/>
                    </a:lnTo>
                    <a:lnTo>
                      <a:pt x="f232" y="f233"/>
                    </a:lnTo>
                    <a:lnTo>
                      <a:pt x="f234" y="f235"/>
                    </a:lnTo>
                    <a:lnTo>
                      <a:pt x="f236" y="f237"/>
                    </a:lnTo>
                    <a:lnTo>
                      <a:pt x="f238" y="f239"/>
                    </a:lnTo>
                    <a:lnTo>
                      <a:pt x="f238" y="f240"/>
                    </a:lnTo>
                    <a:lnTo>
                      <a:pt x="f236" y="f241"/>
                    </a:lnTo>
                    <a:lnTo>
                      <a:pt x="f242" y="f243"/>
                    </a:lnTo>
                    <a:lnTo>
                      <a:pt x="f180" y="f244"/>
                    </a:lnTo>
                    <a:lnTo>
                      <a:pt x="f245" y="f246"/>
                    </a:lnTo>
                    <a:lnTo>
                      <a:pt x="f247" y="f248"/>
                    </a:lnTo>
                    <a:lnTo>
                      <a:pt x="f247" y="f249"/>
                    </a:lnTo>
                    <a:lnTo>
                      <a:pt x="f250" y="f249"/>
                    </a:lnTo>
                    <a:lnTo>
                      <a:pt x="f250" y="f251"/>
                    </a:lnTo>
                    <a:lnTo>
                      <a:pt x="f252" y="f249"/>
                    </a:lnTo>
                    <a:lnTo>
                      <a:pt x="f234" y="f253"/>
                    </a:lnTo>
                    <a:lnTo>
                      <a:pt x="f180" y="f253"/>
                    </a:lnTo>
                    <a:lnTo>
                      <a:pt x="f242" y="f248"/>
                    </a:lnTo>
                    <a:lnTo>
                      <a:pt x="f254" y="f248"/>
                    </a:lnTo>
                    <a:lnTo>
                      <a:pt x="f255" y="f253"/>
                    </a:lnTo>
                    <a:lnTo>
                      <a:pt x="f256" y="f251"/>
                    </a:lnTo>
                    <a:lnTo>
                      <a:pt x="f206" y="f257"/>
                    </a:lnTo>
                    <a:lnTo>
                      <a:pt x="f206" y="f258"/>
                    </a:lnTo>
                    <a:lnTo>
                      <a:pt x="f259" y="f260"/>
                    </a:lnTo>
                    <a:lnTo>
                      <a:pt x="f204" y="f261"/>
                    </a:lnTo>
                    <a:lnTo>
                      <a:pt x="f182" y="f262"/>
                    </a:lnTo>
                    <a:lnTo>
                      <a:pt x="f263" y="f264"/>
                    </a:lnTo>
                    <a:lnTo>
                      <a:pt x="f265" y="f266"/>
                    </a:lnTo>
                    <a:lnTo>
                      <a:pt x="f267" y="f268"/>
                    </a:lnTo>
                    <a:lnTo>
                      <a:pt x="f269" y="f261"/>
                    </a:lnTo>
                    <a:lnTo>
                      <a:pt x="f270" y="f271"/>
                    </a:lnTo>
                    <a:lnTo>
                      <a:pt x="f272" y="f273"/>
                    </a:lnTo>
                    <a:lnTo>
                      <a:pt x="f274" y="f260"/>
                    </a:lnTo>
                    <a:lnTo>
                      <a:pt x="f275" y="f260"/>
                    </a:lnTo>
                    <a:lnTo>
                      <a:pt x="f276" y="f277"/>
                    </a:lnTo>
                    <a:lnTo>
                      <a:pt x="f278" y="f261"/>
                    </a:lnTo>
                    <a:lnTo>
                      <a:pt x="f279" y="f268"/>
                    </a:lnTo>
                    <a:lnTo>
                      <a:pt x="f280" y="f262"/>
                    </a:lnTo>
                    <a:lnTo>
                      <a:pt x="f281" y="f282"/>
                    </a:lnTo>
                    <a:lnTo>
                      <a:pt x="f283" y="f284"/>
                    </a:lnTo>
                    <a:lnTo>
                      <a:pt x="f285" y="f273"/>
                    </a:lnTo>
                    <a:lnTo>
                      <a:pt x="f286" y="f277"/>
                    </a:lnTo>
                    <a:lnTo>
                      <a:pt x="f287" y="f271"/>
                    </a:lnTo>
                    <a:lnTo>
                      <a:pt x="f288" y="f289"/>
                    </a:lnTo>
                    <a:lnTo>
                      <a:pt x="f290" y="f282"/>
                    </a:lnTo>
                    <a:lnTo>
                      <a:pt x="f291" y="f264"/>
                    </a:lnTo>
                    <a:lnTo>
                      <a:pt x="f292" y="f293"/>
                    </a:lnTo>
                    <a:lnTo>
                      <a:pt x="f292" y="f294"/>
                    </a:lnTo>
                    <a:lnTo>
                      <a:pt x="f295" y="f296"/>
                    </a:lnTo>
                    <a:lnTo>
                      <a:pt x="f297" y="f298"/>
                    </a:lnTo>
                    <a:lnTo>
                      <a:pt x="f299" y="f300"/>
                    </a:lnTo>
                    <a:lnTo>
                      <a:pt x="f301" y="f302"/>
                    </a:lnTo>
                    <a:lnTo>
                      <a:pt x="f303" y="f304"/>
                    </a:lnTo>
                    <a:lnTo>
                      <a:pt x="f295" y="f305"/>
                    </a:lnTo>
                    <a:lnTo>
                      <a:pt x="f306" y="f307"/>
                    </a:lnTo>
                    <a:lnTo>
                      <a:pt x="f308" y="f309"/>
                    </a:lnTo>
                    <a:lnTo>
                      <a:pt x="f310" y="f311"/>
                    </a:lnTo>
                    <a:lnTo>
                      <a:pt x="f312" y="f313"/>
                    </a:lnTo>
                    <a:lnTo>
                      <a:pt x="f314" y="f315"/>
                    </a:lnTo>
                    <a:lnTo>
                      <a:pt x="f314" y="f316"/>
                    </a:lnTo>
                    <a:lnTo>
                      <a:pt x="f317" y="f318"/>
                    </a:lnTo>
                    <a:lnTo>
                      <a:pt x="f319" y="f320"/>
                    </a:lnTo>
                    <a:lnTo>
                      <a:pt x="f321" y="f322"/>
                    </a:lnTo>
                    <a:lnTo>
                      <a:pt x="f321" y="f323"/>
                    </a:lnTo>
                    <a:lnTo>
                      <a:pt x="f324" y="f325"/>
                    </a:lnTo>
                    <a:lnTo>
                      <a:pt x="f326" y="f327"/>
                    </a:lnTo>
                    <a:lnTo>
                      <a:pt x="f328" y="f329"/>
                    </a:lnTo>
                    <a:lnTo>
                      <a:pt x="f330" y="f331"/>
                    </a:lnTo>
                    <a:lnTo>
                      <a:pt x="f332" y="f333"/>
                    </a:lnTo>
                    <a:lnTo>
                      <a:pt x="f334" y="f335"/>
                    </a:lnTo>
                    <a:lnTo>
                      <a:pt x="f336" y="f337"/>
                    </a:lnTo>
                    <a:lnTo>
                      <a:pt x="f338" y="f339"/>
                    </a:lnTo>
                    <a:lnTo>
                      <a:pt x="f340" y="f341"/>
                    </a:lnTo>
                    <a:lnTo>
                      <a:pt x="f342" y="f343"/>
                    </a:lnTo>
                    <a:lnTo>
                      <a:pt x="f344" y="f345"/>
                    </a:lnTo>
                    <a:lnTo>
                      <a:pt x="f346" y="f11"/>
                    </a:lnTo>
                    <a:lnTo>
                      <a:pt x="f347" y="f20"/>
                    </a:lnTo>
                    <a:lnTo>
                      <a:pt x="f348" y="f349"/>
                    </a:lnTo>
                    <a:lnTo>
                      <a:pt x="f6" y="f350"/>
                    </a:lnTo>
                    <a:lnTo>
                      <a:pt x="f348" y="f351"/>
                    </a:lnTo>
                    <a:lnTo>
                      <a:pt x="f347" y="f352"/>
                    </a:lnTo>
                    <a:lnTo>
                      <a:pt x="f353" y="f354"/>
                    </a:lnTo>
                    <a:lnTo>
                      <a:pt x="f355" y="f356"/>
                    </a:lnTo>
                    <a:lnTo>
                      <a:pt x="f319" y="f357"/>
                    </a:lnTo>
                    <a:lnTo>
                      <a:pt x="f338" y="f42"/>
                    </a:lnTo>
                    <a:lnTo>
                      <a:pt x="f358" y="f359"/>
                    </a:lnTo>
                    <a:lnTo>
                      <a:pt x="f291" y="f360"/>
                    </a:lnTo>
                    <a:lnTo>
                      <a:pt x="f361" y="f362"/>
                    </a:lnTo>
                    <a:lnTo>
                      <a:pt x="f363" y="f362"/>
                    </a:lnTo>
                    <a:lnTo>
                      <a:pt x="f364" y="f356"/>
                    </a:lnTo>
                    <a:lnTo>
                      <a:pt x="f365" y="f366"/>
                    </a:lnTo>
                    <a:lnTo>
                      <a:pt x="f367" y="f368"/>
                    </a:lnTo>
                    <a:lnTo>
                      <a:pt x="f369" y="f57"/>
                    </a:lnTo>
                    <a:lnTo>
                      <a:pt x="f283" y="f370"/>
                    </a:lnTo>
                    <a:lnTo>
                      <a:pt x="f371" y="f372"/>
                    </a:lnTo>
                    <a:lnTo>
                      <a:pt x="f373" y="f374"/>
                    </a:lnTo>
                    <a:lnTo>
                      <a:pt x="f371" y="f375"/>
                    </a:lnTo>
                    <a:lnTo>
                      <a:pt x="f283" y="f376"/>
                    </a:lnTo>
                    <a:lnTo>
                      <a:pt x="f377" y="f378"/>
                    </a:lnTo>
                    <a:lnTo>
                      <a:pt x="f371" y="f379"/>
                    </a:lnTo>
                    <a:lnTo>
                      <a:pt x="f380" y="f381"/>
                    </a:lnTo>
                    <a:lnTo>
                      <a:pt x="f382" y="f383"/>
                    </a:lnTo>
                    <a:lnTo>
                      <a:pt x="f185" y="f384"/>
                    </a:lnTo>
                    <a:lnTo>
                      <a:pt x="f385" y="f386"/>
                    </a:lnTo>
                    <a:lnTo>
                      <a:pt x="f259" y="f387"/>
                    </a:lnTo>
                    <a:lnTo>
                      <a:pt x="f388" y="f389"/>
                    </a:lnTo>
                    <a:lnTo>
                      <a:pt x="f390" y="f77"/>
                    </a:lnTo>
                    <a:lnTo>
                      <a:pt x="f245" y="f391"/>
                    </a:lnTo>
                    <a:lnTo>
                      <a:pt x="f232" y="f392"/>
                    </a:lnTo>
                    <a:lnTo>
                      <a:pt x="f208" y="f393"/>
                    </a:lnTo>
                    <a:lnTo>
                      <a:pt x="f172" y="f96"/>
                    </a:lnTo>
                    <a:lnTo>
                      <a:pt x="f394" y="f82"/>
                    </a:lnTo>
                    <a:lnTo>
                      <a:pt x="f394" y="f395"/>
                    </a:lnTo>
                    <a:lnTo>
                      <a:pt x="f396" y="f397"/>
                    </a:lnTo>
                    <a:lnTo>
                      <a:pt x="f227" y="f398"/>
                    </a:lnTo>
                    <a:lnTo>
                      <a:pt x="f221" y="f399"/>
                    </a:lnTo>
                    <a:lnTo>
                      <a:pt x="f247" y="f400"/>
                    </a:lnTo>
                    <a:lnTo>
                      <a:pt x="f252" y="f106"/>
                    </a:lnTo>
                    <a:lnTo>
                      <a:pt x="f245" y="f401"/>
                    </a:lnTo>
                    <a:lnTo>
                      <a:pt x="f178" y="f402"/>
                    </a:lnTo>
                    <a:lnTo>
                      <a:pt x="f228" y="f403"/>
                    </a:lnTo>
                    <a:lnTo>
                      <a:pt x="f404" y="f405"/>
                    </a:lnTo>
                    <a:lnTo>
                      <a:pt x="f158" y="f406"/>
                    </a:lnTo>
                    <a:lnTo>
                      <a:pt x="f407" y="f109"/>
                    </a:lnTo>
                    <a:lnTo>
                      <a:pt x="f146" y="f408"/>
                    </a:lnTo>
                    <a:lnTo>
                      <a:pt x="f409" y="f410"/>
                    </a:lnTo>
                    <a:lnTo>
                      <a:pt x="f146" y="f411"/>
                    </a:lnTo>
                    <a:lnTo>
                      <a:pt x="f412" y="f413"/>
                    </a:lnTo>
                    <a:lnTo>
                      <a:pt x="f407" y="f414"/>
                    </a:lnTo>
                    <a:lnTo>
                      <a:pt x="f415" y="f416"/>
                    </a:lnTo>
                    <a:lnTo>
                      <a:pt x="f407" y="f417"/>
                    </a:lnTo>
                    <a:lnTo>
                      <a:pt x="f146" y="f127"/>
                    </a:lnTo>
                    <a:lnTo>
                      <a:pt x="f418" y="f7"/>
                    </a:lnTo>
                    <a:lnTo>
                      <a:pt x="f419" y="f127"/>
                    </a:lnTo>
                    <a:lnTo>
                      <a:pt x="f420" y="f421"/>
                    </a:lnTo>
                    <a:lnTo>
                      <a:pt x="f422" y="f423"/>
                    </a:lnTo>
                    <a:lnTo>
                      <a:pt x="f422" y="f416"/>
                    </a:lnTo>
                    <a:lnTo>
                      <a:pt x="f424" y="f425"/>
                    </a:lnTo>
                    <a:lnTo>
                      <a:pt x="f420" y="f426"/>
                    </a:lnTo>
                    <a:lnTo>
                      <a:pt x="f420" y="f427"/>
                    </a:lnTo>
                    <a:lnTo>
                      <a:pt x="f422" y="f428"/>
                    </a:lnTo>
                    <a:lnTo>
                      <a:pt x="f429" y="f430"/>
                    </a:lnTo>
                    <a:lnTo>
                      <a:pt x="f431" y="f432"/>
                    </a:lnTo>
                    <a:lnTo>
                      <a:pt x="f433" y="f434"/>
                    </a:lnTo>
                    <a:lnTo>
                      <a:pt x="f135" y="f432"/>
                    </a:lnTo>
                    <a:lnTo>
                      <a:pt x="f435" y="f430"/>
                    </a:lnTo>
                    <a:lnTo>
                      <a:pt x="f436" y="f411"/>
                    </a:lnTo>
                    <a:lnTo>
                      <a:pt x="f437" y="f438"/>
                    </a:lnTo>
                    <a:lnTo>
                      <a:pt x="f439" y="f440"/>
                    </a:lnTo>
                    <a:lnTo>
                      <a:pt x="f441" y="f426"/>
                    </a:lnTo>
                    <a:lnTo>
                      <a:pt x="f442" y="f440"/>
                    </a:lnTo>
                    <a:lnTo>
                      <a:pt x="f443" y="f444"/>
                    </a:lnTo>
                    <a:lnTo>
                      <a:pt x="f445" y="f446"/>
                    </a:lnTo>
                    <a:lnTo>
                      <a:pt x="f447" y="f448"/>
                    </a:lnTo>
                    <a:lnTo>
                      <a:pt x="f449" y="f450"/>
                    </a:lnTo>
                    <a:lnTo>
                      <a:pt x="f126" y="f451"/>
                    </a:lnTo>
                    <a:lnTo>
                      <a:pt x="f117" y="f403"/>
                    </a:lnTo>
                    <a:lnTo>
                      <a:pt x="f449" y="f452"/>
                    </a:lnTo>
                    <a:lnTo>
                      <a:pt x="f445" y="f453"/>
                    </a:lnTo>
                    <a:lnTo>
                      <a:pt x="f127" y="f454"/>
                    </a:lnTo>
                    <a:lnTo>
                      <a:pt x="f7" y="f455"/>
                    </a:lnTo>
                    <a:lnTo>
                      <a:pt x="f127" y="f456"/>
                    </a:lnTo>
                    <a:lnTo>
                      <a:pt x="f445" y="f456"/>
                    </a:lnTo>
                    <a:lnTo>
                      <a:pt x="f423" y="f457"/>
                    </a:lnTo>
                    <a:lnTo>
                      <a:pt x="f416" y="f458"/>
                    </a:lnTo>
                    <a:lnTo>
                      <a:pt x="f114" y="f459"/>
                    </a:lnTo>
                    <a:lnTo>
                      <a:pt x="f460" y="f461"/>
                    </a:lnTo>
                    <a:lnTo>
                      <a:pt x="f414" y="f96"/>
                    </a:lnTo>
                    <a:lnTo>
                      <a:pt x="f462" y="f463"/>
                    </a:lnTo>
                    <a:lnTo>
                      <a:pt x="f462" y="f464"/>
                    </a:lnTo>
                    <a:lnTo>
                      <a:pt x="f414" y="f73"/>
                    </a:lnTo>
                    <a:lnTo>
                      <a:pt x="f460" y="f465"/>
                    </a:lnTo>
                    <a:lnTo>
                      <a:pt x="f425" y="f466"/>
                    </a:lnTo>
                    <a:lnTo>
                      <a:pt x="f122" y="f374"/>
                    </a:lnTo>
                    <a:lnTo>
                      <a:pt x="f122" y="f467"/>
                    </a:lnTo>
                    <a:lnTo>
                      <a:pt x="f425" y="f57"/>
                    </a:lnTo>
                    <a:lnTo>
                      <a:pt x="f468" y="f368"/>
                    </a:lnTo>
                    <a:lnTo>
                      <a:pt x="f469" y="f366"/>
                    </a:lnTo>
                    <a:lnTo>
                      <a:pt x="f411" y="f470"/>
                    </a:lnTo>
                    <a:lnTo>
                      <a:pt x="f111" y="f41"/>
                    </a:lnTo>
                    <a:lnTo>
                      <a:pt x="f402" y="f471"/>
                    </a:lnTo>
                    <a:lnTo>
                      <a:pt x="f106" y="f472"/>
                    </a:lnTo>
                    <a:lnTo>
                      <a:pt x="f473" y="f472"/>
                    </a:lnTo>
                    <a:lnTo>
                      <a:pt x="f474" y="f475"/>
                    </a:lnTo>
                    <a:lnTo>
                      <a:pt x="f476" y="f350"/>
                    </a:lnTo>
                    <a:lnTo>
                      <a:pt x="f477" y="f350"/>
                    </a:lnTo>
                    <a:lnTo>
                      <a:pt x="f478" y="f479"/>
                    </a:lnTo>
                    <a:lnTo>
                      <a:pt x="f480" y="f36"/>
                    </a:lnTo>
                    <a:lnTo>
                      <a:pt x="f481" y="f482"/>
                    </a:lnTo>
                    <a:lnTo>
                      <a:pt x="f478" y="f483"/>
                    </a:lnTo>
                    <a:lnTo>
                      <a:pt x="f77" y="f360"/>
                    </a:lnTo>
                    <a:lnTo>
                      <a:pt x="f391" y="f484"/>
                    </a:lnTo>
                    <a:lnTo>
                      <a:pt x="f391" y="f43"/>
                    </a:lnTo>
                    <a:lnTo>
                      <a:pt x="f485" y="f50"/>
                    </a:lnTo>
                    <a:lnTo>
                      <a:pt x="f486" y="f372"/>
                    </a:lnTo>
                    <a:lnTo>
                      <a:pt x="f75" y="f374"/>
                    </a:lnTo>
                    <a:lnTo>
                      <a:pt x="f386" y="f375"/>
                    </a:lnTo>
                    <a:lnTo>
                      <a:pt x="f386" y="f487"/>
                    </a:lnTo>
                    <a:lnTo>
                      <a:pt x="f75" y="f67"/>
                    </a:lnTo>
                    <a:lnTo>
                      <a:pt x="f77" y="f376"/>
                    </a:lnTo>
                    <a:lnTo>
                      <a:pt x="f392" y="f488"/>
                    </a:lnTo>
                    <a:lnTo>
                      <a:pt x="f489" y="f490"/>
                    </a:lnTo>
                    <a:lnTo>
                      <a:pt x="f489" y="f491"/>
                    </a:lnTo>
                    <a:lnTo>
                      <a:pt x="f492" y="f381"/>
                    </a:lnTo>
                    <a:lnTo>
                      <a:pt x="f77" y="f493"/>
                    </a:lnTo>
                    <a:lnTo>
                      <a:pt x="f486" y="f73"/>
                    </a:lnTo>
                    <a:lnTo>
                      <a:pt x="f494" y="f73"/>
                    </a:lnTo>
                    <a:lnTo>
                      <a:pt x="f495" y="f496"/>
                    </a:lnTo>
                    <a:lnTo>
                      <a:pt x="f71" y="f497"/>
                    </a:lnTo>
                    <a:lnTo>
                      <a:pt x="f379" y="f498"/>
                    </a:lnTo>
                    <a:lnTo>
                      <a:pt x="f465" y="f499"/>
                    </a:lnTo>
                    <a:lnTo>
                      <a:pt x="f465" y="f384"/>
                    </a:lnTo>
                    <a:lnTo>
                      <a:pt x="f500" y="f501"/>
                    </a:lnTo>
                    <a:lnTo>
                      <a:pt x="f491" y="f502"/>
                    </a:lnTo>
                    <a:lnTo>
                      <a:pt x="f503" y="f504"/>
                    </a:lnTo>
                    <a:lnTo>
                      <a:pt x="f505" y="f504"/>
                    </a:lnTo>
                    <a:lnTo>
                      <a:pt x="f488" y="f502"/>
                    </a:lnTo>
                    <a:lnTo>
                      <a:pt x="f466" y="f506"/>
                    </a:lnTo>
                    <a:lnTo>
                      <a:pt x="f67" y="f498"/>
                    </a:lnTo>
                    <a:lnTo>
                      <a:pt x="f507" y="f496"/>
                    </a:lnTo>
                    <a:lnTo>
                      <a:pt x="f508" y="f73"/>
                    </a:lnTo>
                    <a:lnTo>
                      <a:pt x="f61" y="f509"/>
                    </a:lnTo>
                    <a:lnTo>
                      <a:pt x="f43" y="f509"/>
                    </a:lnTo>
                    <a:lnTo>
                      <a:pt x="f510" y="f511"/>
                    </a:lnTo>
                    <a:lnTo>
                      <a:pt x="f512" y="f511"/>
                    </a:lnTo>
                    <a:lnTo>
                      <a:pt x="f351" y="f383"/>
                    </a:lnTo>
                    <a:lnTo>
                      <a:pt x="f39" y="f513"/>
                    </a:lnTo>
                    <a:lnTo>
                      <a:pt x="f351" y="f379"/>
                    </a:lnTo>
                    <a:lnTo>
                      <a:pt x="f352" y="f514"/>
                    </a:lnTo>
                    <a:lnTo>
                      <a:pt x="f515" y="f508"/>
                    </a:lnTo>
                    <a:lnTo>
                      <a:pt x="f362" y="f372"/>
                    </a:lnTo>
                    <a:lnTo>
                      <a:pt x="f360" y="f46"/>
                    </a:lnTo>
                    <a:lnTo>
                      <a:pt x="f360" y="f516"/>
                    </a:lnTo>
                    <a:lnTo>
                      <a:pt x="f354" y="f45"/>
                    </a:lnTo>
                    <a:lnTo>
                      <a:pt x="f517" y="f53"/>
                    </a:lnTo>
                    <a:lnTo>
                      <a:pt x="f518" y="f55"/>
                    </a:lnTo>
                    <a:lnTo>
                      <a:pt x="f35" y="f43"/>
                    </a:lnTo>
                    <a:lnTo>
                      <a:pt x="f519" y="f520"/>
                    </a:lnTo>
                    <a:lnTo>
                      <a:pt x="f521" y="f522"/>
                    </a:lnTo>
                    <a:lnTo>
                      <a:pt x="f523" y="f524"/>
                    </a:lnTo>
                    <a:lnTo>
                      <a:pt x="f29" y="f470"/>
                    </a:lnTo>
                    <a:lnTo>
                      <a:pt x="f523" y="f483"/>
                    </a:lnTo>
                    <a:lnTo>
                      <a:pt x="f525" y="f512"/>
                    </a:lnTo>
                    <a:lnTo>
                      <a:pt x="f33" y="f351"/>
                    </a:lnTo>
                    <a:lnTo>
                      <a:pt x="f526" y="f475"/>
                    </a:lnTo>
                    <a:lnTo>
                      <a:pt x="f527" y="f33"/>
                    </a:lnTo>
                    <a:lnTo>
                      <a:pt x="f472" y="f523"/>
                    </a:lnTo>
                    <a:lnTo>
                      <a:pt x="f518" y="f528"/>
                    </a:lnTo>
                    <a:lnTo>
                      <a:pt x="f36" y="f529"/>
                    </a:lnTo>
                    <a:lnTo>
                      <a:pt x="f526" y="f11"/>
                    </a:lnTo>
                    <a:lnTo>
                      <a:pt x="f530" y="f11"/>
                    </a:lnTo>
                    <a:lnTo>
                      <a:pt x="f531" y="f25"/>
                    </a:lnTo>
                    <a:lnTo>
                      <a:pt x="f532" y="f25"/>
                    </a:lnTo>
                    <a:lnTo>
                      <a:pt x="f533" y="f11"/>
                    </a:lnTo>
                    <a:lnTo>
                      <a:pt x="f534" y="f9"/>
                    </a:lnTo>
                    <a:lnTo>
                      <a:pt x="f535" y="f536"/>
                    </a:lnTo>
                    <a:lnTo>
                      <a:pt x="f537" y="f345"/>
                    </a:lnTo>
                    <a:lnTo>
                      <a:pt x="f538" y="f8"/>
                    </a:lnTo>
                    <a:lnTo>
                      <a:pt x="f539" y="f540"/>
                    </a:lnTo>
                    <a:lnTo>
                      <a:pt x="f541" y="f542"/>
                    </a:lnTo>
                    <a:lnTo>
                      <a:pt x="f543" y="f341"/>
                    </a:lnTo>
                    <a:lnTo>
                      <a:pt x="f544" y="f545"/>
                    </a:lnTo>
                    <a:lnTo>
                      <a:pt x="f546" y="f547"/>
                    </a:lnTo>
                    <a:lnTo>
                      <a:pt x="f548" y="f549"/>
                    </a:lnTo>
                    <a:lnTo>
                      <a:pt x="f550" y="f331"/>
                    </a:lnTo>
                    <a:lnTo>
                      <a:pt x="f551" y="f552"/>
                    </a:lnTo>
                    <a:lnTo>
                      <a:pt x="f553" y="f554"/>
                    </a:lnTo>
                    <a:lnTo>
                      <a:pt x="f555" y="f556"/>
                    </a:lnTo>
                    <a:lnTo>
                      <a:pt x="f557" y="f333"/>
                    </a:lnTo>
                    <a:lnTo>
                      <a:pt x="f558" y="f559"/>
                    </a:lnTo>
                    <a:lnTo>
                      <a:pt x="f560" y="f333"/>
                    </a:lnTo>
                    <a:lnTo>
                      <a:pt x="f561" y="f562"/>
                    </a:lnTo>
                    <a:lnTo>
                      <a:pt x="f563" y="f556"/>
                    </a:lnTo>
                    <a:lnTo>
                      <a:pt x="f564" y="f565"/>
                    </a:lnTo>
                    <a:lnTo>
                      <a:pt x="f566" y="f544"/>
                    </a:lnTo>
                    <a:lnTo>
                      <a:pt x="f567" y="f568"/>
                    </a:lnTo>
                    <a:lnTo>
                      <a:pt x="f569" y="f570"/>
                    </a:lnTo>
                    <a:lnTo>
                      <a:pt x="f571" y="f572"/>
                    </a:lnTo>
                    <a:lnTo>
                      <a:pt x="f573" y="f572"/>
                    </a:lnTo>
                    <a:lnTo>
                      <a:pt x="f298" y="f325"/>
                    </a:lnTo>
                    <a:lnTo>
                      <a:pt x="f294" y="f574"/>
                    </a:lnTo>
                    <a:lnTo>
                      <a:pt x="f268" y="f574"/>
                    </a:lnTo>
                    <a:lnTo>
                      <a:pt x="f260" y="f575"/>
                    </a:lnTo>
                    <a:lnTo>
                      <a:pt x="f576" y="f577"/>
                    </a:lnTo>
                    <a:lnTo>
                      <a:pt x="f578" y="f323"/>
                    </a:lnTo>
                    <a:lnTo>
                      <a:pt x="f240" y="f579"/>
                    </a:lnTo>
                    <a:lnTo>
                      <a:pt x="f233" y="f580"/>
                    </a:lnTo>
                    <a:lnTo>
                      <a:pt x="f581" y="f580"/>
                    </a:lnTo>
                    <a:lnTo>
                      <a:pt x="f225" y="f550"/>
                    </a:lnTo>
                    <a:lnTo>
                      <a:pt x="f226" y="f572"/>
                    </a:lnTo>
                    <a:lnTo>
                      <a:pt x="f582" y="f577"/>
                    </a:lnTo>
                    <a:lnTo>
                      <a:pt x="f583" y="f574"/>
                    </a:lnTo>
                    <a:lnTo>
                      <a:pt x="f584" y="f544"/>
                    </a:lnTo>
                    <a:lnTo>
                      <a:pt x="f583" y="f585"/>
                    </a:lnTo>
                    <a:lnTo>
                      <a:pt x="f229" y="f586"/>
                    </a:lnTo>
                    <a:lnTo>
                      <a:pt x="f587" y="f539"/>
                    </a:lnTo>
                    <a:lnTo>
                      <a:pt x="f218" y="f588"/>
                    </a:lnTo>
                    <a:lnTo>
                      <a:pt x="f213" y="f588"/>
                    </a:lnTo>
                    <a:lnTo>
                      <a:pt x="f589" y="f337"/>
                    </a:lnTo>
                    <a:lnTo>
                      <a:pt x="f590" y="f539"/>
                    </a:lnTo>
                    <a:lnTo>
                      <a:pt x="f591" y="f539"/>
                    </a:lnTo>
                    <a:lnTo>
                      <a:pt x="f592" y="f593"/>
                    </a:lnTo>
                    <a:lnTo>
                      <a:pt x="f594" y="f595"/>
                    </a:lnTo>
                    <a:lnTo>
                      <a:pt x="f596" y="f343"/>
                    </a:lnTo>
                    <a:lnTo>
                      <a:pt x="f597" y="f540"/>
                    </a:lnTo>
                    <a:lnTo>
                      <a:pt x="f598" y="f599"/>
                    </a:lnTo>
                    <a:lnTo>
                      <a:pt x="f600" y="f343"/>
                    </a:lnTo>
                    <a:lnTo>
                      <a:pt x="f601" y="f602"/>
                    </a:lnTo>
                    <a:lnTo>
                      <a:pt x="f603" y="f595"/>
                    </a:lnTo>
                    <a:lnTo>
                      <a:pt x="f603" y="f604"/>
                    </a:lnTo>
                    <a:lnTo>
                      <a:pt x="f605" y="f547"/>
                    </a:lnTo>
                    <a:lnTo>
                      <a:pt x="f606" y="f541"/>
                    </a:lnTo>
                    <a:lnTo>
                      <a:pt x="f606" y="f607"/>
                    </a:lnTo>
                    <a:lnTo>
                      <a:pt x="f603" y="f554"/>
                    </a:lnTo>
                    <a:lnTo>
                      <a:pt x="f608" y="f609"/>
                    </a:lnTo>
                    <a:lnTo>
                      <a:pt x="f610" y="f611"/>
                    </a:lnTo>
                    <a:lnTo>
                      <a:pt x="f612" y="f613"/>
                    </a:lnTo>
                    <a:lnTo>
                      <a:pt x="f614" y="f544"/>
                    </a:lnTo>
                    <a:lnTo>
                      <a:pt x="f159" y="f615"/>
                    </a:lnTo>
                    <a:lnTo>
                      <a:pt x="f157" y="f546"/>
                    </a:lnTo>
                    <a:lnTo>
                      <a:pt x="f157" y="f577"/>
                    </a:lnTo>
                    <a:lnTo>
                      <a:pt x="f616" y="f617"/>
                    </a:lnTo>
                    <a:lnTo>
                      <a:pt x="f618" y="f551"/>
                    </a:lnTo>
                    <a:lnTo>
                      <a:pt x="f616" y="f619"/>
                    </a:lnTo>
                    <a:lnTo>
                      <a:pt x="f620" y="f318"/>
                    </a:lnTo>
                    <a:lnTo>
                      <a:pt x="f621" y="f622"/>
                    </a:lnTo>
                    <a:lnTo>
                      <a:pt x="f151" y="f311"/>
                    </a:lnTo>
                    <a:lnTo>
                      <a:pt x="f623" y="f624"/>
                    </a:lnTo>
                    <a:lnTo>
                      <a:pt x="f625" y="f626"/>
                    </a:lnTo>
                    <a:lnTo>
                      <a:pt x="f627" y="f628"/>
                    </a:lnTo>
                    <a:lnTo>
                      <a:pt x="f629" y="f302"/>
                    </a:lnTo>
                    <a:lnTo>
                      <a:pt x="f630" y="f304"/>
                    </a:lnTo>
                    <a:lnTo>
                      <a:pt x="f631" y="f566"/>
                    </a:lnTo>
                    <a:lnTo>
                      <a:pt x="f632" y="f305"/>
                    </a:lnTo>
                    <a:lnTo>
                      <a:pt x="f633" y="f634"/>
                    </a:lnTo>
                    <a:lnTo>
                      <a:pt x="f635" y="f636"/>
                    </a:lnTo>
                    <a:lnTo>
                      <a:pt x="f637" y="f638"/>
                    </a:lnTo>
                    <a:lnTo>
                      <a:pt x="f639" y="f300"/>
                    </a:lnTo>
                    <a:lnTo>
                      <a:pt x="f640" y="f641"/>
                    </a:lnTo>
                    <a:lnTo>
                      <a:pt x="f642" y="f643"/>
                    </a:lnTo>
                    <a:lnTo>
                      <a:pt x="f141" y="f298"/>
                    </a:lnTo>
                    <a:lnTo>
                      <a:pt x="f74" y="f282"/>
                    </a:lnTo>
                    <a:lnTo>
                      <a:pt x="f70" y="f644"/>
                    </a:lnTo>
                    <a:lnTo>
                      <a:pt x="f81" y="f261"/>
                    </a:lnTo>
                    <a:lnTo>
                      <a:pt x="f130" y="f273"/>
                    </a:lnTo>
                    <a:lnTo>
                      <a:pt x="f645" y="f646"/>
                    </a:lnTo>
                    <a:lnTo>
                      <a:pt x="f62" y="f251"/>
                    </a:lnTo>
                    <a:lnTo>
                      <a:pt x="f647" y="f648"/>
                    </a:lnTo>
                    <a:lnTo>
                      <a:pt x="f649" y="f650"/>
                    </a:lnTo>
                    <a:lnTo>
                      <a:pt x="f651" y="f235"/>
                    </a:lnTo>
                    <a:lnTo>
                      <a:pt x="f652" y="f235"/>
                    </a:lnTo>
                    <a:lnTo>
                      <a:pt x="f653" y="f654"/>
                    </a:lnTo>
                    <a:lnTo>
                      <a:pt x="f655" y="f240"/>
                    </a:lnTo>
                    <a:lnTo>
                      <a:pt x="f47" y="f244"/>
                    </a:lnTo>
                    <a:lnTo>
                      <a:pt x="f32" y="f648"/>
                    </a:lnTo>
                    <a:lnTo>
                      <a:pt x="f44" y="f246"/>
                    </a:lnTo>
                    <a:lnTo>
                      <a:pt x="f656" y="f648"/>
                    </a:lnTo>
                    <a:lnTo>
                      <a:pt x="f657" y="f244"/>
                    </a:lnTo>
                    <a:lnTo>
                      <a:pt x="f658" y="f235"/>
                    </a:lnTo>
                    <a:lnTo>
                      <a:pt x="f32" y="f223"/>
                    </a:lnTo>
                    <a:lnTo>
                      <a:pt x="f108" y="f659"/>
                    </a:lnTo>
                    <a:lnTo>
                      <a:pt x="f40" y="f218"/>
                    </a:lnTo>
                    <a:lnTo>
                      <a:pt x="f30" y="f660"/>
                    </a:lnTo>
                    <a:lnTo>
                      <a:pt x="f34" y="f210"/>
                    </a:lnTo>
                    <a:lnTo>
                      <a:pt x="f661" y="f662"/>
                    </a:lnTo>
                    <a:lnTo>
                      <a:pt x="f657" y="f663"/>
                    </a:lnTo>
                    <a:lnTo>
                      <a:pt x="f664" y="f207"/>
                    </a:lnTo>
                    <a:lnTo>
                      <a:pt x="f665" y="f666"/>
                    </a:lnTo>
                    <a:lnTo>
                      <a:pt x="f667" y="f668"/>
                    </a:lnTo>
                    <a:lnTo>
                      <a:pt x="f669" y="f199"/>
                    </a:lnTo>
                    <a:lnTo>
                      <a:pt x="f670" y="f671"/>
                    </a:lnTo>
                    <a:lnTo>
                      <a:pt x="f672" y="f673"/>
                    </a:lnTo>
                    <a:lnTo>
                      <a:pt x="f674" y="f675"/>
                    </a:lnTo>
                    <a:lnTo>
                      <a:pt x="f676" y="f677"/>
                    </a:lnTo>
                    <a:lnTo>
                      <a:pt x="f12" y="f678"/>
                    </a:lnTo>
                    <a:lnTo>
                      <a:pt x="f676" y="f173"/>
                    </a:lnTo>
                    <a:lnTo>
                      <a:pt x="f676" y="f168"/>
                    </a:lnTo>
                    <a:lnTo>
                      <a:pt x="f679" y="f680"/>
                    </a:lnTo>
                    <a:lnTo>
                      <a:pt x="f681" y="f165"/>
                    </a:lnTo>
                    <a:lnTo>
                      <a:pt x="f5" y="f682"/>
                    </a:lnTo>
                    <a:lnTo>
                      <a:pt x="f676" y="f683"/>
                    </a:lnTo>
                    <a:lnTo>
                      <a:pt x="f674" y="f684"/>
                    </a:lnTo>
                    <a:lnTo>
                      <a:pt x="f13" y="f685"/>
                    </a:lnTo>
                    <a:lnTo>
                      <a:pt x="f13" y="f686"/>
                    </a:lnTo>
                    <a:lnTo>
                      <a:pt x="f687" y="f688"/>
                    </a:lnTo>
                    <a:lnTo>
                      <a:pt x="f689" y="f690"/>
                    </a:lnTo>
                    <a:lnTo>
                      <a:pt x="f689" y="f630"/>
                    </a:lnTo>
                    <a:lnTo>
                      <a:pt x="f687" y="f691"/>
                    </a:lnTo>
                    <a:lnTo>
                      <a:pt x="f669" y="f692"/>
                    </a:lnTo>
                    <a:lnTo>
                      <a:pt x="f667" y="f693"/>
                    </a:lnTo>
                    <a:lnTo>
                      <a:pt x="f694" y="f695"/>
                    </a:lnTo>
                    <a:lnTo>
                      <a:pt x="f694" y="f639"/>
                    </a:lnTo>
                    <a:lnTo>
                      <a:pt x="f667" y="f640"/>
                    </a:lnTo>
                    <a:lnTo>
                      <a:pt x="f669" y="f696"/>
                    </a:lnTo>
                    <a:lnTo>
                      <a:pt x="f13" y="f76"/>
                    </a:lnTo>
                    <a:lnTo>
                      <a:pt x="f697" y="f698"/>
                    </a:lnTo>
                    <a:lnTo>
                      <a:pt x="f699" y="f700"/>
                    </a:lnTo>
                    <a:lnTo>
                      <a:pt x="f15" y="f701"/>
                    </a:lnTo>
                    <a:lnTo>
                      <a:pt x="f667" y="f83"/>
                    </a:lnTo>
                    <a:lnTo>
                      <a:pt x="f694" y="f83"/>
                    </a:lnTo>
                    <a:lnTo>
                      <a:pt x="f702" y="f130"/>
                    </a:lnTo>
                    <a:lnTo>
                      <a:pt x="f703" y="f85"/>
                    </a:lnTo>
                    <a:lnTo>
                      <a:pt x="f703" y="f704"/>
                    </a:lnTo>
                    <a:lnTo>
                      <a:pt x="f665" y="f116"/>
                    </a:lnTo>
                    <a:lnTo>
                      <a:pt x="f705" y="f706"/>
                    </a:lnTo>
                    <a:lnTo>
                      <a:pt x="f664" y="f706"/>
                    </a:lnTo>
                    <a:lnTo>
                      <a:pt x="f707" y="f116"/>
                    </a:lnTo>
                    <a:lnTo>
                      <a:pt x="f21" y="f120"/>
                    </a:lnTo>
                    <a:lnTo>
                      <a:pt x="f708" y="f85"/>
                    </a:lnTo>
                    <a:lnTo>
                      <a:pt x="f37" y="f125"/>
                    </a:lnTo>
                    <a:lnTo>
                      <a:pt x="f47" y="f76"/>
                    </a:lnTo>
                    <a:lnTo>
                      <a:pt x="f49" y="f709"/>
                    </a:lnTo>
                    <a:lnTo>
                      <a:pt x="f54" y="f710"/>
                    </a:lnTo>
                    <a:lnTo>
                      <a:pt x="f711" y="f712"/>
                    </a:lnTo>
                    <a:lnTo>
                      <a:pt x="f713" y="f714"/>
                    </a:lnTo>
                    <a:lnTo>
                      <a:pt x="f715" y="f716"/>
                    </a:lnTo>
                    <a:lnTo>
                      <a:pt x="f717" y="f718"/>
                    </a:lnTo>
                    <a:lnTo>
                      <a:pt x="f120" y="f719"/>
                    </a:lnTo>
                    <a:lnTo>
                      <a:pt x="f720" y="f721"/>
                    </a:lnTo>
                    <a:lnTo>
                      <a:pt x="f722" y="f141"/>
                    </a:lnTo>
                    <a:lnTo>
                      <a:pt x="f83" y="f642"/>
                    </a:lnTo>
                    <a:lnTo>
                      <a:pt x="f723" y="f724"/>
                    </a:lnTo>
                    <a:lnTo>
                      <a:pt x="f76" y="f639"/>
                    </a:lnTo>
                    <a:lnTo>
                      <a:pt x="f642" y="f725"/>
                    </a:lnTo>
                    <a:lnTo>
                      <a:pt x="f709" y="f692"/>
                    </a:lnTo>
                    <a:lnTo>
                      <a:pt x="f726" y="f727"/>
                    </a:lnTo>
                    <a:lnTo>
                      <a:pt x="f716" y="f633"/>
                    </a:lnTo>
                    <a:lnTo>
                      <a:pt x="f725" y="f633"/>
                    </a:lnTo>
                    <a:lnTo>
                      <a:pt x="f728" y="f729"/>
                    </a:lnTo>
                    <a:lnTo>
                      <a:pt x="f730" y="f725"/>
                    </a:lnTo>
                    <a:lnTo>
                      <a:pt x="f2" y="f639"/>
                    </a:lnTo>
                    <a:lnTo>
                      <a:pt x="f731" y="f718"/>
                    </a:lnTo>
                    <a:lnTo>
                      <a:pt x="f145" y="f721"/>
                    </a:lnTo>
                    <a:lnTo>
                      <a:pt x="f732" y="f74"/>
                    </a:lnTo>
                    <a:lnTo>
                      <a:pt x="f733" y="f79"/>
                    </a:lnTo>
                    <a:lnTo>
                      <a:pt x="f151" y="f68"/>
                    </a:lnTo>
                    <a:lnTo>
                      <a:pt x="f155" y="f68"/>
                    </a:lnTo>
                    <a:lnTo>
                      <a:pt x="f683" y="f723"/>
                    </a:lnTo>
                    <a:lnTo>
                      <a:pt x="f614" y="f68"/>
                    </a:lnTo>
                    <a:lnTo>
                      <a:pt x="f164" y="f70"/>
                    </a:lnTo>
                    <a:lnTo>
                      <a:pt x="f682" y="f72"/>
                    </a:lnTo>
                    <a:lnTo>
                      <a:pt x="f680" y="f76"/>
                    </a:lnTo>
                    <a:lnTo>
                      <a:pt x="f177" y="f76"/>
                    </a:lnTo>
                    <a:lnTo>
                      <a:pt x="f734" y="f72"/>
                    </a:lnTo>
                    <a:lnTo>
                      <a:pt x="f735" y="f139"/>
                    </a:lnTo>
                    <a:lnTo>
                      <a:pt x="f189" y="f700"/>
                    </a:lnTo>
                    <a:lnTo>
                      <a:pt x="f191" y="f125"/>
                    </a:lnTo>
                    <a:lnTo>
                      <a:pt x="f193" y="f81"/>
                    </a:lnTo>
                    <a:lnTo>
                      <a:pt x="f736" y="f723"/>
                    </a:lnTo>
                    <a:lnTo>
                      <a:pt x="f598" y="f139"/>
                    </a:lnTo>
                    <a:lnTo>
                      <a:pt x="f673" y="f70"/>
                    </a:lnTo>
                    <a:lnTo>
                      <a:pt x="f737" y="f723"/>
                    </a:lnTo>
                    <a:lnTo>
                      <a:pt x="f738" y="f739"/>
                    </a:lnTo>
                    <a:lnTo>
                      <a:pt x="f594" y="f64"/>
                    </a:lnTo>
                    <a:lnTo>
                      <a:pt x="f740" y="f118"/>
                    </a:lnTo>
                    <a:lnTo>
                      <a:pt x="f741" y="f651"/>
                    </a:lnTo>
                    <a:lnTo>
                      <a:pt x="f742" y="f60"/>
                    </a:lnTo>
                    <a:lnTo>
                      <a:pt x="f743" y="f649"/>
                    </a:lnTo>
                    <a:lnTo>
                      <a:pt x="f744" y="f62"/>
                    </a:lnTo>
                    <a:lnTo>
                      <a:pt x="f745" y="f722"/>
                    </a:lnTo>
                    <a:lnTo>
                      <a:pt x="f223" y="f83"/>
                    </a:lnTo>
                    <a:lnTo>
                      <a:pt x="f581" y="f81"/>
                    </a:lnTo>
                    <a:lnTo>
                      <a:pt x="f583" y="f68"/>
                    </a:lnTo>
                    <a:lnTo>
                      <a:pt x="f650" y="f139"/>
                    </a:lnTo>
                    <a:lnTo>
                      <a:pt x="f746" y="f70"/>
                    </a:lnTo>
                    <a:lnTo>
                      <a:pt x="f253" y="f70"/>
                    </a:lnTo>
                    <a:lnTo>
                      <a:pt x="f747" y="f68"/>
                    </a:lnTo>
                    <a:lnTo>
                      <a:pt x="f748" y="f125"/>
                    </a:lnTo>
                    <a:lnTo>
                      <a:pt x="f646" y="f749"/>
                    </a:lnTo>
                    <a:lnTo>
                      <a:pt x="f260" y="f722"/>
                    </a:lnTo>
                    <a:lnTo>
                      <a:pt x="f750" y="f123"/>
                    </a:lnTo>
                    <a:lnTo>
                      <a:pt x="f262" y="f722"/>
                    </a:lnTo>
                    <a:lnTo>
                      <a:pt x="f294" y="f130"/>
                    </a:lnTo>
                    <a:lnTo>
                      <a:pt x="f751" y="f128"/>
                    </a:lnTo>
                    <a:lnTo>
                      <a:pt x="f752" y="f130"/>
                    </a:lnTo>
                    <a:lnTo>
                      <a:pt x="f638" y="f85"/>
                    </a:lnTo>
                    <a:lnTo>
                      <a:pt x="f571" y="f720"/>
                    </a:lnTo>
                    <a:lnTo>
                      <a:pt x="f569" y="f118"/>
                    </a:lnTo>
                    <a:lnTo>
                      <a:pt x="f567" y="f753"/>
                    </a:lnTo>
                    <a:lnTo>
                      <a:pt x="f305" y="f754"/>
                    </a:lnTo>
                    <a:lnTo>
                      <a:pt x="f755" y="f49"/>
                    </a:lnTo>
                    <a:lnTo>
                      <a:pt x="f756" y="f26"/>
                    </a:lnTo>
                    <a:lnTo>
                      <a:pt x="f757" y="f24"/>
                    </a:lnTo>
                    <a:lnTo>
                      <a:pt x="f758" y="f108"/>
                    </a:lnTo>
                    <a:lnTo>
                      <a:pt x="f759" y="f37"/>
                    </a:lnTo>
                    <a:lnTo>
                      <a:pt x="f553" y="f32"/>
                    </a:lnTo>
                    <a:lnTo>
                      <a:pt x="f760" y="f708"/>
                    </a:lnTo>
                    <a:lnTo>
                      <a:pt x="f761" y="f658"/>
                    </a:lnTo>
                    <a:lnTo>
                      <a:pt x="f325" y="f762"/>
                    </a:lnTo>
                    <a:lnTo>
                      <a:pt x="f615" y="f763"/>
                    </a:lnTo>
                    <a:lnTo>
                      <a:pt x="f764" y="f665"/>
                    </a:lnTo>
                    <a:lnTo>
                      <a:pt x="f585" y="f667"/>
                    </a:lnTo>
                    <a:lnTo>
                      <a:pt x="f333" y="f672"/>
                    </a:lnTo>
                    <a:lnTo>
                      <a:pt x="f765" y="f766"/>
                    </a:lnTo>
                    <a:lnTo>
                      <a:pt x="f604" y="f676"/>
                    </a:lnTo>
                    <a:lnTo>
                      <a:pt x="f537" y="f679"/>
                    </a:lnTo>
                    <a:lnTo>
                      <a:pt x="f341" y="f679"/>
                    </a:lnTo>
                    <a:lnTo>
                      <a:pt x="f767" y="f768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92" name="Freeform 12">
                <a:extLst>
                  <a:ext uri="{FF2B5EF4-FFF2-40B4-BE49-F238E27FC236}">
                    <a16:creationId xmlns:a16="http://schemas.microsoft.com/office/drawing/2014/main" id="{4C2B0C05-A1F4-41FD-AF82-02E18F4B91A1}"/>
                  </a:ext>
                </a:extLst>
              </p:cNvPr>
              <p:cNvSpPr/>
              <p:nvPr/>
            </p:nvSpPr>
            <p:spPr>
              <a:xfrm>
                <a:off x="3622212" y="1888857"/>
                <a:ext cx="286518" cy="237451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318"/>
                  <a:gd name="f7" fmla="val 1222"/>
                  <a:gd name="f8" fmla="val 488"/>
                  <a:gd name="f9" fmla="val 491"/>
                  <a:gd name="f10" fmla="val 1"/>
                  <a:gd name="f11" fmla="val 494"/>
                  <a:gd name="f12" fmla="val 3"/>
                  <a:gd name="f13" fmla="val 496"/>
                  <a:gd name="f14" fmla="val 7"/>
                  <a:gd name="f15" fmla="val 499"/>
                  <a:gd name="f16" fmla="val 12"/>
                  <a:gd name="f17" fmla="val 505"/>
                  <a:gd name="f18" fmla="val 15"/>
                  <a:gd name="f19" fmla="val 512"/>
                  <a:gd name="f20" fmla="val 16"/>
                  <a:gd name="f21" fmla="val 519"/>
                  <a:gd name="f22" fmla="val 13"/>
                  <a:gd name="f23" fmla="val 527"/>
                  <a:gd name="f24" fmla="val 4"/>
                  <a:gd name="f25" fmla="val 531"/>
                  <a:gd name="f26" fmla="val 535"/>
                  <a:gd name="f27" fmla="val 9"/>
                  <a:gd name="f28" fmla="val 543"/>
                  <a:gd name="f29" fmla="val 24"/>
                  <a:gd name="f30" fmla="val 547"/>
                  <a:gd name="f31" fmla="val 32"/>
                  <a:gd name="f32" fmla="val 550"/>
                  <a:gd name="f33" fmla="val 36"/>
                  <a:gd name="f34" fmla="val 554"/>
                  <a:gd name="f35" fmla="val 38"/>
                  <a:gd name="f36" fmla="val 559"/>
                  <a:gd name="f37" fmla="val 39"/>
                  <a:gd name="f38" fmla="val 567"/>
                  <a:gd name="f39" fmla="val 41"/>
                  <a:gd name="f40" fmla="val 577"/>
                  <a:gd name="f41" fmla="val 43"/>
                  <a:gd name="f42" fmla="val 590"/>
                  <a:gd name="f43" fmla="val 47"/>
                  <a:gd name="f44" fmla="val 602"/>
                  <a:gd name="f45" fmla="val 50"/>
                  <a:gd name="f46" fmla="val 614"/>
                  <a:gd name="f47" fmla="val 626"/>
                  <a:gd name="f48" fmla="val 49"/>
                  <a:gd name="f49" fmla="val 637"/>
                  <a:gd name="f50" fmla="val 48"/>
                  <a:gd name="f51" fmla="val 645"/>
                  <a:gd name="f52" fmla="val 653"/>
                  <a:gd name="f53" fmla="val 658"/>
                  <a:gd name="f54" fmla="val 53"/>
                  <a:gd name="f55" fmla="val 55"/>
                  <a:gd name="f56" fmla="val 659"/>
                  <a:gd name="f57" fmla="val 72"/>
                  <a:gd name="f58" fmla="val 84"/>
                  <a:gd name="f59" fmla="val 90"/>
                  <a:gd name="f60" fmla="val 95"/>
                  <a:gd name="f61" fmla="val 663"/>
                  <a:gd name="f62" fmla="val 101"/>
                  <a:gd name="f63" fmla="val 670"/>
                  <a:gd name="f64" fmla="val 107"/>
                  <a:gd name="f65" fmla="val 680"/>
                  <a:gd name="f66" fmla="val 115"/>
                  <a:gd name="f67" fmla="val 695"/>
                  <a:gd name="f68" fmla="val 125"/>
                  <a:gd name="f69" fmla="val 709"/>
                  <a:gd name="f70" fmla="val 132"/>
                  <a:gd name="f71" fmla="val 723"/>
                  <a:gd name="f72" fmla="val 133"/>
                  <a:gd name="f73" fmla="val 735"/>
                  <a:gd name="f74" fmla="val 131"/>
                  <a:gd name="f75" fmla="val 748"/>
                  <a:gd name="f76" fmla="val 127"/>
                  <a:gd name="f77" fmla="val 760"/>
                  <a:gd name="f78" fmla="val 122"/>
                  <a:gd name="f79" fmla="val 770"/>
                  <a:gd name="f80" fmla="val 120"/>
                  <a:gd name="f81" fmla="val 784"/>
                  <a:gd name="f82" fmla="val 119"/>
                  <a:gd name="f83" fmla="val 797"/>
                  <a:gd name="f84" fmla="val 117"/>
                  <a:gd name="f85" fmla="val 808"/>
                  <a:gd name="f86" fmla="val 817"/>
                  <a:gd name="f87" fmla="val 110"/>
                  <a:gd name="f88" fmla="val 823"/>
                  <a:gd name="f89" fmla="val 105"/>
                  <a:gd name="f90" fmla="val 831"/>
                  <a:gd name="f91" fmla="val 840"/>
                  <a:gd name="f92" fmla="val 99"/>
                  <a:gd name="f93" fmla="val 850"/>
                  <a:gd name="f94" fmla="val 100"/>
                  <a:gd name="f95" fmla="val 855"/>
                  <a:gd name="f96" fmla="val 102"/>
                  <a:gd name="f97" fmla="val 106"/>
                  <a:gd name="f98" fmla="val 851"/>
                  <a:gd name="f99" fmla="val 112"/>
                  <a:gd name="f100" fmla="val 847"/>
                  <a:gd name="f101" fmla="val 118"/>
                  <a:gd name="f102" fmla="val 844"/>
                  <a:gd name="f103" fmla="val 842"/>
                  <a:gd name="f104" fmla="val 137"/>
                  <a:gd name="f105" fmla="val 166"/>
                  <a:gd name="f106" fmla="val 845"/>
                  <a:gd name="f107" fmla="val 849"/>
                  <a:gd name="f108" fmla="val 194"/>
                  <a:gd name="f109" fmla="val 859"/>
                  <a:gd name="f110" fmla="val 207"/>
                  <a:gd name="f111" fmla="val 866"/>
                  <a:gd name="f112" fmla="val 211"/>
                  <a:gd name="f113" fmla="val 875"/>
                  <a:gd name="f114" fmla="val 210"/>
                  <a:gd name="f115" fmla="val 884"/>
                  <a:gd name="f116" fmla="val 205"/>
                  <a:gd name="f117" fmla="val 892"/>
                  <a:gd name="f118" fmla="val 198"/>
                  <a:gd name="f119" fmla="val 908"/>
                  <a:gd name="f120" fmla="val 181"/>
                  <a:gd name="f121" fmla="val 915"/>
                  <a:gd name="f122" fmla="val 176"/>
                  <a:gd name="f123" fmla="val 921"/>
                  <a:gd name="f124" fmla="val 175"/>
                  <a:gd name="f125" fmla="val 928"/>
                  <a:gd name="f126" fmla="val 178"/>
                  <a:gd name="f127" fmla="val 932"/>
                  <a:gd name="f128" fmla="val 185"/>
                  <a:gd name="f129" fmla="val 934"/>
                  <a:gd name="f130" fmla="val 192"/>
                  <a:gd name="f131" fmla="val 936"/>
                  <a:gd name="f132" fmla="val 201"/>
                  <a:gd name="f133" fmla="val 939"/>
                  <a:gd name="f134" fmla="val 213"/>
                  <a:gd name="f135" fmla="val 944"/>
                  <a:gd name="f136" fmla="val 221"/>
                  <a:gd name="f137" fmla="val 950"/>
                  <a:gd name="f138" fmla="val 224"/>
                  <a:gd name="f139" fmla="val 958"/>
                  <a:gd name="f140" fmla="val 225"/>
                  <a:gd name="f141" fmla="val 970"/>
                  <a:gd name="f142" fmla="val 975"/>
                  <a:gd name="f143" fmla="val 227"/>
                  <a:gd name="f144" fmla="val 977"/>
                  <a:gd name="f145" fmla="val 230"/>
                  <a:gd name="f146" fmla="val 979"/>
                  <a:gd name="f147" fmla="val 234"/>
                  <a:gd name="f148" fmla="val 981"/>
                  <a:gd name="f149" fmla="val 242"/>
                  <a:gd name="f150" fmla="val 983"/>
                  <a:gd name="f151" fmla="val 254"/>
                  <a:gd name="f152" fmla="val 987"/>
                  <a:gd name="f153" fmla="val 262"/>
                  <a:gd name="f154" fmla="val 993"/>
                  <a:gd name="f155" fmla="val 267"/>
                  <a:gd name="f156" fmla="val 999"/>
                  <a:gd name="f157" fmla="val 271"/>
                  <a:gd name="f158" fmla="val 1006"/>
                  <a:gd name="f159" fmla="val 273"/>
                  <a:gd name="f160" fmla="val 1011"/>
                  <a:gd name="f161" fmla="val 276"/>
                  <a:gd name="f162" fmla="val 1014"/>
                  <a:gd name="f163" fmla="val 281"/>
                  <a:gd name="f164" fmla="val 1020"/>
                  <a:gd name="f165" fmla="val 290"/>
                  <a:gd name="f166" fmla="val 1030"/>
                  <a:gd name="f167" fmla="val 296"/>
                  <a:gd name="f168" fmla="val 1041"/>
                  <a:gd name="f169" fmla="val 302"/>
                  <a:gd name="f170" fmla="val 1054"/>
                  <a:gd name="f171" fmla="val 306"/>
                  <a:gd name="f172" fmla="val 1062"/>
                  <a:gd name="f173" fmla="val 310"/>
                  <a:gd name="f174" fmla="val 1064"/>
                  <a:gd name="f175" fmla="val 316"/>
                  <a:gd name="f176" fmla="val 1063"/>
                  <a:gd name="f177" fmla="val 321"/>
                  <a:gd name="f178" fmla="val 329"/>
                  <a:gd name="f179" fmla="val 1061"/>
                  <a:gd name="f180" fmla="val 335"/>
                  <a:gd name="f181" fmla="val 337"/>
                  <a:gd name="f182" fmla="val 1066"/>
                  <a:gd name="f183" fmla="val 336"/>
                  <a:gd name="f184" fmla="val 1072"/>
                  <a:gd name="f185" fmla="val 332"/>
                  <a:gd name="f186" fmla="val 1079"/>
                  <a:gd name="f187" fmla="val 327"/>
                  <a:gd name="f188" fmla="val 1087"/>
                  <a:gd name="f189" fmla="val 1095"/>
                  <a:gd name="f190" fmla="val 1102"/>
                  <a:gd name="f191" fmla="val 311"/>
                  <a:gd name="f192" fmla="val 1109"/>
                  <a:gd name="f193" fmla="val 309"/>
                  <a:gd name="f194" fmla="val 1117"/>
                  <a:gd name="f195" fmla="val 1129"/>
                  <a:gd name="f196" fmla="val 1143"/>
                  <a:gd name="f197" fmla="val 314"/>
                  <a:gd name="f198" fmla="val 1157"/>
                  <a:gd name="f199" fmla="val 317"/>
                  <a:gd name="f200" fmla="val 1170"/>
                  <a:gd name="f201" fmla="val 320"/>
                  <a:gd name="f202" fmla="val 1180"/>
                  <a:gd name="f203" fmla="val 324"/>
                  <a:gd name="f204" fmla="val 1186"/>
                  <a:gd name="f205" fmla="val 328"/>
                  <a:gd name="f206" fmla="val 1188"/>
                  <a:gd name="f207" fmla="val 1187"/>
                  <a:gd name="f208" fmla="val 1184"/>
                  <a:gd name="f209" fmla="val 341"/>
                  <a:gd name="f210" fmla="val 346"/>
                  <a:gd name="f211" fmla="val 1178"/>
                  <a:gd name="f212" fmla="val 350"/>
                  <a:gd name="f213" fmla="val 1179"/>
                  <a:gd name="f214" fmla="val 353"/>
                  <a:gd name="f215" fmla="val 1183"/>
                  <a:gd name="f216" fmla="val 354"/>
                  <a:gd name="f217" fmla="val 356"/>
                  <a:gd name="f218" fmla="val 1195"/>
                  <a:gd name="f219" fmla="val 1200"/>
                  <a:gd name="f220" fmla="val 1205"/>
                  <a:gd name="f221" fmla="val 357"/>
                  <a:gd name="f222" fmla="val 1211"/>
                  <a:gd name="f223" fmla="val 362"/>
                  <a:gd name="f224" fmla="val 1217"/>
                  <a:gd name="f225" fmla="val 366"/>
                  <a:gd name="f226" fmla="val 1225"/>
                  <a:gd name="f227" fmla="val 1230"/>
                  <a:gd name="f228" fmla="val 365"/>
                  <a:gd name="f229" fmla="val 1239"/>
                  <a:gd name="f230" fmla="val 364"/>
                  <a:gd name="f231" fmla="val 1252"/>
                  <a:gd name="f232" fmla="val 361"/>
                  <a:gd name="f233" fmla="val 1267"/>
                  <a:gd name="f234" fmla="val 358"/>
                  <a:gd name="f235" fmla="val 1284"/>
                  <a:gd name="f236" fmla="val 1286"/>
                  <a:gd name="f237" fmla="val 379"/>
                  <a:gd name="f238" fmla="val 1278"/>
                  <a:gd name="f239" fmla="val 392"/>
                  <a:gd name="f240" fmla="val 1271"/>
                  <a:gd name="f241" fmla="val 404"/>
                  <a:gd name="f242" fmla="val 415"/>
                  <a:gd name="f243" fmla="val 419"/>
                  <a:gd name="f244" fmla="val 1269"/>
                  <a:gd name="f245" fmla="val 420"/>
                  <a:gd name="f246" fmla="val 1273"/>
                  <a:gd name="f247" fmla="val 418"/>
                  <a:gd name="f248" fmla="val 1290"/>
                  <a:gd name="f249" fmla="val 1296"/>
                  <a:gd name="f250" fmla="val 424"/>
                  <a:gd name="f251" fmla="val 1299"/>
                  <a:gd name="f252" fmla="val 432"/>
                  <a:gd name="f253" fmla="val 443"/>
                  <a:gd name="f254" fmla="val 1297"/>
                  <a:gd name="f255" fmla="val 456"/>
                  <a:gd name="f256" fmla="val 1288"/>
                  <a:gd name="f257" fmla="val 479"/>
                  <a:gd name="f258" fmla="val 490"/>
                  <a:gd name="f259" fmla="val 1281"/>
                  <a:gd name="f260" fmla="val 497"/>
                  <a:gd name="f261" fmla="val 1282"/>
                  <a:gd name="f262" fmla="val 503"/>
                  <a:gd name="f263" fmla="val 1287"/>
                  <a:gd name="f264" fmla="val 507"/>
                  <a:gd name="f265" fmla="val 1295"/>
                  <a:gd name="f266" fmla="val 510"/>
                  <a:gd name="f267" fmla="val 1303"/>
                  <a:gd name="f268" fmla="val 514"/>
                  <a:gd name="f269" fmla="val 1311"/>
                  <a:gd name="f270" fmla="val 516"/>
                  <a:gd name="f271" fmla="val 1316"/>
                  <a:gd name="f272" fmla="val 522"/>
                  <a:gd name="f273" fmla="val 530"/>
                  <a:gd name="f274" fmla="val 1312"/>
                  <a:gd name="f275" fmla="val 538"/>
                  <a:gd name="f276" fmla="val 1306"/>
                  <a:gd name="f277" fmla="val 548"/>
                  <a:gd name="f278" fmla="val 1302"/>
                  <a:gd name="f279" fmla="val 557"/>
                  <a:gd name="f280" fmla="val 1298"/>
                  <a:gd name="f281" fmla="val 562"/>
                  <a:gd name="f282" fmla="val 566"/>
                  <a:gd name="f283" fmla="val 1300"/>
                  <a:gd name="f284" fmla="val 572"/>
                  <a:gd name="f285" fmla="val 578"/>
                  <a:gd name="f286" fmla="val 1304"/>
                  <a:gd name="f287" fmla="val 585"/>
                  <a:gd name="f288" fmla="val 597"/>
                  <a:gd name="f289" fmla="val 607"/>
                  <a:gd name="f290" fmla="val 1289"/>
                  <a:gd name="f291" fmla="val 620"/>
                  <a:gd name="f292" fmla="val 632"/>
                  <a:gd name="f293" fmla="val 644"/>
                  <a:gd name="f294" fmla="val 1292"/>
                  <a:gd name="f295" fmla="val 654"/>
                  <a:gd name="f296" fmla="val 669"/>
                  <a:gd name="f297" fmla="val 1291"/>
                  <a:gd name="f298" fmla="val 673"/>
                  <a:gd name="f299" fmla="val 675"/>
                  <a:gd name="f300" fmla="val 1274"/>
                  <a:gd name="f301" fmla="val 676"/>
                  <a:gd name="f302" fmla="val 1263"/>
                  <a:gd name="f303" fmla="val 1254"/>
                  <a:gd name="f304" fmla="val 677"/>
                  <a:gd name="f305" fmla="val 1246"/>
                  <a:gd name="f306" fmla="val 679"/>
                  <a:gd name="f307" fmla="val 1240"/>
                  <a:gd name="f308" fmla="val 1232"/>
                  <a:gd name="f309" fmla="val 1224"/>
                  <a:gd name="f310" fmla="val 1216"/>
                  <a:gd name="f311" fmla="val 667"/>
                  <a:gd name="f312" fmla="val 1210"/>
                  <a:gd name="f313" fmla="val 664"/>
                  <a:gd name="f314" fmla="val 1204"/>
                  <a:gd name="f315" fmla="val 1198"/>
                  <a:gd name="f316" fmla="val 1185"/>
                  <a:gd name="f317" fmla="val 688"/>
                  <a:gd name="f318" fmla="val 1177"/>
                  <a:gd name="f319" fmla="val 693"/>
                  <a:gd name="f320" fmla="val 1173"/>
                  <a:gd name="f321" fmla="val 1146"/>
                  <a:gd name="f322" fmla="val 694"/>
                  <a:gd name="f323" fmla="val 1126"/>
                  <a:gd name="f324" fmla="val 1119"/>
                  <a:gd name="f325" fmla="val 697"/>
                  <a:gd name="f326" fmla="val 1114"/>
                  <a:gd name="f327" fmla="val 702"/>
                  <a:gd name="f328" fmla="val 1111"/>
                  <a:gd name="f329" fmla="val 711"/>
                  <a:gd name="f330" fmla="val 1108"/>
                  <a:gd name="f331" fmla="val 717"/>
                  <a:gd name="f332" fmla="val 1104"/>
                  <a:gd name="f333" fmla="val 719"/>
                  <a:gd name="f334" fmla="val 1097"/>
                  <a:gd name="f335" fmla="val 720"/>
                  <a:gd name="f336" fmla="val 1090"/>
                  <a:gd name="f337" fmla="val 722"/>
                  <a:gd name="f338" fmla="val 1083"/>
                  <a:gd name="f339" fmla="val 728"/>
                  <a:gd name="f340" fmla="val 734"/>
                  <a:gd name="f341" fmla="val 1076"/>
                  <a:gd name="f342" fmla="val 736"/>
                  <a:gd name="f343" fmla="val 1051"/>
                  <a:gd name="f344" fmla="val 739"/>
                  <a:gd name="f345" fmla="val 745"/>
                  <a:gd name="f346" fmla="val 1033"/>
                  <a:gd name="f347" fmla="val 752"/>
                  <a:gd name="f348" fmla="val 1026"/>
                  <a:gd name="f349" fmla="val 1023"/>
                  <a:gd name="f350" fmla="val 768"/>
                  <a:gd name="f351" fmla="val 774"/>
                  <a:gd name="f352" fmla="val 1027"/>
                  <a:gd name="f353" fmla="val 778"/>
                  <a:gd name="f354" fmla="val 1034"/>
                  <a:gd name="f355" fmla="val 783"/>
                  <a:gd name="f356" fmla="val 790"/>
                  <a:gd name="f357" fmla="val 796"/>
                  <a:gd name="f358" fmla="val 1060"/>
                  <a:gd name="f359" fmla="val 802"/>
                  <a:gd name="f360" fmla="val 1067"/>
                  <a:gd name="f361" fmla="val 805"/>
                  <a:gd name="f362" fmla="val 1074"/>
                  <a:gd name="f363" fmla="val 1084"/>
                  <a:gd name="f364" fmla="val 1089"/>
                  <a:gd name="f365" fmla="val 793"/>
                  <a:gd name="f366" fmla="val 1093"/>
                  <a:gd name="f367" fmla="val 791"/>
                  <a:gd name="f368" fmla="val 1100"/>
                  <a:gd name="f369" fmla="val 1107"/>
                  <a:gd name="f370" fmla="val 792"/>
                  <a:gd name="f371" fmla="val 1113"/>
                  <a:gd name="f372" fmla="val 795"/>
                  <a:gd name="f373" fmla="val 1115"/>
                  <a:gd name="f374" fmla="val 812"/>
                  <a:gd name="f375" fmla="val 1110"/>
                  <a:gd name="f376" fmla="val 821"/>
                  <a:gd name="f377" fmla="val 1106"/>
                  <a:gd name="f378" fmla="val 829"/>
                  <a:gd name="f379" fmla="val 1105"/>
                  <a:gd name="f380" fmla="val 835"/>
                  <a:gd name="f381" fmla="val 854"/>
                  <a:gd name="f382" fmla="val 862"/>
                  <a:gd name="f383" fmla="val 873"/>
                  <a:gd name="f384" fmla="val 1094"/>
                  <a:gd name="f385" fmla="val 888"/>
                  <a:gd name="f386" fmla="val 894"/>
                  <a:gd name="f387" fmla="val 1086"/>
                  <a:gd name="f388" fmla="val 900"/>
                  <a:gd name="f389" fmla="val 905"/>
                  <a:gd name="f390" fmla="val 909"/>
                  <a:gd name="f391" fmla="val 1101"/>
                  <a:gd name="f392" fmla="val 920"/>
                  <a:gd name="f393" fmla="val 925"/>
                  <a:gd name="f394" fmla="val 933"/>
                  <a:gd name="f395" fmla="val 938"/>
                  <a:gd name="f396" fmla="val 945"/>
                  <a:gd name="f397" fmla="val 949"/>
                  <a:gd name="f398" fmla="val 962"/>
                  <a:gd name="f399" fmla="val 1112"/>
                  <a:gd name="f400" fmla="val 968"/>
                  <a:gd name="f401" fmla="val 1001"/>
                  <a:gd name="f402" fmla="val 1015"/>
                  <a:gd name="f403" fmla="val 1043"/>
                  <a:gd name="f404" fmla="val 1052"/>
                  <a:gd name="f405" fmla="val 1058"/>
                  <a:gd name="f406" fmla="val 1120"/>
                  <a:gd name="f407" fmla="val 1124"/>
                  <a:gd name="f408" fmla="val 1128"/>
                  <a:gd name="f409" fmla="val 1069"/>
                  <a:gd name="f410" fmla="val 1130"/>
                  <a:gd name="f411" fmla="val 1075"/>
                  <a:gd name="f412" fmla="val 1131"/>
                  <a:gd name="f413" fmla="val 1096"/>
                  <a:gd name="f414" fmla="val 1133"/>
                  <a:gd name="f415" fmla="val 1135"/>
                  <a:gd name="f416" fmla="val 1144"/>
                  <a:gd name="f417" fmla="val 1140"/>
                  <a:gd name="f418" fmla="val 1158"/>
                  <a:gd name="f419" fmla="val 1145"/>
                  <a:gd name="f420" fmla="val 1151"/>
                  <a:gd name="f421" fmla="val 1182"/>
                  <a:gd name="f422" fmla="val 1155"/>
                  <a:gd name="f423" fmla="val 1191"/>
                  <a:gd name="f424" fmla="val 1156"/>
                  <a:gd name="f425" fmla="val 1197"/>
                  <a:gd name="f426" fmla="val 1154"/>
                  <a:gd name="f427" fmla="val 1203"/>
                  <a:gd name="f428" fmla="val 1150"/>
                  <a:gd name="f429" fmla="val 1220"/>
                  <a:gd name="f430" fmla="val 1219"/>
                  <a:gd name="f431" fmla="val 1121"/>
                  <a:gd name="f432" fmla="val 1218"/>
                  <a:gd name="f433" fmla="val 1215"/>
                  <a:gd name="f434" fmla="val 1208"/>
                  <a:gd name="f435" fmla="val 1078"/>
                  <a:gd name="f436" fmla="val 1207"/>
                  <a:gd name="f437" fmla="val 1050"/>
                  <a:gd name="f438" fmla="val 1189"/>
                  <a:gd name="f439" fmla="val 1042"/>
                  <a:gd name="f440" fmla="val 1036"/>
                  <a:gd name="f441" fmla="val 1013"/>
                  <a:gd name="f442" fmla="val 1193"/>
                  <a:gd name="f443" fmla="val 969"/>
                  <a:gd name="f444" fmla="val 1196"/>
                  <a:gd name="f445" fmla="val 1202"/>
                  <a:gd name="f446" fmla="val 940"/>
                  <a:gd name="f447" fmla="val 918"/>
                  <a:gd name="f448" fmla="val 910"/>
                  <a:gd name="f449" fmla="val 1169"/>
                  <a:gd name="f450" fmla="val 1165"/>
                  <a:gd name="f451" fmla="val 901"/>
                  <a:gd name="f452" fmla="val 1163"/>
                  <a:gd name="f453" fmla="val 896"/>
                  <a:gd name="f454" fmla="val 1164"/>
                  <a:gd name="f455" fmla="val 893"/>
                  <a:gd name="f456" fmla="val 1166"/>
                  <a:gd name="f457" fmla="val 890"/>
                  <a:gd name="f458" fmla="val 886"/>
                  <a:gd name="f459" fmla="val 882"/>
                  <a:gd name="f460" fmla="val 885"/>
                  <a:gd name="f461" fmla="val 1152"/>
                  <a:gd name="f462" fmla="val 889"/>
                  <a:gd name="f463" fmla="val 1148"/>
                  <a:gd name="f464" fmla="val 1137"/>
                  <a:gd name="f465" fmla="val 881"/>
                  <a:gd name="f466" fmla="val 1123"/>
                  <a:gd name="f467" fmla="val 880"/>
                  <a:gd name="f468" fmla="val 1091"/>
                  <a:gd name="f469" fmla="val 891"/>
                  <a:gd name="f470" fmla="val 1082"/>
                  <a:gd name="f471" fmla="val 923"/>
                  <a:gd name="f472" fmla="val 1065"/>
                  <a:gd name="f473" fmla="val 926"/>
                  <a:gd name="f474" fmla="val 1059"/>
                  <a:gd name="f475" fmla="val 929"/>
                  <a:gd name="f476" fmla="val 1048"/>
                  <a:gd name="f477" fmla="val 937"/>
                  <a:gd name="f478" fmla="val 1045"/>
                  <a:gd name="f479" fmla="val 953"/>
                  <a:gd name="f480" fmla="val 1037"/>
                  <a:gd name="f481" fmla="val 960"/>
                  <a:gd name="f482" fmla="val 1031"/>
                  <a:gd name="f483" fmla="val 1025"/>
                  <a:gd name="f484" fmla="val 957"/>
                  <a:gd name="f485" fmla="val 1018"/>
                  <a:gd name="f486" fmla="val 951"/>
                  <a:gd name="f487" fmla="val 1008"/>
                  <a:gd name="f488" fmla="val 997"/>
                  <a:gd name="f489" fmla="val 930"/>
                  <a:gd name="f490" fmla="val 917"/>
                  <a:gd name="f491" fmla="val 943"/>
                  <a:gd name="f492" fmla="val 895"/>
                  <a:gd name="f493" fmla="val 946"/>
                  <a:gd name="f494" fmla="val 947"/>
                  <a:gd name="f495" fmla="val 914"/>
                  <a:gd name="f496" fmla="val 907"/>
                  <a:gd name="f497" fmla="val 904"/>
                  <a:gd name="f498" fmla="val 868"/>
                  <a:gd name="f499" fmla="val 898"/>
                  <a:gd name="f500" fmla="val 860"/>
                  <a:gd name="f501" fmla="val 899"/>
                  <a:gd name="f502" fmla="val 902"/>
                  <a:gd name="f503" fmla="val 828"/>
                  <a:gd name="f504" fmla="val 913"/>
                  <a:gd name="f505" fmla="val 815"/>
                  <a:gd name="f506" fmla="val 916"/>
                  <a:gd name="f507" fmla="val 806"/>
                  <a:gd name="f508" fmla="val 919"/>
                  <a:gd name="f509" fmla="val 800"/>
                  <a:gd name="f510" fmla="val 935"/>
                  <a:gd name="f511" fmla="val 789"/>
                  <a:gd name="f512" fmla="val 782"/>
                  <a:gd name="f513" fmla="val 954"/>
                  <a:gd name="f514" fmla="val 769"/>
                  <a:gd name="f515" fmla="val 952"/>
                  <a:gd name="f516" fmla="val 762"/>
                  <a:gd name="f517" fmla="val 948"/>
                  <a:gd name="f518" fmla="val 754"/>
                  <a:gd name="f519" fmla="val 942"/>
                  <a:gd name="f520" fmla="val 747"/>
                  <a:gd name="f521" fmla="val 744"/>
                  <a:gd name="f522" fmla="val 730"/>
                  <a:gd name="f523" fmla="val 729"/>
                  <a:gd name="f524" fmla="val 732"/>
                  <a:gd name="f525" fmla="val 737"/>
                  <a:gd name="f526" fmla="val 903"/>
                  <a:gd name="f527" fmla="val 755"/>
                  <a:gd name="f528" fmla="val 878"/>
                  <a:gd name="f529" fmla="val 750"/>
                  <a:gd name="f530" fmla="val 872"/>
                  <a:gd name="f531" fmla="val 742"/>
                  <a:gd name="f532" fmla="val 867"/>
                  <a:gd name="f533" fmla="val 863"/>
                  <a:gd name="f534" fmla="val 715"/>
                  <a:gd name="f535" fmla="val 703"/>
                  <a:gd name="f536" fmla="val 846"/>
                  <a:gd name="f537" fmla="val 689"/>
                  <a:gd name="f538" fmla="val 838"/>
                  <a:gd name="f539" fmla="val 685"/>
                  <a:gd name="f540" fmla="val 832"/>
                  <a:gd name="f541" fmla="val 682"/>
                  <a:gd name="f542" fmla="val 825"/>
                  <a:gd name="f543" fmla="val 678"/>
                  <a:gd name="f544" fmla="val 818"/>
                  <a:gd name="f545" fmla="val 811"/>
                  <a:gd name="f546" fmla="val 801"/>
                  <a:gd name="f547" fmla="val 656"/>
                  <a:gd name="f548" fmla="val 647"/>
                  <a:gd name="f549" fmla="val 788"/>
                  <a:gd name="f550" fmla="val 785"/>
                  <a:gd name="f551" fmla="val 629"/>
                  <a:gd name="f552" fmla="val 781"/>
                  <a:gd name="f553" fmla="val 621"/>
                  <a:gd name="f554" fmla="val 775"/>
                  <a:gd name="f555" fmla="val 619"/>
                  <a:gd name="f556" fmla="val 761"/>
                  <a:gd name="f557" fmla="val 623"/>
                  <a:gd name="f558" fmla="val 749"/>
                  <a:gd name="f559" fmla="val 628"/>
                  <a:gd name="f560" fmla="val 633"/>
                  <a:gd name="f561" fmla="val 638"/>
                  <a:gd name="f562" fmla="val 649"/>
                  <a:gd name="f563" fmla="val 681"/>
                  <a:gd name="f564" fmla="val 672"/>
                  <a:gd name="f565" fmla="val 657"/>
                  <a:gd name="f566" fmla="val 668"/>
                  <a:gd name="f567" fmla="val 652"/>
                  <a:gd name="f568" fmla="val 646"/>
                  <a:gd name="f569" fmla="val 639"/>
                  <a:gd name="f570" fmla="val 625"/>
                  <a:gd name="f571" fmla="val 613"/>
                  <a:gd name="f572" fmla="val 609"/>
                  <a:gd name="f573" fmla="val 617"/>
                  <a:gd name="f574" fmla="val 605"/>
                  <a:gd name="f575" fmla="val 615"/>
                  <a:gd name="f576" fmla="val 600"/>
                  <a:gd name="f577" fmla="val 596"/>
                  <a:gd name="f578" fmla="val 624"/>
                  <a:gd name="f579" fmla="val 583"/>
                  <a:gd name="f580" fmla="val 575"/>
                  <a:gd name="f581" fmla="val 564"/>
                  <a:gd name="f582" fmla="val 552"/>
                  <a:gd name="f583" fmla="val 539"/>
                  <a:gd name="f584" fmla="val 622"/>
                  <a:gd name="f585" fmla="val 526"/>
                  <a:gd name="f586" fmla="val 515"/>
                  <a:gd name="f587" fmla="val 509"/>
                  <a:gd name="f588" fmla="val 631"/>
                  <a:gd name="f589" fmla="val 504"/>
                  <a:gd name="f590" fmla="val 666"/>
                  <a:gd name="f591" fmla="val 500"/>
                  <a:gd name="f592" fmla="val 498"/>
                  <a:gd name="f593" fmla="val 493"/>
                  <a:gd name="f594" fmla="val 489"/>
                  <a:gd name="f595" fmla="val 484"/>
                  <a:gd name="f596" fmla="val 482"/>
                  <a:gd name="f597" fmla="val 480"/>
                  <a:gd name="f598" fmla="val 476"/>
                  <a:gd name="f599" fmla="val 686"/>
                  <a:gd name="f600" fmla="val 472"/>
                  <a:gd name="f601" fmla="val 467"/>
                  <a:gd name="f602" fmla="val 462"/>
                  <a:gd name="f603" fmla="val 451"/>
                  <a:gd name="f604" fmla="val 643"/>
                  <a:gd name="f605" fmla="val 446"/>
                  <a:gd name="f606" fmla="val 436"/>
                  <a:gd name="f607" fmla="val 599"/>
                  <a:gd name="f608" fmla="val 592"/>
                  <a:gd name="f609" fmla="val 439"/>
                  <a:gd name="f610" fmla="val 444"/>
                  <a:gd name="f611" fmla="val 447"/>
                  <a:gd name="f612" fmla="val 450"/>
                  <a:gd name="f613" fmla="val 561"/>
                  <a:gd name="f614" fmla="val 553"/>
                  <a:gd name="f615" fmla="val 448"/>
                  <a:gd name="f616" fmla="val 518"/>
                  <a:gd name="f617" fmla="val 445"/>
                  <a:gd name="f618" fmla="val 433"/>
                  <a:gd name="f619" fmla="val 423"/>
                  <a:gd name="f620" fmla="val 457"/>
                  <a:gd name="f621" fmla="val 414"/>
                  <a:gd name="f622" fmla="val 405"/>
                  <a:gd name="f623" fmla="val 434"/>
                  <a:gd name="f624" fmla="val 396"/>
                  <a:gd name="f625" fmla="val 422"/>
                  <a:gd name="f626" fmla="val 389"/>
                  <a:gd name="f627" fmla="val 384"/>
                  <a:gd name="f628" fmla="val 410"/>
                  <a:gd name="f629" fmla="val 411"/>
                  <a:gd name="f630" fmla="val 376"/>
                  <a:gd name="f631" fmla="val 374"/>
                  <a:gd name="f632" fmla="val 416"/>
                  <a:gd name="f633" fmla="val 371"/>
                  <a:gd name="f634" fmla="val 363"/>
                  <a:gd name="f635" fmla="val 343"/>
                  <a:gd name="f636" fmla="val 406"/>
                  <a:gd name="f637" fmla="val 407"/>
                  <a:gd name="f638" fmla="val 294"/>
                  <a:gd name="f639" fmla="val 408"/>
                  <a:gd name="f640" fmla="val 402"/>
                  <a:gd name="f641" fmla="val 292"/>
                  <a:gd name="f642" fmla="val 394"/>
                  <a:gd name="f643" fmla="val 386"/>
                  <a:gd name="f644" fmla="val 299"/>
                  <a:gd name="f645" fmla="val 300"/>
                  <a:gd name="f646" fmla="val 375"/>
                  <a:gd name="f647" fmla="val 297"/>
                  <a:gd name="f648" fmla="val 280"/>
                  <a:gd name="f649" fmla="val 272"/>
                  <a:gd name="f650" fmla="val 359"/>
                  <a:gd name="f651" fmla="val 261"/>
                  <a:gd name="f652" fmla="val 256"/>
                  <a:gd name="f653" fmla="val 252"/>
                  <a:gd name="f654" fmla="val 246"/>
                  <a:gd name="f655" fmla="val 390"/>
                  <a:gd name="f656" fmla="val 241"/>
                  <a:gd name="f657" fmla="val 393"/>
                  <a:gd name="f658" fmla="val 232"/>
                  <a:gd name="f659" fmla="val 219"/>
                  <a:gd name="f660" fmla="val 400"/>
                  <a:gd name="f661" fmla="val 190"/>
                  <a:gd name="f662" fmla="val 403"/>
                  <a:gd name="f663" fmla="val 169"/>
                  <a:gd name="f664" fmla="val 162"/>
                  <a:gd name="f665" fmla="val 154"/>
                  <a:gd name="f666" fmla="val 144"/>
                  <a:gd name="f667" fmla="val 121"/>
                  <a:gd name="f668" fmla="val 109"/>
                  <a:gd name="f669" fmla="val 86"/>
                  <a:gd name="f670" fmla="val 344"/>
                  <a:gd name="f671" fmla="val 83"/>
                  <a:gd name="f672" fmla="val 82"/>
                  <a:gd name="f673" fmla="val 325"/>
                  <a:gd name="f674" fmla="val 298"/>
                  <a:gd name="f675" fmla="val 285"/>
                  <a:gd name="f676" fmla="val 275"/>
                  <a:gd name="f677" fmla="val 88"/>
                  <a:gd name="f678" fmla="val 268"/>
                  <a:gd name="f679" fmla="val 263"/>
                  <a:gd name="f680" fmla="val 248"/>
                  <a:gd name="f681" fmla="val 78"/>
                  <a:gd name="f682" fmla="val 238"/>
                  <a:gd name="f683" fmla="val 231"/>
                  <a:gd name="f684" fmla="val 69"/>
                  <a:gd name="f685" fmla="val 68"/>
                  <a:gd name="f686" fmla="val 220"/>
                  <a:gd name="f687" fmla="val 67"/>
                  <a:gd name="f688" fmla="val 215"/>
                  <a:gd name="f689" fmla="val 66"/>
                  <a:gd name="f690" fmla="val 206"/>
                  <a:gd name="f691" fmla="val 64"/>
                  <a:gd name="f692" fmla="val 195"/>
                  <a:gd name="f693" fmla="val 62"/>
                  <a:gd name="f694" fmla="val 184"/>
                  <a:gd name="f695" fmla="val 58"/>
                  <a:gd name="f696" fmla="val 174"/>
                  <a:gd name="f697" fmla="val 56"/>
                  <a:gd name="f698" fmla="val 165"/>
                  <a:gd name="f699" fmla="val 157"/>
                  <a:gd name="f700" fmla="val 149"/>
                  <a:gd name="f701" fmla="val 63"/>
                  <a:gd name="f702" fmla="val 141"/>
                  <a:gd name="f703" fmla="val 70"/>
                  <a:gd name="f704" fmla="val 65"/>
                  <a:gd name="f705" fmla="val 61"/>
                  <a:gd name="f706" fmla="val 98"/>
                  <a:gd name="f707" fmla="val 57"/>
                  <a:gd name="f708" fmla="val 92"/>
                  <a:gd name="f709" fmla="val 51"/>
                  <a:gd name="f710" fmla="val 89"/>
                  <a:gd name="f711" fmla="val 42"/>
                  <a:gd name="f712" fmla="val 26"/>
                  <a:gd name="f713" fmla="val 85"/>
                  <a:gd name="f714" fmla="val 21"/>
                  <a:gd name="f715" fmla="val 76"/>
                  <a:gd name="f716" fmla="val 14"/>
                  <a:gd name="f717" fmla="val 8"/>
                  <a:gd name="f718" fmla="val 25"/>
                  <a:gd name="f719" fmla="val 19"/>
                  <a:gd name="f720" fmla="val 40"/>
                  <a:gd name="f721" fmla="val 10"/>
                  <a:gd name="f722" fmla="val 74"/>
                  <a:gd name="f723" fmla="val 27"/>
                  <a:gd name="f724" fmla="val 31"/>
                  <a:gd name="f725" fmla="val 91"/>
                  <a:gd name="f726" fmla="val 28"/>
                  <a:gd name="f727" fmla="val 111"/>
                  <a:gd name="f728" fmla="val 34"/>
                  <a:gd name="f729" fmla="val 126"/>
                  <a:gd name="f730" fmla="val 45"/>
                  <a:gd name="f731" fmla="val 130"/>
                  <a:gd name="f732" fmla="val 136"/>
                  <a:gd name="f733" fmla="val 143"/>
                  <a:gd name="f734" fmla="val 153"/>
                  <a:gd name="f735" fmla="val 161"/>
                  <a:gd name="f736" fmla="val 168"/>
                  <a:gd name="f737" fmla="val 75"/>
                  <a:gd name="f738" fmla="val 189"/>
                  <a:gd name="f739" fmla="val 197"/>
                  <a:gd name="f740" fmla="val 204"/>
                  <a:gd name="f741" fmla="val 52"/>
                  <a:gd name="f742" fmla="val 46"/>
                  <a:gd name="f743" fmla="val 218"/>
                  <a:gd name="f744" fmla="val 226"/>
                  <a:gd name="f745" fmla="val 249"/>
                  <a:gd name="f746" fmla="val 18"/>
                  <a:gd name="f747" fmla="val 258"/>
                  <a:gd name="f748" fmla="val 277"/>
                  <a:gd name="f749" fmla="val 334"/>
                  <a:gd name="f750" fmla="val 22"/>
                  <a:gd name="f751" fmla="val 35"/>
                  <a:gd name="f752" fmla="val 338"/>
                  <a:gd name="f753" fmla="val 44"/>
                  <a:gd name="f754" fmla="val 342"/>
                  <a:gd name="f755" fmla="val 347"/>
                  <a:gd name="f756" fmla="val 355"/>
                  <a:gd name="f757" fmla="val 385"/>
                  <a:gd name="f758" fmla="val 401"/>
                  <a:gd name="f759" fmla="val 71"/>
                  <a:gd name="f760" fmla="val 412"/>
                  <a:gd name="f761" fmla="val 435"/>
                  <a:gd name="f762" fmla="val 453"/>
                  <a:gd name="f763" fmla="val 464"/>
                  <a:gd name="f764" fmla="val 474"/>
                  <a:gd name="f765" fmla="val 6"/>
                  <a:gd name="f766" fmla="+- 0 0 -90"/>
                  <a:gd name="f767" fmla="*/ f3 1 1318"/>
                  <a:gd name="f768" fmla="*/ f4 1 1222"/>
                  <a:gd name="f769" fmla="+- f7 0 f5"/>
                  <a:gd name="f770" fmla="+- f6 0 f5"/>
                  <a:gd name="f771" fmla="*/ f766 f0 1"/>
                  <a:gd name="f772" fmla="*/ f770 1 1318"/>
                  <a:gd name="f773" fmla="*/ f769 1 1222"/>
                  <a:gd name="f774" fmla="*/ f771 1 f2"/>
                  <a:gd name="f775" fmla="*/ 531 1 f772"/>
                  <a:gd name="f776" fmla="*/ 4 1 f773"/>
                  <a:gd name="f777" fmla="*/ 602 1 f772"/>
                  <a:gd name="f778" fmla="*/ 50 1 f773"/>
                  <a:gd name="f779" fmla="*/ 658 1 f772"/>
                  <a:gd name="f780" fmla="*/ 84 1 f773"/>
                  <a:gd name="f781" fmla="*/ 748 1 f772"/>
                  <a:gd name="f782" fmla="*/ 127 1 f773"/>
                  <a:gd name="f783" fmla="*/ 850 1 f772"/>
                  <a:gd name="f784" fmla="*/ 100 1 f773"/>
                  <a:gd name="f785" fmla="*/ 859 1 f772"/>
                  <a:gd name="f786" fmla="*/ 207 1 f773"/>
                  <a:gd name="f787" fmla="*/ 934 1 f772"/>
                  <a:gd name="f788" fmla="*/ 192 1 f773"/>
                  <a:gd name="f789" fmla="*/ 981 1 f772"/>
                  <a:gd name="f790" fmla="*/ 242 1 f773"/>
                  <a:gd name="f791" fmla="*/ 1041 1 f772"/>
                  <a:gd name="f792" fmla="*/ 302 1 f773"/>
                  <a:gd name="f793" fmla="*/ 1079 1 f772"/>
                  <a:gd name="f794" fmla="*/ 327 1 f773"/>
                  <a:gd name="f795" fmla="*/ 1180 1 f772"/>
                  <a:gd name="f796" fmla="*/ 324 1 f773"/>
                  <a:gd name="f797" fmla="*/ 1195 1 f772"/>
                  <a:gd name="f798" fmla="*/ 354 1 f773"/>
                  <a:gd name="f799" fmla="*/ 1284 1 f772"/>
                  <a:gd name="f800" fmla="*/ 353 1 f773"/>
                  <a:gd name="f801" fmla="*/ 1290 1 f772"/>
                  <a:gd name="f802" fmla="*/ 420 1 f773"/>
                  <a:gd name="f803" fmla="*/ 1295 1 f772"/>
                  <a:gd name="f804" fmla="*/ 510 1 f773"/>
                  <a:gd name="f805" fmla="*/ 1297 1 f772"/>
                  <a:gd name="f806" fmla="*/ 566 1 f773"/>
                  <a:gd name="f807" fmla="*/ 1292 1 f772"/>
                  <a:gd name="f808" fmla="*/ 654 1 f773"/>
                  <a:gd name="f809" fmla="*/ 1232 1 f772"/>
                  <a:gd name="f810" fmla="*/ 677 1 f773"/>
                  <a:gd name="f811" fmla="*/ 1157 1 f772"/>
                  <a:gd name="f812" fmla="*/ 695 1 f773"/>
                  <a:gd name="f813" fmla="*/ 1083 1 f772"/>
                  <a:gd name="f814" fmla="*/ 728 1 f773"/>
                  <a:gd name="f815" fmla="*/ 1027 1 f772"/>
                  <a:gd name="f816" fmla="*/ 778 1 f773"/>
                  <a:gd name="f817" fmla="*/ 1093 1 f772"/>
                  <a:gd name="f818" fmla="*/ 791 1 f773"/>
                  <a:gd name="f819" fmla="*/ 1108 1 f772"/>
                  <a:gd name="f820" fmla="*/ 854 1 f773"/>
                  <a:gd name="f821" fmla="*/ 1107 1 f772"/>
                  <a:gd name="f822" fmla="*/ 920 1 f773"/>
                  <a:gd name="f823" fmla="*/ 1110 1 f772"/>
                  <a:gd name="f824" fmla="*/ 987 1 f773"/>
                  <a:gd name="f825" fmla="*/ 1128 1 f772"/>
                  <a:gd name="f826" fmla="*/ 1069 1 f773"/>
                  <a:gd name="f827" fmla="*/ 1155 1 f772"/>
                  <a:gd name="f828" fmla="*/ 1191 1 f773"/>
                  <a:gd name="f829" fmla="*/ 1095 1 f772"/>
                  <a:gd name="f830" fmla="*/ 1208 1 f773"/>
                  <a:gd name="f831" fmla="*/ 983 1 f772"/>
                  <a:gd name="f832" fmla="*/ 1193 1 f773"/>
                  <a:gd name="f833" fmla="*/ 905 1 f772"/>
                  <a:gd name="f834" fmla="*/ 1165 1 f773"/>
                  <a:gd name="f835" fmla="*/ 892 1 f772"/>
                  <a:gd name="f836" fmla="*/ 1143 1 f773"/>
                  <a:gd name="f837" fmla="*/ 900 1 f772"/>
                  <a:gd name="f838" fmla="*/ 1076 1 f773"/>
                  <a:gd name="f839" fmla="*/ 953 1 f772"/>
                  <a:gd name="f840" fmla="*/ 1037 1 f773"/>
                  <a:gd name="f841" fmla="*/ 930 1 f772"/>
                  <a:gd name="f842" fmla="*/ 949 1 f773"/>
                  <a:gd name="f843" fmla="*/ 888 1 f772"/>
                  <a:gd name="f844" fmla="*/ 907 1 f773"/>
                  <a:gd name="f845" fmla="*/ 899 1 f772"/>
                  <a:gd name="f846" fmla="*/ 842 1 f773"/>
                  <a:gd name="f847" fmla="*/ 935 1 f772"/>
                  <a:gd name="f848" fmla="*/ 789 1 f773"/>
                  <a:gd name="f849" fmla="*/ 915 1 f772"/>
                  <a:gd name="f850" fmla="*/ 734 1 f773"/>
                  <a:gd name="f851" fmla="*/ 890 1 f772"/>
                  <a:gd name="f852" fmla="*/ 755 1 f773"/>
                  <a:gd name="f853" fmla="*/ 832 1 f772"/>
                  <a:gd name="f854" fmla="*/ 682 1 f773"/>
                  <a:gd name="f855" fmla="*/ 770 1 f772"/>
                  <a:gd name="f856" fmla="*/ 620 1 f773"/>
                  <a:gd name="f857" fmla="*/ 656 1 f772"/>
                  <a:gd name="f858" fmla="*/ 652 1 f773"/>
                  <a:gd name="f859" fmla="*/ 590 1 f772"/>
                  <a:gd name="f860" fmla="*/ 624 1 f773"/>
                  <a:gd name="f861" fmla="*/ 504 1 f772"/>
                  <a:gd name="f862" fmla="*/ 647 1 f773"/>
                  <a:gd name="f863" fmla="*/ 480 1 f772"/>
                  <a:gd name="f864" fmla="*/ 681 1 f773"/>
                  <a:gd name="f865" fmla="*/ 436 1 f772"/>
                  <a:gd name="f866" fmla="*/ 592 1 f773"/>
                  <a:gd name="f867" fmla="*/ 444 1 f772"/>
                  <a:gd name="f868" fmla="*/ 494 1 f773"/>
                  <a:gd name="f869" fmla="*/ 376 1 f772"/>
                  <a:gd name="f870" fmla="*/ 414 1 f773"/>
                  <a:gd name="f871" fmla="*/ 302 1 f772"/>
                  <a:gd name="f872" fmla="*/ 415 1 f773"/>
                  <a:gd name="f873" fmla="*/ 280 1 f772"/>
                  <a:gd name="f874" fmla="*/ 361 1 f773"/>
                  <a:gd name="f875" fmla="*/ 205 1 f772"/>
                  <a:gd name="f876" fmla="*/ 400 1 f773"/>
                  <a:gd name="f877" fmla="*/ 86 1 f772"/>
                  <a:gd name="f878" fmla="*/ 344 1 f773"/>
                  <a:gd name="f879" fmla="*/ 82 1 f772"/>
                  <a:gd name="f880" fmla="*/ 248 1 f773"/>
                  <a:gd name="f881" fmla="*/ 56 1 f772"/>
                  <a:gd name="f882" fmla="*/ 165 1 f773"/>
                  <a:gd name="f883" fmla="*/ 61 1 f772"/>
                  <a:gd name="f884" fmla="*/ 112 1 f773"/>
                  <a:gd name="f885" fmla="*/ 0 1 f772"/>
                  <a:gd name="f886" fmla="*/ 32 1 f773"/>
                  <a:gd name="f887" fmla="*/ 91 1 f772"/>
                  <a:gd name="f888" fmla="*/ 153 1 f772"/>
                  <a:gd name="f889" fmla="*/ 85 1 f773"/>
                  <a:gd name="f890" fmla="*/ 226 1 f772"/>
                  <a:gd name="f891" fmla="*/ 41 1 f773"/>
                  <a:gd name="f892" fmla="*/ 336 1 f772"/>
                  <a:gd name="f893" fmla="*/ 35 1 f773"/>
                  <a:gd name="f894" fmla="*/ 412 1 f772"/>
                  <a:gd name="f895" fmla="*/ 75 1 f773"/>
                  <a:gd name="f896" fmla="*/ f6 1 f772"/>
                  <a:gd name="f897" fmla="*/ 0 1 f773"/>
                  <a:gd name="f898" fmla="*/ f7 1 f773"/>
                  <a:gd name="f899" fmla="+- f774 0 f1"/>
                  <a:gd name="f900" fmla="*/ f885 f767 1"/>
                  <a:gd name="f901" fmla="*/ f896 f767 1"/>
                  <a:gd name="f902" fmla="*/ f898 f768 1"/>
                  <a:gd name="f903" fmla="*/ f897 f768 1"/>
                  <a:gd name="f904" fmla="*/ f775 f767 1"/>
                  <a:gd name="f905" fmla="*/ f776 f768 1"/>
                  <a:gd name="f906" fmla="*/ f777 f767 1"/>
                  <a:gd name="f907" fmla="*/ f778 f768 1"/>
                  <a:gd name="f908" fmla="*/ f779 f767 1"/>
                  <a:gd name="f909" fmla="*/ f780 f768 1"/>
                  <a:gd name="f910" fmla="*/ f781 f767 1"/>
                  <a:gd name="f911" fmla="*/ f782 f768 1"/>
                  <a:gd name="f912" fmla="*/ f783 f767 1"/>
                  <a:gd name="f913" fmla="*/ f784 f768 1"/>
                  <a:gd name="f914" fmla="*/ f785 f767 1"/>
                  <a:gd name="f915" fmla="*/ f786 f768 1"/>
                  <a:gd name="f916" fmla="*/ f787 f767 1"/>
                  <a:gd name="f917" fmla="*/ f788 f768 1"/>
                  <a:gd name="f918" fmla="*/ f789 f767 1"/>
                  <a:gd name="f919" fmla="*/ f790 f768 1"/>
                  <a:gd name="f920" fmla="*/ f791 f767 1"/>
                  <a:gd name="f921" fmla="*/ f792 f768 1"/>
                  <a:gd name="f922" fmla="*/ f793 f767 1"/>
                  <a:gd name="f923" fmla="*/ f794 f768 1"/>
                  <a:gd name="f924" fmla="*/ f795 f767 1"/>
                  <a:gd name="f925" fmla="*/ f796 f768 1"/>
                  <a:gd name="f926" fmla="*/ f797 f767 1"/>
                  <a:gd name="f927" fmla="*/ f798 f768 1"/>
                  <a:gd name="f928" fmla="*/ f799 f767 1"/>
                  <a:gd name="f929" fmla="*/ f800 f768 1"/>
                  <a:gd name="f930" fmla="*/ f801 f767 1"/>
                  <a:gd name="f931" fmla="*/ f802 f768 1"/>
                  <a:gd name="f932" fmla="*/ f803 f767 1"/>
                  <a:gd name="f933" fmla="*/ f804 f768 1"/>
                  <a:gd name="f934" fmla="*/ f805 f767 1"/>
                  <a:gd name="f935" fmla="*/ f806 f768 1"/>
                  <a:gd name="f936" fmla="*/ f807 f767 1"/>
                  <a:gd name="f937" fmla="*/ f808 f768 1"/>
                  <a:gd name="f938" fmla="*/ f809 f767 1"/>
                  <a:gd name="f939" fmla="*/ f810 f768 1"/>
                  <a:gd name="f940" fmla="*/ f811 f767 1"/>
                  <a:gd name="f941" fmla="*/ f812 f768 1"/>
                  <a:gd name="f942" fmla="*/ f813 f767 1"/>
                  <a:gd name="f943" fmla="*/ f814 f768 1"/>
                  <a:gd name="f944" fmla="*/ f815 f767 1"/>
                  <a:gd name="f945" fmla="*/ f816 f768 1"/>
                  <a:gd name="f946" fmla="*/ f817 f767 1"/>
                  <a:gd name="f947" fmla="*/ f818 f768 1"/>
                  <a:gd name="f948" fmla="*/ f819 f767 1"/>
                  <a:gd name="f949" fmla="*/ f820 f768 1"/>
                  <a:gd name="f950" fmla="*/ f821 f767 1"/>
                  <a:gd name="f951" fmla="*/ f822 f768 1"/>
                  <a:gd name="f952" fmla="*/ f823 f767 1"/>
                  <a:gd name="f953" fmla="*/ f824 f768 1"/>
                  <a:gd name="f954" fmla="*/ f825 f767 1"/>
                  <a:gd name="f955" fmla="*/ f826 f768 1"/>
                  <a:gd name="f956" fmla="*/ f827 f767 1"/>
                  <a:gd name="f957" fmla="*/ f828 f768 1"/>
                  <a:gd name="f958" fmla="*/ f829 f767 1"/>
                  <a:gd name="f959" fmla="*/ f830 f768 1"/>
                  <a:gd name="f960" fmla="*/ f831 f767 1"/>
                  <a:gd name="f961" fmla="*/ f832 f768 1"/>
                  <a:gd name="f962" fmla="*/ f833 f767 1"/>
                  <a:gd name="f963" fmla="*/ f834 f768 1"/>
                  <a:gd name="f964" fmla="*/ f835 f767 1"/>
                  <a:gd name="f965" fmla="*/ f836 f768 1"/>
                  <a:gd name="f966" fmla="*/ f837 f767 1"/>
                  <a:gd name="f967" fmla="*/ f838 f768 1"/>
                  <a:gd name="f968" fmla="*/ f839 f767 1"/>
                  <a:gd name="f969" fmla="*/ f840 f768 1"/>
                  <a:gd name="f970" fmla="*/ f841 f767 1"/>
                  <a:gd name="f971" fmla="*/ f842 f768 1"/>
                  <a:gd name="f972" fmla="*/ f843 f767 1"/>
                  <a:gd name="f973" fmla="*/ f844 f768 1"/>
                  <a:gd name="f974" fmla="*/ f845 f767 1"/>
                  <a:gd name="f975" fmla="*/ f846 f768 1"/>
                  <a:gd name="f976" fmla="*/ f847 f767 1"/>
                  <a:gd name="f977" fmla="*/ f848 f768 1"/>
                  <a:gd name="f978" fmla="*/ f849 f767 1"/>
                  <a:gd name="f979" fmla="*/ f850 f768 1"/>
                  <a:gd name="f980" fmla="*/ f851 f767 1"/>
                  <a:gd name="f981" fmla="*/ f852 f768 1"/>
                  <a:gd name="f982" fmla="*/ f853 f767 1"/>
                  <a:gd name="f983" fmla="*/ f854 f768 1"/>
                  <a:gd name="f984" fmla="*/ f855 f767 1"/>
                  <a:gd name="f985" fmla="*/ f856 f768 1"/>
                  <a:gd name="f986" fmla="*/ f857 f767 1"/>
                  <a:gd name="f987" fmla="*/ f858 f768 1"/>
                  <a:gd name="f988" fmla="*/ f859 f767 1"/>
                  <a:gd name="f989" fmla="*/ f860 f768 1"/>
                  <a:gd name="f990" fmla="*/ f861 f767 1"/>
                  <a:gd name="f991" fmla="*/ f862 f768 1"/>
                  <a:gd name="f992" fmla="*/ f863 f767 1"/>
                  <a:gd name="f993" fmla="*/ f864 f768 1"/>
                  <a:gd name="f994" fmla="*/ f865 f767 1"/>
                  <a:gd name="f995" fmla="*/ f866 f768 1"/>
                  <a:gd name="f996" fmla="*/ f867 f767 1"/>
                  <a:gd name="f997" fmla="*/ f868 f768 1"/>
                  <a:gd name="f998" fmla="*/ f869 f767 1"/>
                  <a:gd name="f999" fmla="*/ f870 f768 1"/>
                  <a:gd name="f1000" fmla="*/ f871 f767 1"/>
                  <a:gd name="f1001" fmla="*/ f872 f768 1"/>
                  <a:gd name="f1002" fmla="*/ f873 f767 1"/>
                  <a:gd name="f1003" fmla="*/ f874 f768 1"/>
                  <a:gd name="f1004" fmla="*/ f875 f767 1"/>
                  <a:gd name="f1005" fmla="*/ f876 f768 1"/>
                  <a:gd name="f1006" fmla="*/ f877 f767 1"/>
                  <a:gd name="f1007" fmla="*/ f878 f768 1"/>
                  <a:gd name="f1008" fmla="*/ f879 f767 1"/>
                  <a:gd name="f1009" fmla="*/ f880 f768 1"/>
                  <a:gd name="f1010" fmla="*/ f881 f767 1"/>
                  <a:gd name="f1011" fmla="*/ f882 f768 1"/>
                  <a:gd name="f1012" fmla="*/ f883 f767 1"/>
                  <a:gd name="f1013" fmla="*/ f884 f768 1"/>
                  <a:gd name="f1014" fmla="*/ f886 f768 1"/>
                  <a:gd name="f1015" fmla="*/ f887 f767 1"/>
                  <a:gd name="f1016" fmla="*/ f888 f767 1"/>
                  <a:gd name="f1017" fmla="*/ f889 f768 1"/>
                  <a:gd name="f1018" fmla="*/ f890 f767 1"/>
                  <a:gd name="f1019" fmla="*/ f891 f768 1"/>
                  <a:gd name="f1020" fmla="*/ f892 f767 1"/>
                  <a:gd name="f1021" fmla="*/ f893 f768 1"/>
                  <a:gd name="f1022" fmla="*/ f894 f767 1"/>
                  <a:gd name="f1023" fmla="*/ f895 f76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899">
                    <a:pos x="f904" y="f905"/>
                  </a:cxn>
                  <a:cxn ang="f899">
                    <a:pos x="f906" y="f907"/>
                  </a:cxn>
                  <a:cxn ang="f899">
                    <a:pos x="f908" y="f909"/>
                  </a:cxn>
                  <a:cxn ang="f899">
                    <a:pos x="f910" y="f911"/>
                  </a:cxn>
                  <a:cxn ang="f899">
                    <a:pos x="f912" y="f913"/>
                  </a:cxn>
                  <a:cxn ang="f899">
                    <a:pos x="f914" y="f915"/>
                  </a:cxn>
                  <a:cxn ang="f899">
                    <a:pos x="f916" y="f917"/>
                  </a:cxn>
                  <a:cxn ang="f899">
                    <a:pos x="f918" y="f919"/>
                  </a:cxn>
                  <a:cxn ang="f899">
                    <a:pos x="f920" y="f921"/>
                  </a:cxn>
                  <a:cxn ang="f899">
                    <a:pos x="f922" y="f923"/>
                  </a:cxn>
                  <a:cxn ang="f899">
                    <a:pos x="f924" y="f925"/>
                  </a:cxn>
                  <a:cxn ang="f899">
                    <a:pos x="f926" y="f927"/>
                  </a:cxn>
                  <a:cxn ang="f899">
                    <a:pos x="f928" y="f929"/>
                  </a:cxn>
                  <a:cxn ang="f899">
                    <a:pos x="f930" y="f931"/>
                  </a:cxn>
                  <a:cxn ang="f899">
                    <a:pos x="f932" y="f933"/>
                  </a:cxn>
                  <a:cxn ang="f899">
                    <a:pos x="f934" y="f935"/>
                  </a:cxn>
                  <a:cxn ang="f899">
                    <a:pos x="f936" y="f937"/>
                  </a:cxn>
                  <a:cxn ang="f899">
                    <a:pos x="f938" y="f939"/>
                  </a:cxn>
                  <a:cxn ang="f899">
                    <a:pos x="f940" y="f941"/>
                  </a:cxn>
                  <a:cxn ang="f899">
                    <a:pos x="f942" y="f943"/>
                  </a:cxn>
                  <a:cxn ang="f899">
                    <a:pos x="f944" y="f945"/>
                  </a:cxn>
                  <a:cxn ang="f899">
                    <a:pos x="f946" y="f947"/>
                  </a:cxn>
                  <a:cxn ang="f899">
                    <a:pos x="f948" y="f949"/>
                  </a:cxn>
                  <a:cxn ang="f899">
                    <a:pos x="f950" y="f951"/>
                  </a:cxn>
                  <a:cxn ang="f899">
                    <a:pos x="f952" y="f953"/>
                  </a:cxn>
                  <a:cxn ang="f899">
                    <a:pos x="f954" y="f955"/>
                  </a:cxn>
                  <a:cxn ang="f899">
                    <a:pos x="f956" y="f957"/>
                  </a:cxn>
                  <a:cxn ang="f899">
                    <a:pos x="f958" y="f959"/>
                  </a:cxn>
                  <a:cxn ang="f899">
                    <a:pos x="f960" y="f961"/>
                  </a:cxn>
                  <a:cxn ang="f899">
                    <a:pos x="f962" y="f963"/>
                  </a:cxn>
                  <a:cxn ang="f899">
                    <a:pos x="f964" y="f965"/>
                  </a:cxn>
                  <a:cxn ang="f899">
                    <a:pos x="f966" y="f967"/>
                  </a:cxn>
                  <a:cxn ang="f899">
                    <a:pos x="f968" y="f969"/>
                  </a:cxn>
                  <a:cxn ang="f899">
                    <a:pos x="f970" y="f971"/>
                  </a:cxn>
                  <a:cxn ang="f899">
                    <a:pos x="f972" y="f973"/>
                  </a:cxn>
                  <a:cxn ang="f899">
                    <a:pos x="f974" y="f975"/>
                  </a:cxn>
                  <a:cxn ang="f899">
                    <a:pos x="f976" y="f977"/>
                  </a:cxn>
                  <a:cxn ang="f899">
                    <a:pos x="f978" y="f979"/>
                  </a:cxn>
                  <a:cxn ang="f899">
                    <a:pos x="f980" y="f981"/>
                  </a:cxn>
                  <a:cxn ang="f899">
                    <a:pos x="f982" y="f983"/>
                  </a:cxn>
                  <a:cxn ang="f899">
                    <a:pos x="f984" y="f985"/>
                  </a:cxn>
                  <a:cxn ang="f899">
                    <a:pos x="f986" y="f987"/>
                  </a:cxn>
                  <a:cxn ang="f899">
                    <a:pos x="f988" y="f989"/>
                  </a:cxn>
                  <a:cxn ang="f899">
                    <a:pos x="f990" y="f991"/>
                  </a:cxn>
                  <a:cxn ang="f899">
                    <a:pos x="f992" y="f993"/>
                  </a:cxn>
                  <a:cxn ang="f899">
                    <a:pos x="f994" y="f995"/>
                  </a:cxn>
                  <a:cxn ang="f899">
                    <a:pos x="f996" y="f997"/>
                  </a:cxn>
                  <a:cxn ang="f899">
                    <a:pos x="f998" y="f999"/>
                  </a:cxn>
                  <a:cxn ang="f899">
                    <a:pos x="f1000" y="f1001"/>
                  </a:cxn>
                  <a:cxn ang="f899">
                    <a:pos x="f1002" y="f1003"/>
                  </a:cxn>
                  <a:cxn ang="f899">
                    <a:pos x="f1004" y="f1005"/>
                  </a:cxn>
                  <a:cxn ang="f899">
                    <a:pos x="f1006" y="f1007"/>
                  </a:cxn>
                  <a:cxn ang="f899">
                    <a:pos x="f1008" y="f1009"/>
                  </a:cxn>
                  <a:cxn ang="f899">
                    <a:pos x="f1010" y="f1011"/>
                  </a:cxn>
                  <a:cxn ang="f899">
                    <a:pos x="f1012" y="f1013"/>
                  </a:cxn>
                  <a:cxn ang="f899">
                    <a:pos x="f900" y="f1014"/>
                  </a:cxn>
                  <a:cxn ang="f899">
                    <a:pos x="f1015" y="f1014"/>
                  </a:cxn>
                  <a:cxn ang="f899">
                    <a:pos x="f1016" y="f1017"/>
                  </a:cxn>
                  <a:cxn ang="f899">
                    <a:pos x="f1018" y="f1019"/>
                  </a:cxn>
                  <a:cxn ang="f899">
                    <a:pos x="f1020" y="f1021"/>
                  </a:cxn>
                  <a:cxn ang="f899">
                    <a:pos x="f1022" y="f1023"/>
                  </a:cxn>
                </a:cxnLst>
                <a:rect l="f900" t="f903" r="f901" b="f902"/>
                <a:pathLst>
                  <a:path w="1318" h="1222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4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5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43"/>
                    </a:lnTo>
                    <a:lnTo>
                      <a:pt x="f52" y="f48"/>
                    </a:lnTo>
                    <a:lnTo>
                      <a:pt x="f53" y="f54"/>
                    </a:lnTo>
                    <a:lnTo>
                      <a:pt x="f53" y="f55"/>
                    </a:lnTo>
                    <a:lnTo>
                      <a:pt x="f56" y="f55"/>
                    </a:lnTo>
                    <a:lnTo>
                      <a:pt x="f56" y="f57"/>
                    </a:lnTo>
                    <a:lnTo>
                      <a:pt x="f53" y="f58"/>
                    </a:lnTo>
                    <a:lnTo>
                      <a:pt x="f53" y="f59"/>
                    </a:lnTo>
                    <a:lnTo>
                      <a:pt x="f56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66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62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5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76"/>
                    </a:lnTo>
                    <a:lnTo>
                      <a:pt x="f103" y="f104"/>
                    </a:lnTo>
                    <a:lnTo>
                      <a:pt x="f103" y="f105"/>
                    </a:lnTo>
                    <a:lnTo>
                      <a:pt x="f106" y="f2"/>
                    </a:lnTo>
                    <a:lnTo>
                      <a:pt x="f107" y="f108"/>
                    </a:lnTo>
                    <a:lnTo>
                      <a:pt x="f109" y="f110"/>
                    </a:lnTo>
                    <a:lnTo>
                      <a:pt x="f111" y="f112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119" y="f120"/>
                    </a:lnTo>
                    <a:lnTo>
                      <a:pt x="f121" y="f122"/>
                    </a:lnTo>
                    <a:lnTo>
                      <a:pt x="f123" y="f124"/>
                    </a:lnTo>
                    <a:lnTo>
                      <a:pt x="f125" y="f126"/>
                    </a:ln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40"/>
                    </a:lnTo>
                    <a:lnTo>
                      <a:pt x="f141" y="f140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8" y="f159"/>
                    </a:lnTo>
                    <a:lnTo>
                      <a:pt x="f160" y="f161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6" y="f167"/>
                    </a:lnTo>
                    <a:lnTo>
                      <a:pt x="f168" y="f169"/>
                    </a:lnTo>
                    <a:lnTo>
                      <a:pt x="f170" y="f171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2" y="f178"/>
                    </a:lnTo>
                    <a:lnTo>
                      <a:pt x="f179" y="f180"/>
                    </a:lnTo>
                    <a:lnTo>
                      <a:pt x="f172" y="f181"/>
                    </a:lnTo>
                    <a:lnTo>
                      <a:pt x="f182" y="f183"/>
                    </a:lnTo>
                    <a:lnTo>
                      <a:pt x="f184" y="f185"/>
                    </a:lnTo>
                    <a:lnTo>
                      <a:pt x="f186" y="f187"/>
                    </a:lnTo>
                    <a:lnTo>
                      <a:pt x="f188" y="f177"/>
                    </a:lnTo>
                    <a:lnTo>
                      <a:pt x="f189" y="f175"/>
                    </a:lnTo>
                    <a:lnTo>
                      <a:pt x="f190" y="f191"/>
                    </a:lnTo>
                    <a:lnTo>
                      <a:pt x="f192" y="f193"/>
                    </a:lnTo>
                    <a:lnTo>
                      <a:pt x="f194" y="f193"/>
                    </a:lnTo>
                    <a:lnTo>
                      <a:pt x="f195" y="f191"/>
                    </a:lnTo>
                    <a:lnTo>
                      <a:pt x="f196" y="f197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202" y="f203"/>
                    </a:lnTo>
                    <a:lnTo>
                      <a:pt x="f204" y="f205"/>
                    </a:lnTo>
                    <a:lnTo>
                      <a:pt x="f206" y="f185"/>
                    </a:lnTo>
                    <a:lnTo>
                      <a:pt x="f207" y="f183"/>
                    </a:lnTo>
                    <a:lnTo>
                      <a:pt x="f208" y="f209"/>
                    </a:lnTo>
                    <a:lnTo>
                      <a:pt x="f202" y="f210"/>
                    </a:lnTo>
                    <a:lnTo>
                      <a:pt x="f211" y="f212"/>
                    </a:lnTo>
                    <a:lnTo>
                      <a:pt x="f213" y="f214"/>
                    </a:lnTo>
                    <a:lnTo>
                      <a:pt x="f215" y="f216"/>
                    </a:lnTo>
                    <a:lnTo>
                      <a:pt x="f206" y="f217"/>
                    </a:lnTo>
                    <a:lnTo>
                      <a:pt x="f218" y="f216"/>
                    </a:lnTo>
                    <a:lnTo>
                      <a:pt x="f219" y="f216"/>
                    </a:lnTo>
                    <a:lnTo>
                      <a:pt x="f220" y="f221"/>
                    </a:lnTo>
                    <a:lnTo>
                      <a:pt x="f222" y="f223"/>
                    </a:lnTo>
                    <a:lnTo>
                      <a:pt x="f224" y="f225"/>
                    </a:lnTo>
                    <a:lnTo>
                      <a:pt x="f226" y="f225"/>
                    </a:lnTo>
                    <a:lnTo>
                      <a:pt x="f227" y="f228"/>
                    </a:lnTo>
                    <a:lnTo>
                      <a:pt x="f229" y="f230"/>
                    </a:lnTo>
                    <a:lnTo>
                      <a:pt x="f231" y="f232"/>
                    </a:lnTo>
                    <a:lnTo>
                      <a:pt x="f233" y="f234"/>
                    </a:lnTo>
                    <a:lnTo>
                      <a:pt x="f235" y="f214"/>
                    </a:lnTo>
                    <a:lnTo>
                      <a:pt x="f236" y="f225"/>
                    </a:lnTo>
                    <a:lnTo>
                      <a:pt x="f235" y="f237"/>
                    </a:lnTo>
                    <a:lnTo>
                      <a:pt x="f238" y="f239"/>
                    </a:lnTo>
                    <a:lnTo>
                      <a:pt x="f240" y="f241"/>
                    </a:lnTo>
                    <a:lnTo>
                      <a:pt x="f233" y="f242"/>
                    </a:lnTo>
                    <a:lnTo>
                      <a:pt x="f233" y="f243"/>
                    </a:lnTo>
                    <a:lnTo>
                      <a:pt x="f244" y="f245"/>
                    </a:lnTo>
                    <a:lnTo>
                      <a:pt x="f246" y="f245"/>
                    </a:lnTo>
                    <a:lnTo>
                      <a:pt x="f235" y="f247"/>
                    </a:lnTo>
                    <a:lnTo>
                      <a:pt x="f248" y="f245"/>
                    </a:lnTo>
                    <a:lnTo>
                      <a:pt x="f249" y="f250"/>
                    </a:lnTo>
                    <a:lnTo>
                      <a:pt x="f251" y="f252"/>
                    </a:lnTo>
                    <a:lnTo>
                      <a:pt x="f251" y="f253"/>
                    </a:lnTo>
                    <a:lnTo>
                      <a:pt x="f254" y="f255"/>
                    </a:lnTo>
                    <a:lnTo>
                      <a:pt x="f256" y="f257"/>
                    </a:lnTo>
                    <a:lnTo>
                      <a:pt x="f235" y="f258"/>
                    </a:lnTo>
                    <a:lnTo>
                      <a:pt x="f259" y="f260"/>
                    </a:lnTo>
                    <a:lnTo>
                      <a:pt x="f261" y="f262"/>
                    </a:lnTo>
                    <a:lnTo>
                      <a:pt x="f263" y="f264"/>
                    </a:lnTo>
                    <a:lnTo>
                      <a:pt x="f265" y="f266"/>
                    </a:lnTo>
                    <a:lnTo>
                      <a:pt x="f267" y="f268"/>
                    </a:lnTo>
                    <a:lnTo>
                      <a:pt x="f269" y="f270"/>
                    </a:lnTo>
                    <a:lnTo>
                      <a:pt x="f271" y="f21"/>
                    </a:lnTo>
                    <a:lnTo>
                      <a:pt x="f6" y="f272"/>
                    </a:lnTo>
                    <a:lnTo>
                      <a:pt x="f271" y="f273"/>
                    </a:lnTo>
                    <a:lnTo>
                      <a:pt x="f274" y="f275"/>
                    </a:lnTo>
                    <a:lnTo>
                      <a:pt x="f276" y="f277"/>
                    </a:lnTo>
                    <a:lnTo>
                      <a:pt x="f278" y="f279"/>
                    </a:lnTo>
                    <a:lnTo>
                      <a:pt x="f280" y="f281"/>
                    </a:lnTo>
                    <a:lnTo>
                      <a:pt x="f254" y="f282"/>
                    </a:lnTo>
                    <a:lnTo>
                      <a:pt x="f283" y="f284"/>
                    </a:lnTo>
                    <a:lnTo>
                      <a:pt x="f267" y="f285"/>
                    </a:lnTo>
                    <a:lnTo>
                      <a:pt x="f286" y="f287"/>
                    </a:lnTo>
                    <a:lnTo>
                      <a:pt x="f278" y="f42"/>
                    </a:lnTo>
                    <a:lnTo>
                      <a:pt x="f283" y="f288"/>
                    </a:lnTo>
                    <a:lnTo>
                      <a:pt x="f249" y="f289"/>
                    </a:lnTo>
                    <a:lnTo>
                      <a:pt x="f290" y="f291"/>
                    </a:lnTo>
                    <a:lnTo>
                      <a:pt x="f236" y="f292"/>
                    </a:lnTo>
                    <a:lnTo>
                      <a:pt x="f256" y="f293"/>
                    </a:lnTo>
                    <a:lnTo>
                      <a:pt x="f294" y="f295"/>
                    </a:lnTo>
                    <a:lnTo>
                      <a:pt x="f249" y="f61"/>
                    </a:lnTo>
                    <a:lnTo>
                      <a:pt x="f249" y="f296"/>
                    </a:lnTo>
                    <a:lnTo>
                      <a:pt x="f297" y="f298"/>
                    </a:lnTo>
                    <a:lnTo>
                      <a:pt x="f235" y="f299"/>
                    </a:lnTo>
                    <a:lnTo>
                      <a:pt x="f300" y="f301"/>
                    </a:lnTo>
                    <a:lnTo>
                      <a:pt x="f302" y="f301"/>
                    </a:lnTo>
                    <a:lnTo>
                      <a:pt x="f303" y="f304"/>
                    </a:lnTo>
                    <a:lnTo>
                      <a:pt x="f305" y="f306"/>
                    </a:lnTo>
                    <a:lnTo>
                      <a:pt x="f307" y="f306"/>
                    </a:lnTo>
                    <a:lnTo>
                      <a:pt x="f308" y="f304"/>
                    </a:lnTo>
                    <a:lnTo>
                      <a:pt x="f309" y="f298"/>
                    </a:lnTo>
                    <a:lnTo>
                      <a:pt x="f310" y="f311"/>
                    </a:lnTo>
                    <a:lnTo>
                      <a:pt x="f312" y="f313"/>
                    </a:lnTo>
                    <a:lnTo>
                      <a:pt x="f314" y="f313"/>
                    </a:lnTo>
                    <a:lnTo>
                      <a:pt x="f315" y="f311"/>
                    </a:lnTo>
                    <a:lnTo>
                      <a:pt x="f316" y="f65"/>
                    </a:lnTo>
                    <a:lnTo>
                      <a:pt x="f202" y="f317"/>
                    </a:lnTo>
                    <a:lnTo>
                      <a:pt x="f318" y="f319"/>
                    </a:lnTo>
                    <a:lnTo>
                      <a:pt x="f320" y="f67"/>
                    </a:lnTo>
                    <a:lnTo>
                      <a:pt x="f198" y="f67"/>
                    </a:lnTo>
                    <a:lnTo>
                      <a:pt x="f321" y="f322"/>
                    </a:lnTo>
                    <a:lnTo>
                      <a:pt x="f323" y="f322"/>
                    </a:lnTo>
                    <a:lnTo>
                      <a:pt x="f324" y="f325"/>
                    </a:lnTo>
                    <a:lnTo>
                      <a:pt x="f326" y="f327"/>
                    </a:lnTo>
                    <a:lnTo>
                      <a:pt x="f328" y="f329"/>
                    </a:lnTo>
                    <a:lnTo>
                      <a:pt x="f330" y="f331"/>
                    </a:lnTo>
                    <a:lnTo>
                      <a:pt x="f332" y="f333"/>
                    </a:lnTo>
                    <a:lnTo>
                      <a:pt x="f334" y="f335"/>
                    </a:lnTo>
                    <a:lnTo>
                      <a:pt x="f336" y="f337"/>
                    </a:lnTo>
                    <a:lnTo>
                      <a:pt x="f338" y="f339"/>
                    </a:lnTo>
                    <a:lnTo>
                      <a:pt x="f186" y="f340"/>
                    </a:lnTo>
                    <a:lnTo>
                      <a:pt x="f341" y="f342"/>
                    </a:lnTo>
                    <a:lnTo>
                      <a:pt x="f172" y="f342"/>
                    </a:lnTo>
                    <a:lnTo>
                      <a:pt x="f343" y="f344"/>
                    </a:lnTo>
                    <a:lnTo>
                      <a:pt x="f168" y="f345"/>
                    </a:lnTo>
                    <a:lnTo>
                      <a:pt x="f346" y="f347"/>
                    </a:lnTo>
                    <a:lnTo>
                      <a:pt x="f348" y="f77"/>
                    </a:lnTo>
                    <a:lnTo>
                      <a:pt x="f349" y="f350"/>
                    </a:lnTo>
                    <a:lnTo>
                      <a:pt x="f349" y="f351"/>
                    </a:lnTo>
                    <a:lnTo>
                      <a:pt x="f352" y="f353"/>
                    </a:lnTo>
                    <a:lnTo>
                      <a:pt x="f354" y="f355"/>
                    </a:lnTo>
                    <a:lnTo>
                      <a:pt x="f168" y="f356"/>
                    </a:lnTo>
                    <a:lnTo>
                      <a:pt x="f343" y="f357"/>
                    </a:lnTo>
                    <a:lnTo>
                      <a:pt x="f358" y="f359"/>
                    </a:lnTo>
                    <a:lnTo>
                      <a:pt x="f360" y="f361"/>
                    </a:lnTo>
                    <a:lnTo>
                      <a:pt x="f362" y="f361"/>
                    </a:lnTo>
                    <a:lnTo>
                      <a:pt x="f186" y="f359"/>
                    </a:lnTo>
                    <a:lnTo>
                      <a:pt x="f363" y="f83"/>
                    </a:lnTo>
                    <a:lnTo>
                      <a:pt x="f364" y="f365"/>
                    </a:lnTo>
                    <a:lnTo>
                      <a:pt x="f366" y="f367"/>
                    </a:lnTo>
                    <a:lnTo>
                      <a:pt x="f368" y="f356"/>
                    </a:lnTo>
                    <a:lnTo>
                      <a:pt x="f369" y="f370"/>
                    </a:lnTo>
                    <a:lnTo>
                      <a:pt x="f371" y="f372"/>
                    </a:lnTo>
                    <a:lnTo>
                      <a:pt x="f373" y="f359"/>
                    </a:lnTo>
                    <a:lnTo>
                      <a:pt x="f371" y="f374"/>
                    </a:lnTo>
                    <a:lnTo>
                      <a:pt x="f375" y="f376"/>
                    </a:lnTo>
                    <a:lnTo>
                      <a:pt x="f377" y="f378"/>
                    </a:lnTo>
                    <a:lnTo>
                      <a:pt x="f379" y="f380"/>
                    </a:lnTo>
                    <a:lnTo>
                      <a:pt x="f377" y="f106"/>
                    </a:lnTo>
                    <a:lnTo>
                      <a:pt x="f330" y="f381"/>
                    </a:lnTo>
                    <a:lnTo>
                      <a:pt x="f328" y="f382"/>
                    </a:lnTo>
                    <a:lnTo>
                      <a:pt x="f328" y="f111"/>
                    </a:lnTo>
                    <a:lnTo>
                      <a:pt x="f369" y="f383"/>
                    </a:lnTo>
                    <a:lnTo>
                      <a:pt x="f384" y="f385"/>
                    </a:lnTo>
                    <a:lnTo>
                      <a:pt x="f364" y="f386"/>
                    </a:lnTo>
                    <a:lnTo>
                      <a:pt x="f387" y="f388"/>
                    </a:lnTo>
                    <a:lnTo>
                      <a:pt x="f364" y="f389"/>
                    </a:lnTo>
                    <a:lnTo>
                      <a:pt x="f384" y="f390"/>
                    </a:lnTo>
                    <a:lnTo>
                      <a:pt x="f391" y="f121"/>
                    </a:lnTo>
                    <a:lnTo>
                      <a:pt x="f369" y="f392"/>
                    </a:lnTo>
                    <a:lnTo>
                      <a:pt x="f192" y="f393"/>
                    </a:lnTo>
                    <a:lnTo>
                      <a:pt x="f192" y="f394"/>
                    </a:lnTo>
                    <a:lnTo>
                      <a:pt x="f330" y="f395"/>
                    </a:lnTo>
                    <a:lnTo>
                      <a:pt x="f330" y="f396"/>
                    </a:lnTo>
                    <a:lnTo>
                      <a:pt x="f192" y="f397"/>
                    </a:lnTo>
                    <a:lnTo>
                      <a:pt x="f371" y="f139"/>
                    </a:lnTo>
                    <a:lnTo>
                      <a:pt x="f326" y="f398"/>
                    </a:lnTo>
                    <a:lnTo>
                      <a:pt x="f399" y="f400"/>
                    </a:lnTo>
                    <a:lnTo>
                      <a:pt x="f328" y="f142"/>
                    </a:lnTo>
                    <a:lnTo>
                      <a:pt x="f375" y="f152"/>
                    </a:lnTo>
                    <a:lnTo>
                      <a:pt x="f328" y="f401"/>
                    </a:lnTo>
                    <a:lnTo>
                      <a:pt x="f328" y="f402"/>
                    </a:lnTo>
                    <a:lnTo>
                      <a:pt x="f399" y="f166"/>
                    </a:lnTo>
                    <a:lnTo>
                      <a:pt x="f371" y="f403"/>
                    </a:lnTo>
                    <a:lnTo>
                      <a:pt x="f326" y="f404"/>
                    </a:lnTo>
                    <a:lnTo>
                      <a:pt x="f326" y="f405"/>
                    </a:lnTo>
                    <a:lnTo>
                      <a:pt x="f373" y="f179"/>
                    </a:lnTo>
                    <a:lnTo>
                      <a:pt x="f406" y="f174"/>
                    </a:lnTo>
                    <a:lnTo>
                      <a:pt x="f407" y="f182"/>
                    </a:lnTo>
                    <a:lnTo>
                      <a:pt x="f408" y="f409"/>
                    </a:lnTo>
                    <a:lnTo>
                      <a:pt x="f410" y="f411"/>
                    </a:lnTo>
                    <a:lnTo>
                      <a:pt x="f410" y="f363"/>
                    </a:lnTo>
                    <a:lnTo>
                      <a:pt x="f412" y="f413"/>
                    </a:lnTo>
                    <a:lnTo>
                      <a:pt x="f412" y="f328"/>
                    </a:lnTo>
                    <a:lnTo>
                      <a:pt x="f414" y="f410"/>
                    </a:lnTo>
                    <a:lnTo>
                      <a:pt x="f415" y="f416"/>
                    </a:lnTo>
                    <a:lnTo>
                      <a:pt x="f417" y="f418"/>
                    </a:lnTo>
                    <a:lnTo>
                      <a:pt x="f419" y="f200"/>
                    </a:lnTo>
                    <a:lnTo>
                      <a:pt x="f420" y="f421"/>
                    </a:lnTo>
                    <a:lnTo>
                      <a:pt x="f422" y="f423"/>
                    </a:lnTo>
                    <a:lnTo>
                      <a:pt x="f424" y="f425"/>
                    </a:lnTo>
                    <a:lnTo>
                      <a:pt x="f426" y="f427"/>
                    </a:lnTo>
                    <a:lnTo>
                      <a:pt x="f428" y="f222"/>
                    </a:lnTo>
                    <a:lnTo>
                      <a:pt x="f196" y="f7"/>
                    </a:lnTo>
                    <a:lnTo>
                      <a:pt x="f414" y="f429"/>
                    </a:lnTo>
                    <a:lnTo>
                      <a:pt x="f323" y="f430"/>
                    </a:lnTo>
                    <a:lnTo>
                      <a:pt x="f431" y="f432"/>
                    </a:lnTo>
                    <a:lnTo>
                      <a:pt x="f399" y="f433"/>
                    </a:lnTo>
                    <a:lnTo>
                      <a:pt x="f332" y="f312"/>
                    </a:lnTo>
                    <a:lnTo>
                      <a:pt x="f189" y="f434"/>
                    </a:lnTo>
                    <a:lnTo>
                      <a:pt x="f387" y="f434"/>
                    </a:lnTo>
                    <a:lnTo>
                      <a:pt x="f435" y="f436"/>
                    </a:lnTo>
                    <a:lnTo>
                      <a:pt x="f409" y="f427"/>
                    </a:lnTo>
                    <a:lnTo>
                      <a:pt x="f358" y="f218"/>
                    </a:lnTo>
                    <a:lnTo>
                      <a:pt x="f437" y="f438"/>
                    </a:lnTo>
                    <a:lnTo>
                      <a:pt x="f439" y="f215"/>
                    </a:lnTo>
                    <a:lnTo>
                      <a:pt x="f440" y="f421"/>
                    </a:lnTo>
                    <a:lnTo>
                      <a:pt x="f348" y="f215"/>
                    </a:lnTo>
                    <a:lnTo>
                      <a:pt x="f441" y="f207"/>
                    </a:lnTo>
                    <a:lnTo>
                      <a:pt x="f150" y="f442"/>
                    </a:lnTo>
                    <a:lnTo>
                      <a:pt x="f443" y="f444"/>
                    </a:lnTo>
                    <a:lnTo>
                      <a:pt x="f139" y="f219"/>
                    </a:lnTo>
                    <a:lnTo>
                      <a:pt x="f397" y="f445"/>
                    </a:lnTo>
                    <a:lnTo>
                      <a:pt x="f396" y="f445"/>
                    </a:lnTo>
                    <a:lnTo>
                      <a:pt x="f446" y="f315"/>
                    </a:lnTo>
                    <a:lnTo>
                      <a:pt x="f129" y="f442"/>
                    </a:lnTo>
                    <a:lnTo>
                      <a:pt x="f393" y="f204"/>
                    </a:lnTo>
                    <a:lnTo>
                      <a:pt x="f447" y="f211"/>
                    </a:lnTo>
                    <a:lnTo>
                      <a:pt x="f448" y="f449"/>
                    </a:lnTo>
                    <a:lnTo>
                      <a:pt x="f389" y="f450"/>
                    </a:lnTo>
                    <a:lnTo>
                      <a:pt x="f451" y="f452"/>
                    </a:lnTo>
                    <a:lnTo>
                      <a:pt x="f453" y="f454"/>
                    </a:lnTo>
                    <a:lnTo>
                      <a:pt x="f455" y="f456"/>
                    </a:lnTo>
                    <a:lnTo>
                      <a:pt x="f457" y="f456"/>
                    </a:lnTo>
                    <a:lnTo>
                      <a:pt x="f458" y="f454"/>
                    </a:lnTo>
                    <a:lnTo>
                      <a:pt x="f459" y="f418"/>
                    </a:lnTo>
                    <a:lnTo>
                      <a:pt x="f460" y="f461"/>
                    </a:lnTo>
                    <a:lnTo>
                      <a:pt x="f462" y="f463"/>
                    </a:lnTo>
                    <a:lnTo>
                      <a:pt x="f117" y="f321"/>
                    </a:lnTo>
                    <a:lnTo>
                      <a:pt x="f117" y="f196"/>
                    </a:lnTo>
                    <a:lnTo>
                      <a:pt x="f462" y="f464"/>
                    </a:lnTo>
                    <a:lnTo>
                      <a:pt x="f460" y="f410"/>
                    </a:lnTo>
                    <a:lnTo>
                      <a:pt x="f465" y="f466"/>
                    </a:lnTo>
                    <a:lnTo>
                      <a:pt x="f467" y="f194"/>
                    </a:lnTo>
                    <a:lnTo>
                      <a:pt x="f465" y="f192"/>
                    </a:lnTo>
                    <a:lnTo>
                      <a:pt x="f460" y="f391"/>
                    </a:lnTo>
                    <a:lnTo>
                      <a:pt x="f385" y="f468"/>
                    </a:lnTo>
                    <a:lnTo>
                      <a:pt x="f469" y="f470"/>
                    </a:lnTo>
                    <a:lnTo>
                      <a:pt x="f455" y="f435"/>
                    </a:lnTo>
                    <a:lnTo>
                      <a:pt x="f388" y="f341"/>
                    </a:lnTo>
                    <a:lnTo>
                      <a:pt x="f390" y="f411"/>
                    </a:lnTo>
                    <a:lnTo>
                      <a:pt x="f447" y="f362"/>
                    </a:lnTo>
                    <a:lnTo>
                      <a:pt x="f123" y="f184"/>
                    </a:lnTo>
                    <a:lnTo>
                      <a:pt x="f471" y="f472"/>
                    </a:lnTo>
                    <a:lnTo>
                      <a:pt x="f473" y="f474"/>
                    </a:lnTo>
                    <a:lnTo>
                      <a:pt x="f475" y="f404"/>
                    </a:lnTo>
                    <a:lnTo>
                      <a:pt x="f127" y="f476"/>
                    </a:lnTo>
                    <a:lnTo>
                      <a:pt x="f477" y="f478"/>
                    </a:lnTo>
                    <a:lnTo>
                      <a:pt x="f396" y="f168"/>
                    </a:lnTo>
                    <a:lnTo>
                      <a:pt x="f479" y="f480"/>
                    </a:lnTo>
                    <a:lnTo>
                      <a:pt x="f481" y="f482"/>
                    </a:lnTo>
                    <a:lnTo>
                      <a:pt x="f481" y="f483"/>
                    </a:lnTo>
                    <a:lnTo>
                      <a:pt x="f484" y="f485"/>
                    </a:lnTo>
                    <a:lnTo>
                      <a:pt x="f486" y="f487"/>
                    </a:lnTo>
                    <a:lnTo>
                      <a:pt x="f396" y="f488"/>
                    </a:lnTo>
                    <a:lnTo>
                      <a:pt x="f133" y="f152"/>
                    </a:lnTo>
                    <a:lnTo>
                      <a:pt x="f129" y="f144"/>
                    </a:lnTo>
                    <a:lnTo>
                      <a:pt x="f394" y="f400"/>
                    </a:lnTo>
                    <a:lnTo>
                      <a:pt x="f394" y="f484"/>
                    </a:lnTo>
                    <a:lnTo>
                      <a:pt x="f489" y="f397"/>
                    </a:lnTo>
                    <a:lnTo>
                      <a:pt x="f393" y="f135"/>
                    </a:lnTo>
                    <a:lnTo>
                      <a:pt x="f490" y="f491"/>
                    </a:lnTo>
                    <a:lnTo>
                      <a:pt x="f389" y="f135"/>
                    </a:lnTo>
                    <a:lnTo>
                      <a:pt x="f492" y="f493"/>
                    </a:lnTo>
                    <a:lnTo>
                      <a:pt x="f460" y="f494"/>
                    </a:lnTo>
                    <a:lnTo>
                      <a:pt x="f465" y="f396"/>
                    </a:lnTo>
                    <a:lnTo>
                      <a:pt x="f467" y="f395"/>
                    </a:lnTo>
                    <a:lnTo>
                      <a:pt x="f459" y="f123"/>
                    </a:lnTo>
                    <a:lnTo>
                      <a:pt x="f460" y="f495"/>
                    </a:lnTo>
                    <a:lnTo>
                      <a:pt x="f385" y="f496"/>
                    </a:lnTo>
                    <a:lnTo>
                      <a:pt x="f457" y="f497"/>
                    </a:lnTo>
                    <a:lnTo>
                      <a:pt x="f117" y="f388"/>
                    </a:lnTo>
                    <a:lnTo>
                      <a:pt x="f386" y="f469"/>
                    </a:lnTo>
                    <a:lnTo>
                      <a:pt x="f492" y="f467"/>
                    </a:lnTo>
                    <a:lnTo>
                      <a:pt x="f453" y="f498"/>
                    </a:lnTo>
                    <a:lnTo>
                      <a:pt x="f499" y="f500"/>
                    </a:lnTo>
                    <a:lnTo>
                      <a:pt x="f388" y="f381"/>
                    </a:lnTo>
                    <a:lnTo>
                      <a:pt x="f451" y="f98"/>
                    </a:lnTo>
                    <a:lnTo>
                      <a:pt x="f388" y="f100"/>
                    </a:lnTo>
                    <a:lnTo>
                      <a:pt x="f501" y="f103"/>
                    </a:lnTo>
                    <a:lnTo>
                      <a:pt x="f499" y="f380"/>
                    </a:lnTo>
                    <a:lnTo>
                      <a:pt x="f501" y="f90"/>
                    </a:lnTo>
                    <a:lnTo>
                      <a:pt x="f502" y="f503"/>
                    </a:lnTo>
                    <a:lnTo>
                      <a:pt x="f119" y="f88"/>
                    </a:lnTo>
                    <a:lnTo>
                      <a:pt x="f504" y="f505"/>
                    </a:lnTo>
                    <a:lnTo>
                      <a:pt x="f506" y="f507"/>
                    </a:lnTo>
                    <a:lnTo>
                      <a:pt x="f508" y="f509"/>
                    </a:lnTo>
                    <a:lnTo>
                      <a:pt x="f471" y="f372"/>
                    </a:lnTo>
                    <a:lnTo>
                      <a:pt x="f475" y="f365"/>
                    </a:lnTo>
                    <a:lnTo>
                      <a:pt x="f510" y="f511"/>
                    </a:lnTo>
                    <a:lnTo>
                      <a:pt x="f491" y="f512"/>
                    </a:lnTo>
                    <a:lnTo>
                      <a:pt x="f397" y="f353"/>
                    </a:lnTo>
                    <a:lnTo>
                      <a:pt x="f479" y="f351"/>
                    </a:lnTo>
                    <a:lnTo>
                      <a:pt x="f513" y="f514"/>
                    </a:lnTo>
                    <a:lnTo>
                      <a:pt x="f515" y="f516"/>
                    </a:lnTo>
                    <a:lnTo>
                      <a:pt x="f517" y="f518"/>
                    </a:lnTo>
                    <a:lnTo>
                      <a:pt x="f519" y="f520"/>
                    </a:lnTo>
                    <a:lnTo>
                      <a:pt x="f394" y="f521"/>
                    </a:lnTo>
                    <a:lnTo>
                      <a:pt x="f471" y="f344"/>
                    </a:lnTo>
                    <a:lnTo>
                      <a:pt x="f121" y="f340"/>
                    </a:lnTo>
                    <a:lnTo>
                      <a:pt x="f496" y="f522"/>
                    </a:lnTo>
                    <a:lnTo>
                      <a:pt x="f451" y="f339"/>
                    </a:lnTo>
                    <a:lnTo>
                      <a:pt x="f499" y="f523"/>
                    </a:lnTo>
                    <a:lnTo>
                      <a:pt x="f453" y="f524"/>
                    </a:lnTo>
                    <a:lnTo>
                      <a:pt x="f499" y="f525"/>
                    </a:lnTo>
                    <a:lnTo>
                      <a:pt x="f502" y="f75"/>
                    </a:lnTo>
                    <a:lnTo>
                      <a:pt x="f526" y="f347"/>
                    </a:lnTo>
                    <a:lnTo>
                      <a:pt x="f388" y="f518"/>
                    </a:lnTo>
                    <a:lnTo>
                      <a:pt x="f492" y="f527"/>
                    </a:lnTo>
                    <a:lnTo>
                      <a:pt x="f457" y="f527"/>
                    </a:lnTo>
                    <a:lnTo>
                      <a:pt x="f460" y="f518"/>
                    </a:lnTo>
                    <a:lnTo>
                      <a:pt x="f528" y="f529"/>
                    </a:lnTo>
                    <a:lnTo>
                      <a:pt x="f530" y="f531"/>
                    </a:lnTo>
                    <a:lnTo>
                      <a:pt x="f532" y="f522"/>
                    </a:lnTo>
                    <a:lnTo>
                      <a:pt x="f533" y="f534"/>
                    </a:lnTo>
                    <a:lnTo>
                      <a:pt x="f109" y="f535"/>
                    </a:lnTo>
                    <a:lnTo>
                      <a:pt x="f381" y="f67"/>
                    </a:lnTo>
                    <a:lnTo>
                      <a:pt x="f536" y="f537"/>
                    </a:lnTo>
                    <a:lnTo>
                      <a:pt x="f538" y="f539"/>
                    </a:lnTo>
                    <a:lnTo>
                      <a:pt x="f540" y="f541"/>
                    </a:lnTo>
                    <a:lnTo>
                      <a:pt x="f542" y="f543"/>
                    </a:lnTo>
                    <a:lnTo>
                      <a:pt x="f544" y="f298"/>
                    </a:lnTo>
                    <a:lnTo>
                      <a:pt x="f545" y="f313"/>
                    </a:lnTo>
                    <a:lnTo>
                      <a:pt x="f546" y="f547"/>
                    </a:lnTo>
                    <a:lnTo>
                      <a:pt x="f365" y="f548"/>
                    </a:lnTo>
                    <a:lnTo>
                      <a:pt x="f549" y="f49"/>
                    </a:lnTo>
                    <a:lnTo>
                      <a:pt x="f550" y="f551"/>
                    </a:lnTo>
                    <a:lnTo>
                      <a:pt x="f552" y="f553"/>
                    </a:lnTo>
                    <a:lnTo>
                      <a:pt x="f554" y="f555"/>
                    </a:lnTo>
                    <a:lnTo>
                      <a:pt x="f79" y="f291"/>
                    </a:lnTo>
                    <a:lnTo>
                      <a:pt x="f556" y="f557"/>
                    </a:lnTo>
                    <a:lnTo>
                      <a:pt x="f558" y="f559"/>
                    </a:lnTo>
                    <a:lnTo>
                      <a:pt x="f73" y="f560"/>
                    </a:lnTo>
                    <a:lnTo>
                      <a:pt x="f335" y="f561"/>
                    </a:lnTo>
                    <a:lnTo>
                      <a:pt x="f319" y="f562"/>
                    </a:lnTo>
                    <a:lnTo>
                      <a:pt x="f563" y="f52"/>
                    </a:lnTo>
                    <a:lnTo>
                      <a:pt x="f564" y="f565"/>
                    </a:lnTo>
                    <a:lnTo>
                      <a:pt x="f566" y="f53"/>
                    </a:lnTo>
                    <a:lnTo>
                      <a:pt x="f313" y="f565"/>
                    </a:lnTo>
                    <a:lnTo>
                      <a:pt x="f547" y="f567"/>
                    </a:lnTo>
                    <a:lnTo>
                      <a:pt x="f548" y="f568"/>
                    </a:lnTo>
                    <a:lnTo>
                      <a:pt x="f561" y="f569"/>
                    </a:lnTo>
                    <a:lnTo>
                      <a:pt x="f551" y="f292"/>
                    </a:lnTo>
                    <a:lnTo>
                      <a:pt x="f553" y="f570"/>
                    </a:lnTo>
                    <a:lnTo>
                      <a:pt x="f571" y="f291"/>
                    </a:lnTo>
                    <a:lnTo>
                      <a:pt x="f572" y="f573"/>
                    </a:lnTo>
                    <a:lnTo>
                      <a:pt x="f574" y="f575"/>
                    </a:lnTo>
                    <a:lnTo>
                      <a:pt x="f576" y="f573"/>
                    </a:lnTo>
                    <a:lnTo>
                      <a:pt x="f577" y="f291"/>
                    </a:lnTo>
                    <a:lnTo>
                      <a:pt x="f42" y="f578"/>
                    </a:lnTo>
                    <a:lnTo>
                      <a:pt x="f579" y="f47"/>
                    </a:lnTo>
                    <a:lnTo>
                      <a:pt x="f580" y="f570"/>
                    </a:lnTo>
                    <a:lnTo>
                      <a:pt x="f581" y="f578"/>
                    </a:lnTo>
                    <a:lnTo>
                      <a:pt x="f582" y="f557"/>
                    </a:lnTo>
                    <a:lnTo>
                      <a:pt x="f583" y="f584"/>
                    </a:lnTo>
                    <a:lnTo>
                      <a:pt x="f585" y="f584"/>
                    </a:lnTo>
                    <a:lnTo>
                      <a:pt x="f586" y="f570"/>
                    </a:lnTo>
                    <a:lnTo>
                      <a:pt x="f587" y="f588"/>
                    </a:lnTo>
                    <a:lnTo>
                      <a:pt x="f17" y="f569"/>
                    </a:lnTo>
                    <a:lnTo>
                      <a:pt x="f589" y="f548"/>
                    </a:lnTo>
                    <a:lnTo>
                      <a:pt x="f262" y="f547"/>
                    </a:lnTo>
                    <a:lnTo>
                      <a:pt x="f262" y="f590"/>
                    </a:lnTo>
                    <a:lnTo>
                      <a:pt x="f591" y="f298"/>
                    </a:lnTo>
                    <a:lnTo>
                      <a:pt x="f592" y="f299"/>
                    </a:lnTo>
                    <a:lnTo>
                      <a:pt x="f13" y="f301"/>
                    </a:lnTo>
                    <a:lnTo>
                      <a:pt x="f593" y="f301"/>
                    </a:lnTo>
                    <a:lnTo>
                      <a:pt x="f594" y="f299"/>
                    </a:lnTo>
                    <a:lnTo>
                      <a:pt x="f595" y="f299"/>
                    </a:lnTo>
                    <a:lnTo>
                      <a:pt x="f596" y="f304"/>
                    </a:lnTo>
                    <a:lnTo>
                      <a:pt x="f597" y="f563"/>
                    </a:lnTo>
                    <a:lnTo>
                      <a:pt x="f257" y="f539"/>
                    </a:lnTo>
                    <a:lnTo>
                      <a:pt x="f598" y="f599"/>
                    </a:lnTo>
                    <a:lnTo>
                      <a:pt x="f600" y="f539"/>
                    </a:lnTo>
                    <a:lnTo>
                      <a:pt x="f601" y="f306"/>
                    </a:lnTo>
                    <a:lnTo>
                      <a:pt x="f602" y="f296"/>
                    </a:lnTo>
                    <a:lnTo>
                      <a:pt x="f255" y="f565"/>
                    </a:lnTo>
                    <a:lnTo>
                      <a:pt x="f603" y="f604"/>
                    </a:lnTo>
                    <a:lnTo>
                      <a:pt x="f605" y="f559"/>
                    </a:lnTo>
                    <a:lnTo>
                      <a:pt x="f606" y="f607"/>
                    </a:lnTo>
                    <a:lnTo>
                      <a:pt x="f606" y="f608"/>
                    </a:lnTo>
                    <a:lnTo>
                      <a:pt x="f609" y="f579"/>
                    </a:lnTo>
                    <a:lnTo>
                      <a:pt x="f610" y="f580"/>
                    </a:lnTo>
                    <a:lnTo>
                      <a:pt x="f611" y="f282"/>
                    </a:lnTo>
                    <a:lnTo>
                      <a:pt x="f612" y="f613"/>
                    </a:lnTo>
                    <a:lnTo>
                      <a:pt x="f603" y="f614"/>
                    </a:lnTo>
                    <a:lnTo>
                      <a:pt x="f612" y="f28"/>
                    </a:lnTo>
                    <a:lnTo>
                      <a:pt x="f615" y="f25"/>
                    </a:lnTo>
                    <a:lnTo>
                      <a:pt x="f605" y="f616"/>
                    </a:lnTo>
                    <a:lnTo>
                      <a:pt x="f617" y="f264"/>
                    </a:lnTo>
                    <a:lnTo>
                      <a:pt x="f610" y="f11"/>
                    </a:lnTo>
                    <a:lnTo>
                      <a:pt x="f609" y="f597"/>
                    </a:lnTo>
                    <a:lnTo>
                      <a:pt x="f618" y="f601"/>
                    </a:lnTo>
                    <a:lnTo>
                      <a:pt x="f619" y="f620"/>
                    </a:lnTo>
                    <a:lnTo>
                      <a:pt x="f621" y="f611"/>
                    </a:lnTo>
                    <a:lnTo>
                      <a:pt x="f622" y="f623"/>
                    </a:lnTo>
                    <a:lnTo>
                      <a:pt x="f624" y="f625"/>
                    </a:lnTo>
                    <a:lnTo>
                      <a:pt x="f626" y="f621"/>
                    </a:lnTo>
                    <a:lnTo>
                      <a:pt x="f627" y="f628"/>
                    </a:lnTo>
                    <a:lnTo>
                      <a:pt x="f237" y="f629"/>
                    </a:lnTo>
                    <a:lnTo>
                      <a:pt x="f630" y="f621"/>
                    </a:lnTo>
                    <a:lnTo>
                      <a:pt x="f631" y="f632"/>
                    </a:lnTo>
                    <a:lnTo>
                      <a:pt x="f633" y="f247"/>
                    </a:lnTo>
                    <a:lnTo>
                      <a:pt x="f634" y="f632"/>
                    </a:lnTo>
                    <a:lnTo>
                      <a:pt x="f214" y="f629"/>
                    </a:lnTo>
                    <a:lnTo>
                      <a:pt x="f635" y="f636"/>
                    </a:lnTo>
                    <a:lnTo>
                      <a:pt x="f183" y="f636"/>
                    </a:lnTo>
                    <a:lnTo>
                      <a:pt x="f178" y="f637"/>
                    </a:lnTo>
                    <a:lnTo>
                      <a:pt x="f201" y="f628"/>
                    </a:lnTo>
                    <a:lnTo>
                      <a:pt x="f191" y="f621"/>
                    </a:lnTo>
                    <a:lnTo>
                      <a:pt x="f169" y="f242"/>
                    </a:lnTo>
                    <a:lnTo>
                      <a:pt x="f638" y="f621"/>
                    </a:lnTo>
                    <a:lnTo>
                      <a:pt x="f165" y="f639"/>
                    </a:lnTo>
                    <a:lnTo>
                      <a:pt x="f165" y="f640"/>
                    </a:lnTo>
                    <a:lnTo>
                      <a:pt x="f641" y="f642"/>
                    </a:lnTo>
                    <a:lnTo>
                      <a:pt x="f167" y="f643"/>
                    </a:lnTo>
                    <a:lnTo>
                      <a:pt x="f644" y="f237"/>
                    </a:lnTo>
                    <a:lnTo>
                      <a:pt x="f645" y="f646"/>
                    </a:lnTo>
                    <a:lnTo>
                      <a:pt x="f647" y="f633"/>
                    </a:lnTo>
                    <a:lnTo>
                      <a:pt x="f165" y="f225"/>
                    </a:lnTo>
                    <a:lnTo>
                      <a:pt x="f648" y="f232"/>
                    </a:lnTo>
                    <a:lnTo>
                      <a:pt x="f649" y="f234"/>
                    </a:lnTo>
                    <a:lnTo>
                      <a:pt x="f155" y="f650"/>
                    </a:lnTo>
                    <a:lnTo>
                      <a:pt x="f651" y="f228"/>
                    </a:lnTo>
                    <a:lnTo>
                      <a:pt x="f652" y="f631"/>
                    </a:lnTo>
                    <a:lnTo>
                      <a:pt x="f653" y="f627"/>
                    </a:lnTo>
                    <a:lnTo>
                      <a:pt x="f654" y="f655"/>
                    </a:lnTo>
                    <a:lnTo>
                      <a:pt x="f656" y="f657"/>
                    </a:lnTo>
                    <a:lnTo>
                      <a:pt x="f658" y="f642"/>
                    </a:lnTo>
                    <a:lnTo>
                      <a:pt x="f659" y="f624"/>
                    </a:lnTo>
                    <a:lnTo>
                      <a:pt x="f116" y="f660"/>
                    </a:lnTo>
                    <a:lnTo>
                      <a:pt x="f661" y="f662"/>
                    </a:lnTo>
                    <a:lnTo>
                      <a:pt x="f663" y="f639"/>
                    </a:lnTo>
                    <a:lnTo>
                      <a:pt x="f664" y="f637"/>
                    </a:lnTo>
                    <a:lnTo>
                      <a:pt x="f665" y="f640"/>
                    </a:lnTo>
                    <a:lnTo>
                      <a:pt x="f666" y="f642"/>
                    </a:lnTo>
                    <a:lnTo>
                      <a:pt x="f70" y="f643"/>
                    </a:lnTo>
                    <a:lnTo>
                      <a:pt x="f667" y="f646"/>
                    </a:lnTo>
                    <a:lnTo>
                      <a:pt x="f668" y="f228"/>
                    </a:lnTo>
                    <a:lnTo>
                      <a:pt x="f92" y="f221"/>
                    </a:lnTo>
                    <a:lnTo>
                      <a:pt x="f669" y="f670"/>
                    </a:lnTo>
                    <a:lnTo>
                      <a:pt x="f671" y="f183"/>
                    </a:lnTo>
                    <a:lnTo>
                      <a:pt x="f672" y="f673"/>
                    </a:lnTo>
                    <a:lnTo>
                      <a:pt x="f672" y="f191"/>
                    </a:lnTo>
                    <a:lnTo>
                      <a:pt x="f671" y="f674"/>
                    </a:lnTo>
                    <a:lnTo>
                      <a:pt x="f58" y="f675"/>
                    </a:lnTo>
                    <a:lnTo>
                      <a:pt x="f669" y="f676"/>
                    </a:lnTo>
                    <a:lnTo>
                      <a:pt x="f677" y="f678"/>
                    </a:lnTo>
                    <a:lnTo>
                      <a:pt x="f677" y="f679"/>
                    </a:lnTo>
                    <a:lnTo>
                      <a:pt x="f669" y="f652"/>
                    </a:lnTo>
                    <a:lnTo>
                      <a:pt x="f672" y="f680"/>
                    </a:lnTo>
                    <a:lnTo>
                      <a:pt x="f681" y="f682"/>
                    </a:lnTo>
                    <a:lnTo>
                      <a:pt x="f57" y="f683"/>
                    </a:lnTo>
                    <a:lnTo>
                      <a:pt x="f684" y="f138"/>
                    </a:lnTo>
                    <a:lnTo>
                      <a:pt x="f685" y="f686"/>
                    </a:lnTo>
                    <a:lnTo>
                      <a:pt x="f687" y="f688"/>
                    </a:lnTo>
                    <a:lnTo>
                      <a:pt x="f689" y="f690"/>
                    </a:lnTo>
                    <a:lnTo>
                      <a:pt x="f691" y="f692"/>
                    </a:lnTo>
                    <a:lnTo>
                      <a:pt x="f693" y="f694"/>
                    </a:lnTo>
                    <a:lnTo>
                      <a:pt x="f695" y="f696"/>
                    </a:lnTo>
                    <a:lnTo>
                      <a:pt x="f697" y="f698"/>
                    </a:lnTo>
                    <a:lnTo>
                      <a:pt x="f55" y="f699"/>
                    </a:lnTo>
                    <a:lnTo>
                      <a:pt x="f695" y="f700"/>
                    </a:lnTo>
                    <a:lnTo>
                      <a:pt x="f701" y="f666"/>
                    </a:lnTo>
                    <a:lnTo>
                      <a:pt x="f687" y="f702"/>
                    </a:lnTo>
                    <a:lnTo>
                      <a:pt x="f684" y="f104"/>
                    </a:lnTo>
                    <a:lnTo>
                      <a:pt x="f703" y="f72"/>
                    </a:lnTo>
                    <a:lnTo>
                      <a:pt x="f684" y="f76"/>
                    </a:lnTo>
                    <a:lnTo>
                      <a:pt x="f704" y="f78"/>
                    </a:lnTo>
                    <a:lnTo>
                      <a:pt x="f693" y="f101"/>
                    </a:lnTo>
                    <a:lnTo>
                      <a:pt x="f705" y="f99"/>
                    </a:lnTo>
                    <a:lnTo>
                      <a:pt x="f705" y="f706"/>
                    </a:lnTo>
                    <a:lnTo>
                      <a:pt x="f707" y="f708"/>
                    </a:lnTo>
                    <a:lnTo>
                      <a:pt x="f709" y="f710"/>
                    </a:lnTo>
                    <a:lnTo>
                      <a:pt x="f711" y="f677"/>
                    </a:lnTo>
                    <a:lnTo>
                      <a:pt x="f31" y="f677"/>
                    </a:lnTo>
                    <a:lnTo>
                      <a:pt x="f712" y="f713"/>
                    </a:lnTo>
                    <a:lnTo>
                      <a:pt x="f714" y="f715"/>
                    </a:lnTo>
                    <a:lnTo>
                      <a:pt x="f716" y="f691"/>
                    </a:lnTo>
                    <a:lnTo>
                      <a:pt x="f717" y="f50"/>
                    </a:lnTo>
                    <a:lnTo>
                      <a:pt x="f5" y="f31"/>
                    </a:lnTo>
                    <a:lnTo>
                      <a:pt x="f22" y="f712"/>
                    </a:lnTo>
                    <a:lnTo>
                      <a:pt x="f718" y="f719"/>
                    </a:lnTo>
                    <a:lnTo>
                      <a:pt x="f720" y="f16"/>
                    </a:lnTo>
                    <a:lnTo>
                      <a:pt x="f41" y="f721"/>
                    </a:lnTo>
                    <a:lnTo>
                      <a:pt x="f48" y="f16"/>
                    </a:lnTo>
                    <a:lnTo>
                      <a:pt x="f697" y="f20"/>
                    </a:lnTo>
                    <a:lnTo>
                      <a:pt x="f704" y="f714"/>
                    </a:lnTo>
                    <a:lnTo>
                      <a:pt x="f722" y="f723"/>
                    </a:lnTo>
                    <a:lnTo>
                      <a:pt x="f58" y="f724"/>
                    </a:lnTo>
                    <a:lnTo>
                      <a:pt x="f725" y="f31"/>
                    </a:lnTo>
                    <a:lnTo>
                      <a:pt x="f706" y="f724"/>
                    </a:lnTo>
                    <a:lnTo>
                      <a:pt x="f97" y="f726"/>
                    </a:lnTo>
                    <a:lnTo>
                      <a:pt x="f727" y="f723"/>
                    </a:lnTo>
                    <a:lnTo>
                      <a:pt x="f84" y="f726"/>
                    </a:lnTo>
                    <a:lnTo>
                      <a:pt x="f78" y="f728"/>
                    </a:lnTo>
                    <a:lnTo>
                      <a:pt x="f729" y="f730"/>
                    </a:lnTo>
                    <a:lnTo>
                      <a:pt x="f731" y="f707"/>
                    </a:lnTo>
                    <a:lnTo>
                      <a:pt x="f732" y="f684"/>
                    </a:lnTo>
                    <a:lnTo>
                      <a:pt x="f733" y="f681"/>
                    </a:lnTo>
                    <a:lnTo>
                      <a:pt x="f734" y="f713"/>
                    </a:lnTo>
                    <a:lnTo>
                      <a:pt x="f735" y="f677"/>
                    </a:lnTo>
                    <a:lnTo>
                      <a:pt x="f736" y="f677"/>
                    </a:lnTo>
                    <a:lnTo>
                      <a:pt x="f696" y="f672"/>
                    </a:lnTo>
                    <a:lnTo>
                      <a:pt x="f120" y="f737"/>
                    </a:lnTo>
                    <a:lnTo>
                      <a:pt x="f738" y="f687"/>
                    </a:lnTo>
                    <a:lnTo>
                      <a:pt x="f739" y="f705"/>
                    </a:lnTo>
                    <a:lnTo>
                      <a:pt x="f740" y="f741"/>
                    </a:lnTo>
                    <a:lnTo>
                      <a:pt x="f112" y="f742"/>
                    </a:lnTo>
                    <a:lnTo>
                      <a:pt x="f743" y="f41"/>
                    </a:lnTo>
                    <a:lnTo>
                      <a:pt x="f744" y="f39"/>
                    </a:lnTo>
                    <a:lnTo>
                      <a:pt x="f683" y="f33"/>
                    </a:lnTo>
                    <a:lnTo>
                      <a:pt x="f745" y="f746"/>
                    </a:lnTo>
                    <a:lnTo>
                      <a:pt x="f747" y="f717"/>
                    </a:lnTo>
                    <a:lnTo>
                      <a:pt x="f748" y="f20"/>
                    </a:lnTo>
                    <a:lnTo>
                      <a:pt x="f638" y="f746"/>
                    </a:lnTo>
                    <a:lnTo>
                      <a:pt x="f177" y="f746"/>
                    </a:lnTo>
                    <a:lnTo>
                      <a:pt x="f178" y="f719"/>
                    </a:lnTo>
                    <a:lnTo>
                      <a:pt x="f749" y="f750"/>
                    </a:lnTo>
                    <a:lnTo>
                      <a:pt x="f183" y="f29"/>
                    </a:lnTo>
                    <a:lnTo>
                      <a:pt x="f183" y="f751"/>
                    </a:lnTo>
                    <a:lnTo>
                      <a:pt x="f752" y="f753"/>
                    </a:lnTo>
                    <a:lnTo>
                      <a:pt x="f754" y="f55"/>
                    </a:lnTo>
                    <a:lnTo>
                      <a:pt x="f755" y="f693"/>
                    </a:lnTo>
                    <a:lnTo>
                      <a:pt x="f756" y="f687"/>
                    </a:lnTo>
                    <a:lnTo>
                      <a:pt x="f230" y="f703"/>
                    </a:lnTo>
                    <a:lnTo>
                      <a:pt x="f757" y="f703"/>
                    </a:lnTo>
                    <a:lnTo>
                      <a:pt x="f642" y="f684"/>
                    </a:lnTo>
                    <a:lnTo>
                      <a:pt x="f758" y="f703"/>
                    </a:lnTo>
                    <a:lnTo>
                      <a:pt x="f636" y="f759"/>
                    </a:lnTo>
                    <a:lnTo>
                      <a:pt x="f760" y="f737"/>
                    </a:lnTo>
                    <a:lnTo>
                      <a:pt x="f243" y="f737"/>
                    </a:lnTo>
                    <a:lnTo>
                      <a:pt x="f250" y="f57"/>
                    </a:lnTo>
                    <a:lnTo>
                      <a:pt x="f761" y="f45"/>
                    </a:lnTo>
                    <a:lnTo>
                      <a:pt x="f253" y="f35"/>
                    </a:lnTo>
                    <a:lnTo>
                      <a:pt x="f762" y="f712"/>
                    </a:lnTo>
                    <a:lnTo>
                      <a:pt x="f763" y="f18"/>
                    </a:lnTo>
                    <a:lnTo>
                      <a:pt x="f764" y="f765"/>
                    </a:lnTo>
                    <a:lnTo>
                      <a:pt x="f596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93" name="Freeform 13">
                <a:extLst>
                  <a:ext uri="{FF2B5EF4-FFF2-40B4-BE49-F238E27FC236}">
                    <a16:creationId xmlns:a16="http://schemas.microsoft.com/office/drawing/2014/main" id="{A5D580E0-3FE0-4039-B48C-27C0A22C68A4}"/>
                  </a:ext>
                </a:extLst>
              </p:cNvPr>
              <p:cNvSpPr/>
              <p:nvPr/>
            </p:nvSpPr>
            <p:spPr>
              <a:xfrm>
                <a:off x="3656557" y="1727575"/>
                <a:ext cx="196522" cy="17585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904"/>
                  <a:gd name="f7" fmla="val 905"/>
                  <a:gd name="f8" fmla="val 818"/>
                  <a:gd name="f9" fmla="val 821"/>
                  <a:gd name="f10" fmla="val 5"/>
                  <a:gd name="f11" fmla="val 824"/>
                  <a:gd name="f12" fmla="val 9"/>
                  <a:gd name="f13" fmla="val 828"/>
                  <a:gd name="f14" fmla="val 13"/>
                  <a:gd name="f15" fmla="val 830"/>
                  <a:gd name="f16" fmla="val 16"/>
                  <a:gd name="f17" fmla="val 836"/>
                  <a:gd name="f18" fmla="val 24"/>
                  <a:gd name="f19" fmla="val 844"/>
                  <a:gd name="f20" fmla="val 35"/>
                  <a:gd name="f21" fmla="val 850"/>
                  <a:gd name="f22" fmla="val 47"/>
                  <a:gd name="f23" fmla="val 855"/>
                  <a:gd name="f24" fmla="val 59"/>
                  <a:gd name="f25" fmla="val 856"/>
                  <a:gd name="f26" fmla="val 61"/>
                  <a:gd name="f27" fmla="val 858"/>
                  <a:gd name="f28" fmla="val 62"/>
                  <a:gd name="f29" fmla="val 859"/>
                  <a:gd name="f30" fmla="val 867"/>
                  <a:gd name="f31" fmla="val 71"/>
                  <a:gd name="f32" fmla="val 876"/>
                  <a:gd name="f33" fmla="val 78"/>
                  <a:gd name="f34" fmla="val 884"/>
                  <a:gd name="f35" fmla="val 85"/>
                  <a:gd name="f36" fmla="val 891"/>
                  <a:gd name="f37" fmla="val 90"/>
                  <a:gd name="f38" fmla="val 894"/>
                  <a:gd name="f39" fmla="val 96"/>
                  <a:gd name="f40" fmla="val 892"/>
                  <a:gd name="f41" fmla="val 105"/>
                  <a:gd name="f42" fmla="val 114"/>
                  <a:gd name="f43" fmla="val 123"/>
                  <a:gd name="f44" fmla="val 868"/>
                  <a:gd name="f45" fmla="val 132"/>
                  <a:gd name="f46" fmla="val 865"/>
                  <a:gd name="f47" fmla="val 141"/>
                  <a:gd name="f48" fmla="val 866"/>
                  <a:gd name="f49" fmla="val 150"/>
                  <a:gd name="f50" fmla="val 869"/>
                  <a:gd name="f51" fmla="val 162"/>
                  <a:gd name="f52" fmla="val 872"/>
                  <a:gd name="f53" fmla="val 175"/>
                  <a:gd name="f54" fmla="val 875"/>
                  <a:gd name="f55" fmla="val 188"/>
                  <a:gd name="f56" fmla="val 877"/>
                  <a:gd name="f57" fmla="val 199"/>
                  <a:gd name="f58" fmla="val 878"/>
                  <a:gd name="f59" fmla="val 205"/>
                  <a:gd name="f60" fmla="val 207"/>
                  <a:gd name="f61" fmla="val 879"/>
                  <a:gd name="f62" fmla="val 209"/>
                  <a:gd name="f63" fmla="val 881"/>
                  <a:gd name="f64" fmla="val 210"/>
                  <a:gd name="f65" fmla="val 883"/>
                  <a:gd name="f66" fmla="val 885"/>
                  <a:gd name="f67" fmla="val 212"/>
                  <a:gd name="f68" fmla="val 890"/>
                  <a:gd name="f69" fmla="val 213"/>
                  <a:gd name="f70" fmla="val 893"/>
                  <a:gd name="f71" fmla="val 214"/>
                  <a:gd name="f72" fmla="val 223"/>
                  <a:gd name="f73" fmla="val 895"/>
                  <a:gd name="f74" fmla="val 235"/>
                  <a:gd name="f75" fmla="val 899"/>
                  <a:gd name="f76" fmla="val 247"/>
                  <a:gd name="f77" fmla="val 903"/>
                  <a:gd name="f78" fmla="val 255"/>
                  <a:gd name="f79" fmla="val 265"/>
                  <a:gd name="f80" fmla="val 279"/>
                  <a:gd name="f81" fmla="val 293"/>
                  <a:gd name="f82" fmla="val 902"/>
                  <a:gd name="f83" fmla="val 308"/>
                  <a:gd name="f84" fmla="val 898"/>
                  <a:gd name="f85" fmla="val 321"/>
                  <a:gd name="f86" fmla="val 328"/>
                  <a:gd name="f87" fmla="val 332"/>
                  <a:gd name="f88" fmla="val 335"/>
                  <a:gd name="f89" fmla="val 336"/>
                  <a:gd name="f90" fmla="val 840"/>
                  <a:gd name="f91" fmla="val 337"/>
                  <a:gd name="f92" fmla="val 825"/>
                  <a:gd name="f93" fmla="val 794"/>
                  <a:gd name="f94" fmla="val 788"/>
                  <a:gd name="f95" fmla="val 339"/>
                  <a:gd name="f96" fmla="val 780"/>
                  <a:gd name="f97" fmla="val 346"/>
                  <a:gd name="f98" fmla="val 765"/>
                  <a:gd name="f99" fmla="val 363"/>
                  <a:gd name="f100" fmla="val 761"/>
                  <a:gd name="f101" fmla="val 371"/>
                  <a:gd name="f102" fmla="val 758"/>
                  <a:gd name="f103" fmla="val 375"/>
                  <a:gd name="f104" fmla="val 757"/>
                  <a:gd name="f105" fmla="val 379"/>
                  <a:gd name="f106" fmla="val 759"/>
                  <a:gd name="f107" fmla="val 384"/>
                  <a:gd name="f108" fmla="val 763"/>
                  <a:gd name="f109" fmla="val 390"/>
                  <a:gd name="f110" fmla="val 770"/>
                  <a:gd name="f111" fmla="val 401"/>
                  <a:gd name="f112" fmla="val 774"/>
                  <a:gd name="f113" fmla="val 413"/>
                  <a:gd name="f114" fmla="val 775"/>
                  <a:gd name="f115" fmla="val 424"/>
                  <a:gd name="f116" fmla="val 435"/>
                  <a:gd name="f117" fmla="val 773"/>
                  <a:gd name="f118" fmla="val 445"/>
                  <a:gd name="f119" fmla="val 452"/>
                  <a:gd name="f120" fmla="val 777"/>
                  <a:gd name="f121" fmla="val 456"/>
                  <a:gd name="f122" fmla="val 782"/>
                  <a:gd name="f123" fmla="val 459"/>
                  <a:gd name="f124" fmla="val 791"/>
                  <a:gd name="f125" fmla="val 463"/>
                  <a:gd name="f126" fmla="val 797"/>
                  <a:gd name="f127" fmla="val 465"/>
                  <a:gd name="f128" fmla="val 802"/>
                  <a:gd name="f129" fmla="val 807"/>
                  <a:gd name="f130" fmla="val 811"/>
                  <a:gd name="f131" fmla="val 815"/>
                  <a:gd name="f132" fmla="val 453"/>
                  <a:gd name="f133" fmla="val 466"/>
                  <a:gd name="f134" fmla="val 822"/>
                  <a:gd name="f135" fmla="val 474"/>
                  <a:gd name="f136" fmla="val 817"/>
                  <a:gd name="f137" fmla="val 481"/>
                  <a:gd name="f138" fmla="val 808"/>
                  <a:gd name="f139" fmla="val 490"/>
                  <a:gd name="f140" fmla="val 493"/>
                  <a:gd name="f141" fmla="val 809"/>
                  <a:gd name="f142" fmla="val 504"/>
                  <a:gd name="f143" fmla="val 510"/>
                  <a:gd name="f144" fmla="val 810"/>
                  <a:gd name="f145" fmla="val 516"/>
                  <a:gd name="f146" fmla="val 519"/>
                  <a:gd name="f147" fmla="val 799"/>
                  <a:gd name="f148" fmla="val 523"/>
                  <a:gd name="f149" fmla="val 790"/>
                  <a:gd name="f150" fmla="val 529"/>
                  <a:gd name="f151" fmla="val 781"/>
                  <a:gd name="f152" fmla="val 533"/>
                  <a:gd name="f153" fmla="val 771"/>
                  <a:gd name="f154" fmla="val 535"/>
                  <a:gd name="f155" fmla="val 760"/>
                  <a:gd name="f156" fmla="val 750"/>
                  <a:gd name="f157" fmla="val 534"/>
                  <a:gd name="f158" fmla="val 743"/>
                  <a:gd name="f159" fmla="val 738"/>
                  <a:gd name="f160" fmla="val 536"/>
                  <a:gd name="f161" fmla="val 736"/>
                  <a:gd name="f162" fmla="val 542"/>
                  <a:gd name="f163" fmla="val 735"/>
                  <a:gd name="f164" fmla="val 551"/>
                  <a:gd name="f165" fmla="val 572"/>
                  <a:gd name="f166" fmla="val 579"/>
                  <a:gd name="f167" fmla="val 740"/>
                  <a:gd name="f168" fmla="val 585"/>
                  <a:gd name="f169" fmla="val 592"/>
                  <a:gd name="f170" fmla="val 745"/>
                  <a:gd name="f171" fmla="val 601"/>
                  <a:gd name="f172" fmla="val 744"/>
                  <a:gd name="f173" fmla="val 609"/>
                  <a:gd name="f174" fmla="val 618"/>
                  <a:gd name="f175" fmla="val 730"/>
                  <a:gd name="f176" fmla="val 622"/>
                  <a:gd name="f177" fmla="val 720"/>
                  <a:gd name="f178" fmla="val 711"/>
                  <a:gd name="f179" fmla="val 620"/>
                  <a:gd name="f180" fmla="val 701"/>
                  <a:gd name="f181" fmla="val 617"/>
                  <a:gd name="f182" fmla="val 693"/>
                  <a:gd name="f183" fmla="val 616"/>
                  <a:gd name="f184" fmla="val 688"/>
                  <a:gd name="f185" fmla="val 684"/>
                  <a:gd name="f186" fmla="val 624"/>
                  <a:gd name="f187" fmla="val 682"/>
                  <a:gd name="f188" fmla="val 633"/>
                  <a:gd name="f189" fmla="val 680"/>
                  <a:gd name="f190" fmla="val 643"/>
                  <a:gd name="f191" fmla="val 679"/>
                  <a:gd name="f192" fmla="val 650"/>
                  <a:gd name="f193" fmla="val 677"/>
                  <a:gd name="f194" fmla="val 657"/>
                  <a:gd name="f195" fmla="val 676"/>
                  <a:gd name="f196" fmla="val 663"/>
                  <a:gd name="f197" fmla="val 671"/>
                  <a:gd name="f198" fmla="val 678"/>
                  <a:gd name="f199" fmla="val 686"/>
                  <a:gd name="f200" fmla="val 675"/>
                  <a:gd name="f201" fmla="val 691"/>
                  <a:gd name="f202" fmla="val 670"/>
                  <a:gd name="f203" fmla="val 696"/>
                  <a:gd name="f204" fmla="val 705"/>
                  <a:gd name="f205" fmla="val 724"/>
                  <a:gd name="f206" fmla="val 645"/>
                  <a:gd name="f207" fmla="val 733"/>
                  <a:gd name="f208" fmla="val 641"/>
                  <a:gd name="f209" fmla="val 640"/>
                  <a:gd name="f210" fmla="val 642"/>
                  <a:gd name="f211" fmla="val 653"/>
                  <a:gd name="f212" fmla="val 748"/>
                  <a:gd name="f213" fmla="val 658"/>
                  <a:gd name="f214" fmla="val 754"/>
                  <a:gd name="f215" fmla="val 662"/>
                  <a:gd name="f216" fmla="val 661"/>
                  <a:gd name="f217" fmla="val 656"/>
                  <a:gd name="f218" fmla="val 803"/>
                  <a:gd name="f219" fmla="val 649"/>
                  <a:gd name="f220" fmla="val 814"/>
                  <a:gd name="f221" fmla="val 819"/>
                  <a:gd name="f222" fmla="val 634"/>
                  <a:gd name="f223" fmla="val 626"/>
                  <a:gd name="f224" fmla="val 826"/>
                  <a:gd name="f225" fmla="val 831"/>
                  <a:gd name="f226" fmla="val 608"/>
                  <a:gd name="f227" fmla="val 833"/>
                  <a:gd name="f228" fmla="val 600"/>
                  <a:gd name="f229" fmla="val 832"/>
                  <a:gd name="f230" fmla="val 593"/>
                  <a:gd name="f231" fmla="val 837"/>
                  <a:gd name="f232" fmla="val 842"/>
                  <a:gd name="f233" fmla="val 843"/>
                  <a:gd name="f234" fmla="val 567"/>
                  <a:gd name="f235" fmla="val 839"/>
                  <a:gd name="f236" fmla="val 560"/>
                  <a:gd name="f237" fmla="val 835"/>
                  <a:gd name="f238" fmla="val 555"/>
                  <a:gd name="f239" fmla="val 550"/>
                  <a:gd name="f240" fmla="val 545"/>
                  <a:gd name="f241" fmla="val 838"/>
                  <a:gd name="f242" fmla="val 847"/>
                  <a:gd name="f243" fmla="val 540"/>
                  <a:gd name="f244" fmla="val 857"/>
                  <a:gd name="f245" fmla="val 539"/>
                  <a:gd name="f246" fmla="val 871"/>
                  <a:gd name="f247" fmla="val 543"/>
                  <a:gd name="f248" fmla="val 547"/>
                  <a:gd name="f249" fmla="val 880"/>
                  <a:gd name="f250" fmla="val 887"/>
                  <a:gd name="f251" fmla="val 549"/>
                  <a:gd name="f252" fmla="val 896"/>
                  <a:gd name="f253" fmla="val 897"/>
                  <a:gd name="f254" fmla="val 526"/>
                  <a:gd name="f255" fmla="val 515"/>
                  <a:gd name="f256" fmla="val 507"/>
                  <a:gd name="f257" fmla="val 500"/>
                  <a:gd name="f258" fmla="val 495"/>
                  <a:gd name="f259" fmla="val 487"/>
                  <a:gd name="f260" fmla="val 479"/>
                  <a:gd name="f261" fmla="val 468"/>
                  <a:gd name="f262" fmla="val 444"/>
                  <a:gd name="f263" fmla="val 432"/>
                  <a:gd name="f264" fmla="val 419"/>
                  <a:gd name="f265" fmla="val 873"/>
                  <a:gd name="f266" fmla="val 409"/>
                  <a:gd name="f267" fmla="val 396"/>
                  <a:gd name="f268" fmla="val 392"/>
                  <a:gd name="f269" fmla="val 389"/>
                  <a:gd name="f270" fmla="val 862"/>
                  <a:gd name="f271" fmla="val 385"/>
                  <a:gd name="f272" fmla="val 854"/>
                  <a:gd name="f273" fmla="val 377"/>
                  <a:gd name="f274" fmla="val 373"/>
                  <a:gd name="f275" fmla="val 834"/>
                  <a:gd name="f276" fmla="val 369"/>
                  <a:gd name="f277" fmla="val 361"/>
                  <a:gd name="f278" fmla="val 354"/>
                  <a:gd name="f279" fmla="val 846"/>
                  <a:gd name="f280" fmla="val 347"/>
                  <a:gd name="f281" fmla="val 845"/>
                  <a:gd name="f282" fmla="val 341"/>
                  <a:gd name="f283" fmla="val 338"/>
                  <a:gd name="f284" fmla="val 333"/>
                  <a:gd name="f285" fmla="val 330"/>
                  <a:gd name="f286" fmla="val 324"/>
                  <a:gd name="f287" fmla="val 316"/>
                  <a:gd name="f288" fmla="val 306"/>
                  <a:gd name="f289" fmla="val 295"/>
                  <a:gd name="f290" fmla="val 285"/>
                  <a:gd name="f291" fmla="val 277"/>
                  <a:gd name="f292" fmla="val 266"/>
                  <a:gd name="f293" fmla="val 261"/>
                  <a:gd name="f294" fmla="val 254"/>
                  <a:gd name="f295" fmla="val 248"/>
                  <a:gd name="f296" fmla="val 901"/>
                  <a:gd name="f297" fmla="val 243"/>
                  <a:gd name="f298" fmla="val 900"/>
                  <a:gd name="f299" fmla="val 236"/>
                  <a:gd name="f300" fmla="val 227"/>
                  <a:gd name="f301" fmla="val 206"/>
                  <a:gd name="f302" fmla="val 197"/>
                  <a:gd name="f303" fmla="val 189"/>
                  <a:gd name="f304" fmla="val 184"/>
                  <a:gd name="f305" fmla="val 874"/>
                  <a:gd name="f306" fmla="val 178"/>
                  <a:gd name="f307" fmla="val 176"/>
                  <a:gd name="f308" fmla="val 852"/>
                  <a:gd name="f309" fmla="val 171"/>
                  <a:gd name="f310" fmla="val 849"/>
                  <a:gd name="f311" fmla="val 163"/>
                  <a:gd name="f312" fmla="val 848"/>
                  <a:gd name="f313" fmla="val 136"/>
                  <a:gd name="f314" fmla="val 119"/>
                  <a:gd name="f315" fmla="val 100"/>
                  <a:gd name="f316" fmla="val 113"/>
                  <a:gd name="f317" fmla="val 124"/>
                  <a:gd name="f318" fmla="val 812"/>
                  <a:gd name="f319" fmla="val 130"/>
                  <a:gd name="f320" fmla="val 138"/>
                  <a:gd name="f321" fmla="val 805"/>
                  <a:gd name="f322" fmla="val 144"/>
                  <a:gd name="f323" fmla="val 149"/>
                  <a:gd name="f324" fmla="val 153"/>
                  <a:gd name="f325" fmla="val 155"/>
                  <a:gd name="f326" fmla="val 148"/>
                  <a:gd name="f327" fmla="val 766"/>
                  <a:gd name="f328" fmla="val 762"/>
                  <a:gd name="f329" fmla="val 756"/>
                  <a:gd name="f330" fmla="val 747"/>
                  <a:gd name="f331" fmla="val 146"/>
                  <a:gd name="f332" fmla="val 139"/>
                  <a:gd name="f333" fmla="val 722"/>
                  <a:gd name="f334" fmla="val 120"/>
                  <a:gd name="f335" fmla="val 717"/>
                  <a:gd name="f336" fmla="val 112"/>
                  <a:gd name="f337" fmla="val 106"/>
                  <a:gd name="f338" fmla="val 107"/>
                  <a:gd name="f339" fmla="val 666"/>
                  <a:gd name="f340" fmla="val 648"/>
                  <a:gd name="f341" fmla="val 646"/>
                  <a:gd name="f342" fmla="val 92"/>
                  <a:gd name="f343" fmla="val 77"/>
                  <a:gd name="f344" fmla="val 67"/>
                  <a:gd name="f345" fmla="val 647"/>
                  <a:gd name="f346" fmla="val 66"/>
                  <a:gd name="f347" fmla="val 69"/>
                  <a:gd name="f348" fmla="val 74"/>
                  <a:gd name="f349" fmla="val 621"/>
                  <a:gd name="f350" fmla="val 81"/>
                  <a:gd name="f351" fmla="val 610"/>
                  <a:gd name="f352" fmla="val 86"/>
                  <a:gd name="f353" fmla="val 602"/>
                  <a:gd name="f354" fmla="val 91"/>
                  <a:gd name="f355" fmla="val 596"/>
                  <a:gd name="f356" fmla="val 104"/>
                  <a:gd name="f357" fmla="val 589"/>
                  <a:gd name="f358" fmla="val 587"/>
                  <a:gd name="f359" fmla="val 582"/>
                  <a:gd name="f360" fmla="val 99"/>
                  <a:gd name="f361" fmla="val 578"/>
                  <a:gd name="f362" fmla="val 575"/>
                  <a:gd name="f363" fmla="val 83"/>
                  <a:gd name="f364" fmla="val 574"/>
                  <a:gd name="f365" fmla="val 76"/>
                  <a:gd name="f366" fmla="val 573"/>
                  <a:gd name="f367" fmla="val 73"/>
                  <a:gd name="f368" fmla="val 72"/>
                  <a:gd name="f369" fmla="val 571"/>
                  <a:gd name="f370" fmla="val 565"/>
                  <a:gd name="f371" fmla="val 559"/>
                  <a:gd name="f372" fmla="val 80"/>
                  <a:gd name="f373" fmla="val 554"/>
                  <a:gd name="f374" fmla="val 82"/>
                  <a:gd name="f375" fmla="val 532"/>
                  <a:gd name="f376" fmla="val 517"/>
                  <a:gd name="f377" fmla="val 95"/>
                  <a:gd name="f378" fmla="val 501"/>
                  <a:gd name="f379" fmla="val 492"/>
                  <a:gd name="f380" fmla="val 94"/>
                  <a:gd name="f381" fmla="val 470"/>
                  <a:gd name="f382" fmla="val 460"/>
                  <a:gd name="f383" fmla="val 451"/>
                  <a:gd name="f384" fmla="val 84"/>
                  <a:gd name="f385" fmla="val 446"/>
                  <a:gd name="f386" fmla="val 87"/>
                  <a:gd name="f387" fmla="val 443"/>
                  <a:gd name="f388" fmla="val 439"/>
                  <a:gd name="f389" fmla="val 436"/>
                  <a:gd name="f390" fmla="val 98"/>
                  <a:gd name="f391" fmla="val 433"/>
                  <a:gd name="f392" fmla="val 429"/>
                  <a:gd name="f393" fmla="val 55"/>
                  <a:gd name="f394" fmla="val 405"/>
                  <a:gd name="f395" fmla="val 27"/>
                  <a:gd name="f396" fmla="val 388"/>
                  <a:gd name="f397" fmla="val 15"/>
                  <a:gd name="f398" fmla="val 6"/>
                  <a:gd name="f399" fmla="val 356"/>
                  <a:gd name="f400" fmla="val 7"/>
                  <a:gd name="f401" fmla="val 41"/>
                  <a:gd name="f402" fmla="val 312"/>
                  <a:gd name="f403" fmla="val 52"/>
                  <a:gd name="f404" fmla="val 299"/>
                  <a:gd name="f405" fmla="val 58"/>
                  <a:gd name="f406" fmla="val 286"/>
                  <a:gd name="f407" fmla="val 60"/>
                  <a:gd name="f408" fmla="val 274"/>
                  <a:gd name="f409" fmla="val 57"/>
                  <a:gd name="f410" fmla="val 53"/>
                  <a:gd name="f411" fmla="val 246"/>
                  <a:gd name="f412" fmla="val 231"/>
                  <a:gd name="f413" fmla="val 216"/>
                  <a:gd name="f414" fmla="val 37"/>
                  <a:gd name="f415" fmla="val 202"/>
                  <a:gd name="f416" fmla="val 190"/>
                  <a:gd name="f417" fmla="val 181"/>
                  <a:gd name="f418" fmla="val 40"/>
                  <a:gd name="f419" fmla="val 46"/>
                  <a:gd name="f420" fmla="val 157"/>
                  <a:gd name="f421" fmla="val 143"/>
                  <a:gd name="f422" fmla="val 51"/>
                  <a:gd name="f423" fmla="val 48"/>
                  <a:gd name="f424" fmla="val 116"/>
                  <a:gd name="f425" fmla="val 126"/>
                  <a:gd name="f426" fmla="val 133"/>
                  <a:gd name="f427" fmla="val 145"/>
                  <a:gd name="f428" fmla="val 147"/>
                  <a:gd name="f429" fmla="val 159"/>
                  <a:gd name="f430" fmla="val 142"/>
                  <a:gd name="f431" fmla="val 166"/>
                  <a:gd name="f432" fmla="val 170"/>
                  <a:gd name="f433" fmla="val 137"/>
                  <a:gd name="f434" fmla="val 131"/>
                  <a:gd name="f435" fmla="val 169"/>
                  <a:gd name="f436" fmla="val 168"/>
                  <a:gd name="f437" fmla="val 103"/>
                  <a:gd name="f438" fmla="val 165"/>
                  <a:gd name="f439" fmla="val 177"/>
                  <a:gd name="f440" fmla="val 79"/>
                  <a:gd name="f441" fmla="val 200"/>
                  <a:gd name="f442" fmla="val 75"/>
                  <a:gd name="f443" fmla="val 218"/>
                  <a:gd name="f444" fmla="val 232"/>
                  <a:gd name="f445" fmla="val 237"/>
                  <a:gd name="f446" fmla="val 244"/>
                  <a:gd name="f447" fmla="val 251"/>
                  <a:gd name="f448" fmla="val 259"/>
                  <a:gd name="f449" fmla="val 267"/>
                  <a:gd name="f450" fmla="val 276"/>
                  <a:gd name="f451" fmla="val 283"/>
                  <a:gd name="f452" fmla="val 291"/>
                  <a:gd name="f453" fmla="val 300"/>
                  <a:gd name="f454" fmla="val 307"/>
                  <a:gd name="f455" fmla="val 315"/>
                  <a:gd name="f456" fmla="val 326"/>
                  <a:gd name="f457" fmla="val 102"/>
                  <a:gd name="f458" fmla="val 367"/>
                  <a:gd name="f459" fmla="val 109"/>
                  <a:gd name="f460" fmla="val 383"/>
                  <a:gd name="f461" fmla="val 122"/>
                  <a:gd name="f462" fmla="val 395"/>
                  <a:gd name="f463" fmla="val 406"/>
                  <a:gd name="f464" fmla="val 410"/>
                  <a:gd name="f465" fmla="val 415"/>
                  <a:gd name="f466" fmla="val 417"/>
                  <a:gd name="f467" fmla="val 151"/>
                  <a:gd name="f468" fmla="val 414"/>
                  <a:gd name="f469" fmla="val 422"/>
                  <a:gd name="f470" fmla="val 193"/>
                  <a:gd name="f471" fmla="val 440"/>
                  <a:gd name="f472" fmla="val 196"/>
                  <a:gd name="f473" fmla="val 476"/>
                  <a:gd name="f474" fmla="val 194"/>
                  <a:gd name="f475" fmla="val 485"/>
                  <a:gd name="f476" fmla="val 497"/>
                  <a:gd name="f477" fmla="val 195"/>
                  <a:gd name="f478" fmla="val 498"/>
                  <a:gd name="f479" fmla="val 499"/>
                  <a:gd name="f480" fmla="val 204"/>
                  <a:gd name="f481" fmla="val 503"/>
                  <a:gd name="f482" fmla="val 506"/>
                  <a:gd name="f483" fmla="val 511"/>
                  <a:gd name="f484" fmla="val 203"/>
                  <a:gd name="f485" fmla="val 522"/>
                  <a:gd name="f486" fmla="val 198"/>
                  <a:gd name="f487" fmla="val 528"/>
                  <a:gd name="f488" fmla="val 192"/>
                  <a:gd name="f489" fmla="val 191"/>
                  <a:gd name="f490" fmla="val 569"/>
                  <a:gd name="f491" fmla="val 187"/>
                  <a:gd name="f492" fmla="val 179"/>
                  <a:gd name="f493" fmla="val 161"/>
                  <a:gd name="f494" fmla="val 614"/>
                  <a:gd name="f495" fmla="val 638"/>
                  <a:gd name="f496" fmla="val 129"/>
                  <a:gd name="f497" fmla="val 709"/>
                  <a:gd name="f498" fmla="val 741"/>
                  <a:gd name="f499" fmla="val 89"/>
                  <a:gd name="f500" fmla="val 796"/>
                  <a:gd name="f501" fmla="+- 0 0 -90"/>
                  <a:gd name="f502" fmla="*/ f3 1 904"/>
                  <a:gd name="f503" fmla="*/ f4 1 905"/>
                  <a:gd name="f504" fmla="+- f7 0 f5"/>
                  <a:gd name="f505" fmla="+- f6 0 f5"/>
                  <a:gd name="f506" fmla="*/ f501 f0 1"/>
                  <a:gd name="f507" fmla="*/ f505 1 904"/>
                  <a:gd name="f508" fmla="*/ f504 1 905"/>
                  <a:gd name="f509" fmla="*/ f506 1 f2"/>
                  <a:gd name="f510" fmla="*/ 844 1 f507"/>
                  <a:gd name="f511" fmla="*/ 35 1 f508"/>
                  <a:gd name="f512" fmla="*/ 867 1 f507"/>
                  <a:gd name="f513" fmla="*/ 71 1 f508"/>
                  <a:gd name="f514" fmla="*/ 876 1 f507"/>
                  <a:gd name="f515" fmla="*/ 123 1 f508"/>
                  <a:gd name="f516" fmla="*/ 877 1 f507"/>
                  <a:gd name="f517" fmla="*/ 199 1 f508"/>
                  <a:gd name="f518" fmla="*/ 890 1 f507"/>
                  <a:gd name="f519" fmla="*/ 212 1 f508"/>
                  <a:gd name="f520" fmla="*/ 904 1 f507"/>
                  <a:gd name="f521" fmla="*/ 265 1 f508"/>
                  <a:gd name="f522" fmla="*/ 872 1 f507"/>
                  <a:gd name="f523" fmla="*/ 335 1 f508"/>
                  <a:gd name="f524" fmla="*/ 765 1 f507"/>
                  <a:gd name="f525" fmla="*/ 363 1 f508"/>
                  <a:gd name="f526" fmla="*/ 774 1 f507"/>
                  <a:gd name="f527" fmla="*/ 413 1 f508"/>
                  <a:gd name="f528" fmla="*/ 791 1 f507"/>
                  <a:gd name="f529" fmla="*/ 463 1 f508"/>
                  <a:gd name="f530" fmla="*/ 825 1 f507"/>
                  <a:gd name="f531" fmla="*/ 811 1 f507"/>
                  <a:gd name="f532" fmla="*/ 510 1 f508"/>
                  <a:gd name="f533" fmla="*/ 760 1 f507"/>
                  <a:gd name="f534" fmla="*/ 535 1 f508"/>
                  <a:gd name="f535" fmla="*/ 736 1 f507"/>
                  <a:gd name="f536" fmla="*/ 579 1 f508"/>
                  <a:gd name="f537" fmla="*/ 720 1 f507"/>
                  <a:gd name="f538" fmla="*/ 622 1 f508"/>
                  <a:gd name="f539" fmla="*/ 680 1 f507"/>
                  <a:gd name="f540" fmla="*/ 643 1 f508"/>
                  <a:gd name="f541" fmla="*/ 675 1 f507"/>
                  <a:gd name="f542" fmla="*/ 691 1 f508"/>
                  <a:gd name="f543" fmla="*/ 642 1 f507"/>
                  <a:gd name="f544" fmla="*/ 743 1 f508"/>
                  <a:gd name="f545" fmla="*/ 649 1 f507"/>
                  <a:gd name="f546" fmla="*/ 814 1 f508"/>
                  <a:gd name="f547" fmla="*/ 593 1 f507"/>
                  <a:gd name="f548" fmla="*/ 833 1 f508"/>
                  <a:gd name="f549" fmla="*/ 550 1 f507"/>
                  <a:gd name="f550" fmla="*/ 547 1 f507"/>
                  <a:gd name="f551" fmla="*/ 880 1 f508"/>
                  <a:gd name="f552" fmla="*/ 507 1 f507"/>
                  <a:gd name="f553" fmla="*/ 890 1 f508"/>
                  <a:gd name="f554" fmla="*/ 444 1 f507"/>
                  <a:gd name="f555" fmla="*/ 389 1 f507"/>
                  <a:gd name="f556" fmla="*/ 862 1 f508"/>
                  <a:gd name="f557" fmla="*/ 347 1 f507"/>
                  <a:gd name="f558" fmla="*/ 845 1 f508"/>
                  <a:gd name="f559" fmla="*/ 316 1 f507"/>
                  <a:gd name="f560" fmla="*/ 836 1 f508"/>
                  <a:gd name="f561" fmla="*/ 254 1 f507"/>
                  <a:gd name="f562" fmla="*/ 905 1 f508"/>
                  <a:gd name="f563" fmla="*/ 189 1 f507"/>
                  <a:gd name="f564" fmla="*/ 892 1 f508"/>
                  <a:gd name="f565" fmla="*/ 163 1 f507"/>
                  <a:gd name="f566" fmla="*/ 848 1 f508"/>
                  <a:gd name="f567" fmla="*/ 138 1 f507"/>
                  <a:gd name="f568" fmla="*/ 805 1 f508"/>
                  <a:gd name="f569" fmla="*/ 148 1 f507"/>
                  <a:gd name="f570" fmla="*/ 766 1 f508"/>
                  <a:gd name="f571" fmla="*/ 120 1 f507"/>
                  <a:gd name="f572" fmla="*/ 717 1 f508"/>
                  <a:gd name="f573" fmla="*/ 112 1 f507"/>
                  <a:gd name="f574" fmla="*/ 656 1 f508"/>
                  <a:gd name="f575" fmla="*/ 67 1 f507"/>
                  <a:gd name="f576" fmla="*/ 647 1 f508"/>
                  <a:gd name="f577" fmla="*/ 100 1 f507"/>
                  <a:gd name="f578" fmla="*/ 592 1 f508"/>
                  <a:gd name="f579" fmla="*/ 76 1 f507"/>
                  <a:gd name="f580" fmla="*/ 573 1 f508"/>
                  <a:gd name="f581" fmla="*/ 83 1 f507"/>
                  <a:gd name="f582" fmla="*/ 547 1 f508"/>
                  <a:gd name="f583" fmla="*/ 94 1 f507"/>
                  <a:gd name="f584" fmla="*/ 479 1 f508"/>
                  <a:gd name="f585" fmla="*/ 96 1 f507"/>
                  <a:gd name="f586" fmla="*/ 436 1 f508"/>
                  <a:gd name="f587" fmla="*/ 27 1 f507"/>
                  <a:gd name="f588" fmla="*/ 388 1 f508"/>
                  <a:gd name="f589" fmla="*/ 52 1 f507"/>
                  <a:gd name="f590" fmla="*/ 299 1 f508"/>
                  <a:gd name="f591" fmla="*/ 37 1 f507"/>
                  <a:gd name="f592" fmla="*/ 202 1 f508"/>
                  <a:gd name="f593" fmla="*/ 143 1 f508"/>
                  <a:gd name="f594" fmla="*/ 90 1 f507"/>
                  <a:gd name="f595" fmla="*/ 139 1 f508"/>
                  <a:gd name="f596" fmla="*/ 170 1 f507"/>
                  <a:gd name="f597" fmla="*/ 137 1 f508"/>
                  <a:gd name="f598" fmla="*/ 84 1 f508"/>
                  <a:gd name="f599" fmla="*/ 232 1 f507"/>
                  <a:gd name="f600" fmla="*/ 66 1 f508"/>
                  <a:gd name="f601" fmla="*/ 283 1 f507"/>
                  <a:gd name="f602" fmla="*/ 78 1 f508"/>
                  <a:gd name="f603" fmla="*/ 336 1 f507"/>
                  <a:gd name="f604" fmla="*/ 102 1 f508"/>
                  <a:gd name="f605" fmla="*/ 406 1 f507"/>
                  <a:gd name="f606" fmla="*/ 124 1 f508"/>
                  <a:gd name="f607" fmla="*/ 414 1 f507"/>
                  <a:gd name="f608" fmla="*/ 169 1 f508"/>
                  <a:gd name="f609" fmla="*/ 485 1 f507"/>
                  <a:gd name="f610" fmla="*/ 193 1 f508"/>
                  <a:gd name="f611" fmla="*/ 501 1 f507"/>
                  <a:gd name="f612" fmla="*/ 528 1 f507"/>
                  <a:gd name="f613" fmla="*/ 192 1 f508"/>
                  <a:gd name="f614" fmla="*/ 560 1 f507"/>
                  <a:gd name="f615" fmla="*/ 638 1 f507"/>
                  <a:gd name="f616" fmla="*/ 144 1 f508"/>
                  <a:gd name="f617" fmla="*/ 741 1 f507"/>
                  <a:gd name="f618" fmla="*/ 89 1 f508"/>
                  <a:gd name="f619" fmla="*/ 0 1 f507"/>
                  <a:gd name="f620" fmla="*/ f6 1 f507"/>
                  <a:gd name="f621" fmla="*/ 0 1 f508"/>
                  <a:gd name="f622" fmla="*/ f7 1 f508"/>
                  <a:gd name="f623" fmla="+- f509 0 f1"/>
                  <a:gd name="f624" fmla="*/ f619 f502 1"/>
                  <a:gd name="f625" fmla="*/ f620 f502 1"/>
                  <a:gd name="f626" fmla="*/ f622 f503 1"/>
                  <a:gd name="f627" fmla="*/ f621 f503 1"/>
                  <a:gd name="f628" fmla="*/ f510 f502 1"/>
                  <a:gd name="f629" fmla="*/ f511 f503 1"/>
                  <a:gd name="f630" fmla="*/ f512 f502 1"/>
                  <a:gd name="f631" fmla="*/ f513 f503 1"/>
                  <a:gd name="f632" fmla="*/ f514 f502 1"/>
                  <a:gd name="f633" fmla="*/ f515 f503 1"/>
                  <a:gd name="f634" fmla="*/ f516 f502 1"/>
                  <a:gd name="f635" fmla="*/ f517 f503 1"/>
                  <a:gd name="f636" fmla="*/ f518 f502 1"/>
                  <a:gd name="f637" fmla="*/ f519 f503 1"/>
                  <a:gd name="f638" fmla="*/ f520 f502 1"/>
                  <a:gd name="f639" fmla="*/ f521 f503 1"/>
                  <a:gd name="f640" fmla="*/ f522 f502 1"/>
                  <a:gd name="f641" fmla="*/ f523 f503 1"/>
                  <a:gd name="f642" fmla="*/ f524 f502 1"/>
                  <a:gd name="f643" fmla="*/ f525 f503 1"/>
                  <a:gd name="f644" fmla="*/ f526 f502 1"/>
                  <a:gd name="f645" fmla="*/ f527 f503 1"/>
                  <a:gd name="f646" fmla="*/ f528 f502 1"/>
                  <a:gd name="f647" fmla="*/ f529 f503 1"/>
                  <a:gd name="f648" fmla="*/ f530 f502 1"/>
                  <a:gd name="f649" fmla="*/ f531 f502 1"/>
                  <a:gd name="f650" fmla="*/ f532 f503 1"/>
                  <a:gd name="f651" fmla="*/ f533 f502 1"/>
                  <a:gd name="f652" fmla="*/ f534 f503 1"/>
                  <a:gd name="f653" fmla="*/ f535 f502 1"/>
                  <a:gd name="f654" fmla="*/ f536 f503 1"/>
                  <a:gd name="f655" fmla="*/ f537 f502 1"/>
                  <a:gd name="f656" fmla="*/ f538 f503 1"/>
                  <a:gd name="f657" fmla="*/ f539 f502 1"/>
                  <a:gd name="f658" fmla="*/ f540 f503 1"/>
                  <a:gd name="f659" fmla="*/ f541 f502 1"/>
                  <a:gd name="f660" fmla="*/ f542 f503 1"/>
                  <a:gd name="f661" fmla="*/ f543 f502 1"/>
                  <a:gd name="f662" fmla="*/ f544 f503 1"/>
                  <a:gd name="f663" fmla="*/ f545 f502 1"/>
                  <a:gd name="f664" fmla="*/ f546 f503 1"/>
                  <a:gd name="f665" fmla="*/ f547 f502 1"/>
                  <a:gd name="f666" fmla="*/ f548 f503 1"/>
                  <a:gd name="f667" fmla="*/ f549 f502 1"/>
                  <a:gd name="f668" fmla="*/ f550 f502 1"/>
                  <a:gd name="f669" fmla="*/ f551 f503 1"/>
                  <a:gd name="f670" fmla="*/ f552 f502 1"/>
                  <a:gd name="f671" fmla="*/ f553 f503 1"/>
                  <a:gd name="f672" fmla="*/ f554 f502 1"/>
                  <a:gd name="f673" fmla="*/ f555 f502 1"/>
                  <a:gd name="f674" fmla="*/ f556 f503 1"/>
                  <a:gd name="f675" fmla="*/ f557 f502 1"/>
                  <a:gd name="f676" fmla="*/ f558 f503 1"/>
                  <a:gd name="f677" fmla="*/ f559 f502 1"/>
                  <a:gd name="f678" fmla="*/ f560 f503 1"/>
                  <a:gd name="f679" fmla="*/ f561 f502 1"/>
                  <a:gd name="f680" fmla="*/ f562 f503 1"/>
                  <a:gd name="f681" fmla="*/ f563 f502 1"/>
                  <a:gd name="f682" fmla="*/ f564 f503 1"/>
                  <a:gd name="f683" fmla="*/ f565 f502 1"/>
                  <a:gd name="f684" fmla="*/ f566 f503 1"/>
                  <a:gd name="f685" fmla="*/ f567 f502 1"/>
                  <a:gd name="f686" fmla="*/ f568 f503 1"/>
                  <a:gd name="f687" fmla="*/ f569 f502 1"/>
                  <a:gd name="f688" fmla="*/ f570 f503 1"/>
                  <a:gd name="f689" fmla="*/ f571 f502 1"/>
                  <a:gd name="f690" fmla="*/ f572 f503 1"/>
                  <a:gd name="f691" fmla="*/ f573 f502 1"/>
                  <a:gd name="f692" fmla="*/ f574 f503 1"/>
                  <a:gd name="f693" fmla="*/ f575 f502 1"/>
                  <a:gd name="f694" fmla="*/ f576 f503 1"/>
                  <a:gd name="f695" fmla="*/ f577 f502 1"/>
                  <a:gd name="f696" fmla="*/ f578 f503 1"/>
                  <a:gd name="f697" fmla="*/ f579 f502 1"/>
                  <a:gd name="f698" fmla="*/ f580 f503 1"/>
                  <a:gd name="f699" fmla="*/ f581 f502 1"/>
                  <a:gd name="f700" fmla="*/ f582 f503 1"/>
                  <a:gd name="f701" fmla="*/ f583 f502 1"/>
                  <a:gd name="f702" fmla="*/ f584 f503 1"/>
                  <a:gd name="f703" fmla="*/ f585 f502 1"/>
                  <a:gd name="f704" fmla="*/ f586 f503 1"/>
                  <a:gd name="f705" fmla="*/ f587 f502 1"/>
                  <a:gd name="f706" fmla="*/ f588 f503 1"/>
                  <a:gd name="f707" fmla="*/ f589 f502 1"/>
                  <a:gd name="f708" fmla="*/ f590 f503 1"/>
                  <a:gd name="f709" fmla="*/ f591 f502 1"/>
                  <a:gd name="f710" fmla="*/ f592 f503 1"/>
                  <a:gd name="f711" fmla="*/ f593 f503 1"/>
                  <a:gd name="f712" fmla="*/ f594 f502 1"/>
                  <a:gd name="f713" fmla="*/ f595 f503 1"/>
                  <a:gd name="f714" fmla="*/ f596 f502 1"/>
                  <a:gd name="f715" fmla="*/ f597 f503 1"/>
                  <a:gd name="f716" fmla="*/ f598 f503 1"/>
                  <a:gd name="f717" fmla="*/ f599 f502 1"/>
                  <a:gd name="f718" fmla="*/ f600 f503 1"/>
                  <a:gd name="f719" fmla="*/ f601 f502 1"/>
                  <a:gd name="f720" fmla="*/ f602 f503 1"/>
                  <a:gd name="f721" fmla="*/ f603 f502 1"/>
                  <a:gd name="f722" fmla="*/ f604 f503 1"/>
                  <a:gd name="f723" fmla="*/ f605 f502 1"/>
                  <a:gd name="f724" fmla="*/ f606 f503 1"/>
                  <a:gd name="f725" fmla="*/ f607 f502 1"/>
                  <a:gd name="f726" fmla="*/ f608 f503 1"/>
                  <a:gd name="f727" fmla="*/ f609 f502 1"/>
                  <a:gd name="f728" fmla="*/ f610 f503 1"/>
                  <a:gd name="f729" fmla="*/ f611 f502 1"/>
                  <a:gd name="f730" fmla="*/ f612 f502 1"/>
                  <a:gd name="f731" fmla="*/ f613 f503 1"/>
                  <a:gd name="f732" fmla="*/ f614 f502 1"/>
                  <a:gd name="f733" fmla="*/ f615 f502 1"/>
                  <a:gd name="f734" fmla="*/ f616 f503 1"/>
                  <a:gd name="f735" fmla="*/ f617 f502 1"/>
                  <a:gd name="f736" fmla="*/ f618 f503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23">
                    <a:pos x="f628" y="f629"/>
                  </a:cxn>
                  <a:cxn ang="f623">
                    <a:pos x="f630" y="f631"/>
                  </a:cxn>
                  <a:cxn ang="f623">
                    <a:pos x="f632" y="f633"/>
                  </a:cxn>
                  <a:cxn ang="f623">
                    <a:pos x="f634" y="f635"/>
                  </a:cxn>
                  <a:cxn ang="f623">
                    <a:pos x="f636" y="f637"/>
                  </a:cxn>
                  <a:cxn ang="f623">
                    <a:pos x="f638" y="f639"/>
                  </a:cxn>
                  <a:cxn ang="f623">
                    <a:pos x="f640" y="f641"/>
                  </a:cxn>
                  <a:cxn ang="f623">
                    <a:pos x="f642" y="f643"/>
                  </a:cxn>
                  <a:cxn ang="f623">
                    <a:pos x="f644" y="f645"/>
                  </a:cxn>
                  <a:cxn ang="f623">
                    <a:pos x="f646" y="f647"/>
                  </a:cxn>
                  <a:cxn ang="f623">
                    <a:pos x="f648" y="f647"/>
                  </a:cxn>
                  <a:cxn ang="f623">
                    <a:pos x="f649" y="f650"/>
                  </a:cxn>
                  <a:cxn ang="f623">
                    <a:pos x="f651" y="f652"/>
                  </a:cxn>
                  <a:cxn ang="f623">
                    <a:pos x="f653" y="f654"/>
                  </a:cxn>
                  <a:cxn ang="f623">
                    <a:pos x="f655" y="f656"/>
                  </a:cxn>
                  <a:cxn ang="f623">
                    <a:pos x="f657" y="f658"/>
                  </a:cxn>
                  <a:cxn ang="f623">
                    <a:pos x="f659" y="f660"/>
                  </a:cxn>
                  <a:cxn ang="f623">
                    <a:pos x="f661" y="f662"/>
                  </a:cxn>
                  <a:cxn ang="f623">
                    <a:pos x="f663" y="f664"/>
                  </a:cxn>
                  <a:cxn ang="f623">
                    <a:pos x="f665" y="f666"/>
                  </a:cxn>
                  <a:cxn ang="f623">
                    <a:pos x="f667" y="f666"/>
                  </a:cxn>
                  <a:cxn ang="f623">
                    <a:pos x="f668" y="f669"/>
                  </a:cxn>
                  <a:cxn ang="f623">
                    <a:pos x="f670" y="f671"/>
                  </a:cxn>
                  <a:cxn ang="f623">
                    <a:pos x="f672" y="f669"/>
                  </a:cxn>
                  <a:cxn ang="f623">
                    <a:pos x="f673" y="f674"/>
                  </a:cxn>
                  <a:cxn ang="f623">
                    <a:pos x="f675" y="f676"/>
                  </a:cxn>
                  <a:cxn ang="f623">
                    <a:pos x="f677" y="f678"/>
                  </a:cxn>
                  <a:cxn ang="f623">
                    <a:pos x="f679" y="f680"/>
                  </a:cxn>
                  <a:cxn ang="f623">
                    <a:pos x="f681" y="f682"/>
                  </a:cxn>
                  <a:cxn ang="f623">
                    <a:pos x="f683" y="f684"/>
                  </a:cxn>
                  <a:cxn ang="f623">
                    <a:pos x="f685" y="f686"/>
                  </a:cxn>
                  <a:cxn ang="f623">
                    <a:pos x="f687" y="f688"/>
                  </a:cxn>
                  <a:cxn ang="f623">
                    <a:pos x="f689" y="f690"/>
                  </a:cxn>
                  <a:cxn ang="f623">
                    <a:pos x="f691" y="f692"/>
                  </a:cxn>
                  <a:cxn ang="f623">
                    <a:pos x="f693" y="f694"/>
                  </a:cxn>
                  <a:cxn ang="f623">
                    <a:pos x="f695" y="f696"/>
                  </a:cxn>
                  <a:cxn ang="f623">
                    <a:pos x="f697" y="f698"/>
                  </a:cxn>
                  <a:cxn ang="f623">
                    <a:pos x="f699" y="f700"/>
                  </a:cxn>
                  <a:cxn ang="f623">
                    <a:pos x="f701" y="f702"/>
                  </a:cxn>
                  <a:cxn ang="f623">
                    <a:pos x="f703" y="f704"/>
                  </a:cxn>
                  <a:cxn ang="f623">
                    <a:pos x="f705" y="f706"/>
                  </a:cxn>
                  <a:cxn ang="f623">
                    <a:pos x="f707" y="f708"/>
                  </a:cxn>
                  <a:cxn ang="f623">
                    <a:pos x="f709" y="f710"/>
                  </a:cxn>
                  <a:cxn ang="f623">
                    <a:pos x="f707" y="f711"/>
                  </a:cxn>
                  <a:cxn ang="f623">
                    <a:pos x="f712" y="f713"/>
                  </a:cxn>
                  <a:cxn ang="f623">
                    <a:pos x="f714" y="f715"/>
                  </a:cxn>
                  <a:cxn ang="f623">
                    <a:pos x="f714" y="f716"/>
                  </a:cxn>
                  <a:cxn ang="f623">
                    <a:pos x="f717" y="f718"/>
                  </a:cxn>
                  <a:cxn ang="f623">
                    <a:pos x="f719" y="f720"/>
                  </a:cxn>
                  <a:cxn ang="f623">
                    <a:pos x="f721" y="f722"/>
                  </a:cxn>
                  <a:cxn ang="f623">
                    <a:pos x="f723" y="f724"/>
                  </a:cxn>
                  <a:cxn ang="f623">
                    <a:pos x="f725" y="f726"/>
                  </a:cxn>
                  <a:cxn ang="f623">
                    <a:pos x="f727" y="f728"/>
                  </a:cxn>
                  <a:cxn ang="f623">
                    <a:pos x="f729" y="f710"/>
                  </a:cxn>
                  <a:cxn ang="f623">
                    <a:pos x="f730" y="f731"/>
                  </a:cxn>
                  <a:cxn ang="f623">
                    <a:pos x="f732" y="f731"/>
                  </a:cxn>
                  <a:cxn ang="f623">
                    <a:pos x="f733" y="f734"/>
                  </a:cxn>
                  <a:cxn ang="f623">
                    <a:pos x="f735" y="f736"/>
                  </a:cxn>
                </a:cxnLst>
                <a:rect l="f624" t="f627" r="f625" b="f626"/>
                <a:pathLst>
                  <a:path w="904" h="905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6"/>
                    </a:lnTo>
                    <a:lnTo>
                      <a:pt x="f27" y="f28"/>
                    </a:lnTo>
                    <a:lnTo>
                      <a:pt x="f29" y="f26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34" y="f42"/>
                    </a:lnTo>
                    <a:lnTo>
                      <a:pt x="f32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51"/>
                    </a:lnTo>
                    <a:lnTo>
                      <a:pt x="f52" y="f53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58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65" y="f64"/>
                    </a:lnTo>
                    <a:lnTo>
                      <a:pt x="f66" y="f67"/>
                    </a:lnTo>
                    <a:lnTo>
                      <a:pt x="f68" y="f67"/>
                    </a:lnTo>
                    <a:lnTo>
                      <a:pt x="f40" y="f69"/>
                    </a:lnTo>
                    <a:lnTo>
                      <a:pt x="f70" y="f71"/>
                    </a:lnTo>
                    <a:lnTo>
                      <a:pt x="f70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6" y="f79"/>
                    </a:lnTo>
                    <a:lnTo>
                      <a:pt x="f6" y="f80"/>
                    </a:lnTo>
                    <a:lnTo>
                      <a:pt x="f77" y="f81"/>
                    </a:lnTo>
                    <a:lnTo>
                      <a:pt x="f82" y="f83"/>
                    </a:lnTo>
                    <a:lnTo>
                      <a:pt x="f84" y="f85"/>
                    </a:lnTo>
                    <a:lnTo>
                      <a:pt x="f70" y="f86"/>
                    </a:lnTo>
                    <a:lnTo>
                      <a:pt x="f34" y="f87"/>
                    </a:lnTo>
                    <a:lnTo>
                      <a:pt x="f52" y="f88"/>
                    </a:lnTo>
                    <a:lnTo>
                      <a:pt x="f25" y="f89"/>
                    </a:lnTo>
                    <a:lnTo>
                      <a:pt x="f90" y="f91"/>
                    </a:lnTo>
                    <a:lnTo>
                      <a:pt x="f92" y="f89"/>
                    </a:lnTo>
                    <a:lnTo>
                      <a:pt x="f93" y="f89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2" y="f116"/>
                    </a:lnTo>
                    <a:lnTo>
                      <a:pt x="f117" y="f118"/>
                    </a:lnTo>
                    <a:lnTo>
                      <a:pt x="f112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128" y="f125"/>
                    </a:lnTo>
                    <a:lnTo>
                      <a:pt x="f129" y="f123"/>
                    </a:lnTo>
                    <a:lnTo>
                      <a:pt x="f130" y="f121"/>
                    </a:lnTo>
                    <a:lnTo>
                      <a:pt x="f131" y="f132"/>
                    </a:lnTo>
                    <a:lnTo>
                      <a:pt x="f8" y="f121"/>
                    </a:lnTo>
                    <a:lnTo>
                      <a:pt x="f92" y="f125"/>
                    </a:lnTo>
                    <a:lnTo>
                      <a:pt x="f15" y="f133"/>
                    </a:ln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29" y="f140"/>
                    </a:lnTo>
                    <a:lnTo>
                      <a:pt x="f141" y="f142"/>
                    </a:lnTo>
                    <a:lnTo>
                      <a:pt x="f130" y="f143"/>
                    </a:lnTo>
                    <a:lnTo>
                      <a:pt x="f144" y="f145"/>
                    </a:lnTo>
                    <a:lnTo>
                      <a:pt x="f129" y="f146"/>
                    </a:ln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lnTo>
                      <a:pt x="f153" y="f154"/>
                    </a:lnTo>
                    <a:lnTo>
                      <a:pt x="f155" y="f154"/>
                    </a:lnTo>
                    <a:lnTo>
                      <a:pt x="f156" y="f157"/>
                    </a:lnTo>
                    <a:lnTo>
                      <a:pt x="f158" y="f157"/>
                    </a:lnTo>
                    <a:lnTo>
                      <a:pt x="f159" y="f160"/>
                    </a:lnTo>
                    <a:lnTo>
                      <a:pt x="f161" y="f162"/>
                    </a:lnTo>
                    <a:lnTo>
                      <a:pt x="f163" y="f164"/>
                    </a:lnTo>
                    <a:lnTo>
                      <a:pt x="f163" y="f165"/>
                    </a:lnTo>
                    <a:lnTo>
                      <a:pt x="f161" y="f166"/>
                    </a:lnTo>
                    <a:lnTo>
                      <a:pt x="f167" y="f168"/>
                    </a:lnTo>
                    <a:lnTo>
                      <a:pt x="f158" y="f169"/>
                    </a:lnTo>
                    <a:lnTo>
                      <a:pt x="f170" y="f171"/>
                    </a:lnTo>
                    <a:lnTo>
                      <a:pt x="f172" y="f173"/>
                    </a:lnTo>
                    <a:lnTo>
                      <a:pt x="f159" y="f174"/>
                    </a:lnTo>
                    <a:lnTo>
                      <a:pt x="f175" y="f176"/>
                    </a:lnTo>
                    <a:lnTo>
                      <a:pt x="f177" y="f176"/>
                    </a:lnTo>
                    <a:lnTo>
                      <a:pt x="f178" y="f179"/>
                    </a:lnTo>
                    <a:lnTo>
                      <a:pt x="f180" y="f181"/>
                    </a:lnTo>
                    <a:lnTo>
                      <a:pt x="f182" y="f183"/>
                    </a:lnTo>
                    <a:lnTo>
                      <a:pt x="f184" y="f174"/>
                    </a:lnTo>
                    <a:lnTo>
                      <a:pt x="f185" y="f186"/>
                    </a:lnTo>
                    <a:lnTo>
                      <a:pt x="f187" y="f188"/>
                    </a:lnTo>
                    <a:lnTo>
                      <a:pt x="f189" y="f190"/>
                    </a:lnTo>
                    <a:lnTo>
                      <a:pt x="f191" y="f192"/>
                    </a:lnTo>
                    <a:lnTo>
                      <a:pt x="f193" y="f194"/>
                    </a:lnTo>
                    <a:lnTo>
                      <a:pt x="f195" y="f196"/>
                    </a:lnTo>
                    <a:lnTo>
                      <a:pt x="f195" y="f197"/>
                    </a:lnTo>
                    <a:lnTo>
                      <a:pt x="f198" y="f198"/>
                    </a:lnTo>
                    <a:lnTo>
                      <a:pt x="f198" y="f199"/>
                    </a:lnTo>
                    <a:lnTo>
                      <a:pt x="f200" y="f201"/>
                    </a:lnTo>
                    <a:lnTo>
                      <a:pt x="f202" y="f203"/>
                    </a:lnTo>
                    <a:lnTo>
                      <a:pt x="f196" y="f204"/>
                    </a:lnTo>
                    <a:lnTo>
                      <a:pt x="f192" y="f205"/>
                    </a:lnTo>
                    <a:lnTo>
                      <a:pt x="f206" y="f207"/>
                    </a:lnTo>
                    <a:lnTo>
                      <a:pt x="f208" y="f159"/>
                    </a:lnTo>
                    <a:lnTo>
                      <a:pt x="f209" y="f167"/>
                    </a:lnTo>
                    <a:lnTo>
                      <a:pt x="f210" y="f158"/>
                    </a:lnTo>
                    <a:lnTo>
                      <a:pt x="f211" y="f212"/>
                    </a:lnTo>
                    <a:lnTo>
                      <a:pt x="f213" y="f214"/>
                    </a:lnTo>
                    <a:lnTo>
                      <a:pt x="f215" y="f108"/>
                    </a:lnTo>
                    <a:lnTo>
                      <a:pt x="f196" y="f120"/>
                    </a:lnTo>
                    <a:lnTo>
                      <a:pt x="f216" y="f124"/>
                    </a:lnTo>
                    <a:lnTo>
                      <a:pt x="f217" y="f218"/>
                    </a:lnTo>
                    <a:lnTo>
                      <a:pt x="f219" y="f220"/>
                    </a:lnTo>
                    <a:lnTo>
                      <a:pt x="f210" y="f221"/>
                    </a:lnTo>
                    <a:lnTo>
                      <a:pt x="f222" y="f134"/>
                    </a:lnTo>
                    <a:lnTo>
                      <a:pt x="f223" y="f224"/>
                    </a:lnTo>
                    <a:lnTo>
                      <a:pt x="f183" y="f225"/>
                    </a:lnTo>
                    <a:lnTo>
                      <a:pt x="f226" y="f227"/>
                    </a:lnTo>
                    <a:lnTo>
                      <a:pt x="f228" y="f229"/>
                    </a:lnTo>
                    <a:lnTo>
                      <a:pt x="f230" y="f227"/>
                    </a:lnTo>
                    <a:lnTo>
                      <a:pt x="f168" y="f231"/>
                    </a:lnTo>
                    <a:lnTo>
                      <a:pt x="f166" y="f232"/>
                    </a:lnTo>
                    <a:lnTo>
                      <a:pt x="f165" y="f233"/>
                    </a:lnTo>
                    <a:lnTo>
                      <a:pt x="f234" y="f235"/>
                    </a:lnTo>
                    <a:lnTo>
                      <a:pt x="f236" y="f237"/>
                    </a:lnTo>
                    <a:lnTo>
                      <a:pt x="f238" y="f229"/>
                    </a:lnTo>
                    <a:lnTo>
                      <a:pt x="f239" y="f227"/>
                    </a:lnTo>
                    <a:lnTo>
                      <a:pt x="f240" y="f241"/>
                    </a:lnTo>
                    <a:lnTo>
                      <a:pt x="f162" y="f242"/>
                    </a:lnTo>
                    <a:lnTo>
                      <a:pt x="f243" y="f244"/>
                    </a:lnTo>
                    <a:lnTo>
                      <a:pt x="f245" y="f46"/>
                    </a:lnTo>
                    <a:lnTo>
                      <a:pt x="f245" y="f246"/>
                    </a:lnTo>
                    <a:lnTo>
                      <a:pt x="f247" y="f54"/>
                    </a:lnTo>
                    <a:lnTo>
                      <a:pt x="f248" y="f249"/>
                    </a:lnTo>
                    <a:lnTo>
                      <a:pt x="f164" y="f250"/>
                    </a:lnTo>
                    <a:lnTo>
                      <a:pt x="f251" y="f70"/>
                    </a:lnTo>
                    <a:lnTo>
                      <a:pt x="f247" y="f252"/>
                    </a:lnTo>
                    <a:lnTo>
                      <a:pt x="f160" y="f253"/>
                    </a:lnTo>
                    <a:lnTo>
                      <a:pt x="f254" y="f252"/>
                    </a:lnTo>
                    <a:lnTo>
                      <a:pt x="f255" y="f38"/>
                    </a:lnTo>
                    <a:lnTo>
                      <a:pt x="f256" y="f68"/>
                    </a:lnTo>
                    <a:lnTo>
                      <a:pt x="f257" y="f65"/>
                    </a:lnTo>
                    <a:lnTo>
                      <a:pt x="f258" y="f61"/>
                    </a:lnTo>
                    <a:lnTo>
                      <a:pt x="f259" y="f56"/>
                    </a:lnTo>
                    <a:lnTo>
                      <a:pt x="f260" y="f58"/>
                    </a:lnTo>
                    <a:lnTo>
                      <a:pt x="f261" y="f61"/>
                    </a:lnTo>
                    <a:lnTo>
                      <a:pt x="f121" y="f249"/>
                    </a:lnTo>
                    <a:lnTo>
                      <a:pt x="f262" y="f249"/>
                    </a:lnTo>
                    <a:lnTo>
                      <a:pt x="f263" y="f56"/>
                    </a:lnTo>
                    <a:lnTo>
                      <a:pt x="f264" y="f265"/>
                    </a:lnTo>
                    <a:lnTo>
                      <a:pt x="f266" y="f246"/>
                    </a:lnTo>
                    <a:lnTo>
                      <a:pt x="f111" y="f50"/>
                    </a:lnTo>
                    <a:lnTo>
                      <a:pt x="f267" y="f44"/>
                    </a:lnTo>
                    <a:lnTo>
                      <a:pt x="f268" y="f48"/>
                    </a:lnTo>
                    <a:lnTo>
                      <a:pt x="f269" y="f270"/>
                    </a:lnTo>
                    <a:lnTo>
                      <a:pt x="f271" y="f272"/>
                    </a:lnTo>
                    <a:lnTo>
                      <a:pt x="f273" y="f235"/>
                    </a:lnTo>
                    <a:lnTo>
                      <a:pt x="f274" y="f275"/>
                    </a:lnTo>
                    <a:lnTo>
                      <a:pt x="f276" y="f275"/>
                    </a:lnTo>
                    <a:lnTo>
                      <a:pt x="f277" y="f233"/>
                    </a:lnTo>
                    <a:lnTo>
                      <a:pt x="f278" y="f279"/>
                    </a:lnTo>
                    <a:lnTo>
                      <a:pt x="f280" y="f281"/>
                    </a:lnTo>
                    <a:lnTo>
                      <a:pt x="f282" y="f232"/>
                    </a:lnTo>
                    <a:lnTo>
                      <a:pt x="f283" y="f231"/>
                    </a:lnTo>
                    <a:lnTo>
                      <a:pt x="f89" y="f227"/>
                    </a:lnTo>
                    <a:lnTo>
                      <a:pt x="f284" y="f225"/>
                    </a:lnTo>
                    <a:lnTo>
                      <a:pt x="f285" y="f15"/>
                    </a:lnTo>
                    <a:lnTo>
                      <a:pt x="f286" y="f225"/>
                    </a:lnTo>
                    <a:lnTo>
                      <a:pt x="f287" y="f17"/>
                    </a:lnTo>
                    <a:lnTo>
                      <a:pt x="f288" y="f281"/>
                    </a:lnTo>
                    <a:lnTo>
                      <a:pt x="f289" y="f25"/>
                    </a:lnTo>
                    <a:lnTo>
                      <a:pt x="f290" y="f44"/>
                    </a:lnTo>
                    <a:lnTo>
                      <a:pt x="f291" y="f249"/>
                    </a:lnTo>
                    <a:lnTo>
                      <a:pt x="f292" y="f82"/>
                    </a:lnTo>
                    <a:lnTo>
                      <a:pt x="f293" y="f7"/>
                    </a:lnTo>
                    <a:lnTo>
                      <a:pt x="f294" y="f7"/>
                    </a:lnTo>
                    <a:lnTo>
                      <a:pt x="f295" y="f296"/>
                    </a:lnTo>
                    <a:lnTo>
                      <a:pt x="f297" y="f298"/>
                    </a:lnTo>
                    <a:lnTo>
                      <a:pt x="f299" y="f75"/>
                    </a:lnTo>
                    <a:lnTo>
                      <a:pt x="f300" y="f298"/>
                    </a:lnTo>
                    <a:lnTo>
                      <a:pt x="f301" y="f298"/>
                    </a:lnTo>
                    <a:lnTo>
                      <a:pt x="f302" y="f253"/>
                    </a:lnTo>
                    <a:lnTo>
                      <a:pt x="f303" y="f40"/>
                    </a:lnTo>
                    <a:lnTo>
                      <a:pt x="f304" y="f66"/>
                    </a:lnTo>
                    <a:lnTo>
                      <a:pt x="f2" y="f305"/>
                    </a:lnTo>
                    <a:lnTo>
                      <a:pt x="f306" y="f46"/>
                    </a:lnTo>
                    <a:lnTo>
                      <a:pt x="f306" y="f272"/>
                    </a:lnTo>
                    <a:lnTo>
                      <a:pt x="f307" y="f308"/>
                    </a:lnTo>
                    <a:lnTo>
                      <a:pt x="f309" y="f310"/>
                    </a:lnTo>
                    <a:lnTo>
                      <a:pt x="f311" y="f312"/>
                    </a:lnTo>
                    <a:lnTo>
                      <a:pt x="f313" y="f312"/>
                    </a:lnTo>
                    <a:lnTo>
                      <a:pt x="f314" y="f279"/>
                    </a:lnTo>
                    <a:lnTo>
                      <a:pt x="f315" y="f241"/>
                    </a:lnTo>
                    <a:lnTo>
                      <a:pt x="f316" y="f11"/>
                    </a:lnTo>
                    <a:lnTo>
                      <a:pt x="f317" y="f318"/>
                    </a:lnTo>
                    <a:lnTo>
                      <a:pt x="f319" y="f129"/>
                    </a:lnTo>
                    <a:lnTo>
                      <a:pt x="f320" y="f321"/>
                    </a:lnTo>
                    <a:lnTo>
                      <a:pt x="f322" y="f218"/>
                    </a:lnTo>
                    <a:lnTo>
                      <a:pt x="f323" y="f128"/>
                    </a:lnTo>
                    <a:lnTo>
                      <a:pt x="f324" y="f126"/>
                    </a:lnTo>
                    <a:lnTo>
                      <a:pt x="f325" y="f149"/>
                    </a:lnTo>
                    <a:lnTo>
                      <a:pt x="f325" y="f151"/>
                    </a:lnTo>
                    <a:lnTo>
                      <a:pt x="f324" y="f114"/>
                    </a:lnTo>
                    <a:lnTo>
                      <a:pt x="f326" y="f327"/>
                    </a:lnTo>
                    <a:lnTo>
                      <a:pt x="f326" y="f328"/>
                    </a:lnTo>
                    <a:lnTo>
                      <a:pt x="f323" y="f329"/>
                    </a:lnTo>
                    <a:lnTo>
                      <a:pt x="f49" y="f330"/>
                    </a:lnTo>
                    <a:lnTo>
                      <a:pt x="f331" y="f159"/>
                    </a:lnTo>
                    <a:lnTo>
                      <a:pt x="f332" y="f175"/>
                    </a:lnTo>
                    <a:lnTo>
                      <a:pt x="f319" y="f333"/>
                    </a:lnTo>
                    <a:lnTo>
                      <a:pt x="f334" y="f335"/>
                    </a:lnTo>
                    <a:lnTo>
                      <a:pt x="f336" y="f178"/>
                    </a:lnTo>
                    <a:lnTo>
                      <a:pt x="f337" y="f204"/>
                    </a:lnTo>
                    <a:lnTo>
                      <a:pt x="f41" y="f203"/>
                    </a:lnTo>
                    <a:lnTo>
                      <a:pt x="f338" y="f184"/>
                    </a:lnTo>
                    <a:lnTo>
                      <a:pt x="f336" y="f193"/>
                    </a:lnTo>
                    <a:lnTo>
                      <a:pt x="f42" y="f339"/>
                    </a:lnTo>
                    <a:lnTo>
                      <a:pt x="f336" y="f217"/>
                    </a:lnTo>
                    <a:lnTo>
                      <a:pt x="f337" y="f340"/>
                    </a:lnTo>
                    <a:lnTo>
                      <a:pt x="f315" y="f341"/>
                    </a:lnTo>
                    <a:lnTo>
                      <a:pt x="f342" y="f206"/>
                    </a:lnTo>
                    <a:lnTo>
                      <a:pt x="f35" y="f341"/>
                    </a:lnTo>
                    <a:lnTo>
                      <a:pt x="f343" y="f340"/>
                    </a:lnTo>
                    <a:lnTo>
                      <a:pt x="f31" y="f340"/>
                    </a:lnTo>
                    <a:lnTo>
                      <a:pt x="f344" y="f345"/>
                    </a:lnTo>
                    <a:lnTo>
                      <a:pt x="f346" y="f190"/>
                    </a:lnTo>
                    <a:lnTo>
                      <a:pt x="f347" y="f188"/>
                    </a:lnTo>
                    <a:lnTo>
                      <a:pt x="f348" y="f349"/>
                    </a:lnTo>
                    <a:lnTo>
                      <a:pt x="f350" y="f351"/>
                    </a:lnTo>
                    <a:lnTo>
                      <a:pt x="f352" y="f353"/>
                    </a:lnTo>
                    <a:lnTo>
                      <a:pt x="f354" y="f355"/>
                    </a:lnTo>
                    <a:lnTo>
                      <a:pt x="f315" y="f169"/>
                    </a:lnTo>
                    <a:lnTo>
                      <a:pt x="f356" y="f357"/>
                    </a:lnTo>
                    <a:lnTo>
                      <a:pt x="f338" y="f358"/>
                    </a:lnTo>
                    <a:lnTo>
                      <a:pt x="f41" y="f359"/>
                    </a:lnTo>
                    <a:lnTo>
                      <a:pt x="f360" y="f361"/>
                    </a:lnTo>
                    <a:lnTo>
                      <a:pt x="f37" y="f362"/>
                    </a:lnTo>
                    <a:lnTo>
                      <a:pt x="f363" y="f364"/>
                    </a:lnTo>
                    <a:lnTo>
                      <a:pt x="f365" y="f366"/>
                    </a:lnTo>
                    <a:lnTo>
                      <a:pt x="f367" y="f366"/>
                    </a:lnTo>
                    <a:lnTo>
                      <a:pt x="f368" y="f369"/>
                    </a:lnTo>
                    <a:lnTo>
                      <a:pt x="f367" y="f370"/>
                    </a:lnTo>
                    <a:lnTo>
                      <a:pt x="f365" y="f371"/>
                    </a:lnTo>
                    <a:lnTo>
                      <a:pt x="f372" y="f373"/>
                    </a:lnTo>
                    <a:lnTo>
                      <a:pt x="f374" y="f164"/>
                    </a:lnTo>
                    <a:lnTo>
                      <a:pt x="f363" y="f248"/>
                    </a:lnTo>
                    <a:lnTo>
                      <a:pt x="f363" y="f162"/>
                    </a:lnTo>
                    <a:lnTo>
                      <a:pt x="f350" y="f375"/>
                    </a:lnTo>
                    <a:lnTo>
                      <a:pt x="f372" y="f148"/>
                    </a:lnTo>
                    <a:lnTo>
                      <a:pt x="f374" y="f376"/>
                    </a:lnTo>
                    <a:lnTo>
                      <a:pt x="f377" y="f378"/>
                    </a:lnTo>
                    <a:lnTo>
                      <a:pt x="f39" y="f379"/>
                    </a:lnTo>
                    <a:lnTo>
                      <a:pt x="f380" y="f260"/>
                    </a:lnTo>
                    <a:lnTo>
                      <a:pt x="f37" y="f381"/>
                    </a:lnTo>
                    <a:lnTo>
                      <a:pt x="f352" y="f382"/>
                    </a:lnTo>
                    <a:lnTo>
                      <a:pt x="f363" y="f383"/>
                    </a:lnTo>
                    <a:lnTo>
                      <a:pt x="f384" y="f385"/>
                    </a:lnTo>
                    <a:lnTo>
                      <a:pt x="f386" y="f387"/>
                    </a:lnTo>
                    <a:lnTo>
                      <a:pt x="f342" y="f388"/>
                    </a:lnTo>
                    <a:lnTo>
                      <a:pt x="f39" y="f389"/>
                    </a:lnTo>
                    <a:lnTo>
                      <a:pt x="f390" y="f391"/>
                    </a:lnTo>
                    <a:lnTo>
                      <a:pt x="f39" y="f392"/>
                    </a:lnTo>
                    <a:lnTo>
                      <a:pt x="f37" y="f115"/>
                    </a:lnTo>
                    <a:lnTo>
                      <a:pt x="f374" y="f264"/>
                    </a:lnTo>
                    <a:lnTo>
                      <a:pt x="f347" y="f113"/>
                    </a:lnTo>
                    <a:lnTo>
                      <a:pt x="f393" y="f394"/>
                    </a:lnTo>
                    <a:lnTo>
                      <a:pt x="f395" y="f396"/>
                    </a:lnTo>
                    <a:lnTo>
                      <a:pt x="f397" y="f105"/>
                    </a:lnTo>
                    <a:lnTo>
                      <a:pt x="f398" y="f101"/>
                    </a:lnTo>
                    <a:lnTo>
                      <a:pt x="f5" y="f99"/>
                    </a:lnTo>
                    <a:lnTo>
                      <a:pt x="f5" y="f399"/>
                    </a:lnTo>
                    <a:lnTo>
                      <a:pt x="f400" y="f97"/>
                    </a:lnTo>
                    <a:lnTo>
                      <a:pt x="f401" y="f402"/>
                    </a:lnTo>
                    <a:lnTo>
                      <a:pt x="f403" y="f404"/>
                    </a:lnTo>
                    <a:lnTo>
                      <a:pt x="f405" y="f406"/>
                    </a:lnTo>
                    <a:lnTo>
                      <a:pt x="f407" y="f408"/>
                    </a:lnTo>
                    <a:lnTo>
                      <a:pt x="f409" y="f293"/>
                    </a:lnTo>
                    <a:lnTo>
                      <a:pt x="f410" y="f411"/>
                    </a:lnTo>
                    <a:lnTo>
                      <a:pt x="f22" y="f412"/>
                    </a:lnTo>
                    <a:lnTo>
                      <a:pt x="f401" y="f413"/>
                    </a:lnTo>
                    <a:lnTo>
                      <a:pt x="f414" y="f415"/>
                    </a:lnTo>
                    <a:lnTo>
                      <a:pt x="f20" y="f416"/>
                    </a:lnTo>
                    <a:lnTo>
                      <a:pt x="f20" y="f417"/>
                    </a:lnTo>
                    <a:lnTo>
                      <a:pt x="f418" y="f309"/>
                    </a:lnTo>
                    <a:lnTo>
                      <a:pt x="f419" y="f311"/>
                    </a:lnTo>
                    <a:lnTo>
                      <a:pt x="f403" y="f420"/>
                    </a:lnTo>
                    <a:lnTo>
                      <a:pt x="f410" y="f323"/>
                    </a:lnTo>
                    <a:lnTo>
                      <a:pt x="f403" y="f421"/>
                    </a:lnTo>
                    <a:lnTo>
                      <a:pt x="f422" y="f45"/>
                    </a:lnTo>
                    <a:lnTo>
                      <a:pt x="f423" y="f314"/>
                    </a:lnTo>
                    <a:lnTo>
                      <a:pt x="f22" y="f41"/>
                    </a:lnTo>
                    <a:lnTo>
                      <a:pt x="f409" y="f424"/>
                    </a:lnTo>
                    <a:lnTo>
                      <a:pt x="f347" y="f425"/>
                    </a:lnTo>
                    <a:lnTo>
                      <a:pt x="f350" y="f426"/>
                    </a:lnTo>
                    <a:lnTo>
                      <a:pt x="f37" y="f332"/>
                    </a:lnTo>
                    <a:lnTo>
                      <a:pt x="f390" y="f427"/>
                    </a:lnTo>
                    <a:lnTo>
                      <a:pt x="f337" y="f428"/>
                    </a:lnTo>
                    <a:lnTo>
                      <a:pt x="f314" y="f326"/>
                    </a:lnTo>
                    <a:lnTo>
                      <a:pt x="f428" y="f322"/>
                    </a:lnTo>
                    <a:lnTo>
                      <a:pt x="f429" y="f430"/>
                    </a:lnTo>
                    <a:lnTo>
                      <a:pt x="f431" y="f47"/>
                    </a:lnTo>
                    <a:lnTo>
                      <a:pt x="f432" y="f433"/>
                    </a:lnTo>
                    <a:lnTo>
                      <a:pt x="f309" y="f434"/>
                    </a:lnTo>
                    <a:lnTo>
                      <a:pt x="f432" y="f43"/>
                    </a:lnTo>
                    <a:lnTo>
                      <a:pt x="f435" y="f316"/>
                    </a:lnTo>
                    <a:lnTo>
                      <a:pt x="f436" y="f437"/>
                    </a:lnTo>
                    <a:lnTo>
                      <a:pt x="f438" y="f377"/>
                    </a:lnTo>
                    <a:lnTo>
                      <a:pt x="f438" y="f352"/>
                    </a:lnTo>
                    <a:lnTo>
                      <a:pt x="f432" y="f384"/>
                    </a:lnTo>
                    <a:lnTo>
                      <a:pt x="f439" y="f350"/>
                    </a:lnTo>
                    <a:lnTo>
                      <a:pt x="f55" y="f440"/>
                    </a:lnTo>
                    <a:lnTo>
                      <a:pt x="f441" y="f343"/>
                    </a:lnTo>
                    <a:lnTo>
                      <a:pt x="f64" y="f442"/>
                    </a:lnTo>
                    <a:lnTo>
                      <a:pt x="f443" y="f348"/>
                    </a:lnTo>
                    <a:lnTo>
                      <a:pt x="f300" y="f368"/>
                    </a:lnTo>
                    <a:lnTo>
                      <a:pt x="f444" y="f346"/>
                    </a:lnTo>
                    <a:lnTo>
                      <a:pt x="f445" y="f28"/>
                    </a:lnTo>
                    <a:lnTo>
                      <a:pt x="f446" y="f407"/>
                    </a:lnTo>
                    <a:lnTo>
                      <a:pt x="f447" y="f28"/>
                    </a:lnTo>
                    <a:lnTo>
                      <a:pt x="f448" y="f346"/>
                    </a:lnTo>
                    <a:lnTo>
                      <a:pt x="f449" y="f368"/>
                    </a:lnTo>
                    <a:lnTo>
                      <a:pt x="f450" y="f365"/>
                    </a:lnTo>
                    <a:lnTo>
                      <a:pt x="f451" y="f33"/>
                    </a:lnTo>
                    <a:lnTo>
                      <a:pt x="f452" y="f343"/>
                    </a:lnTo>
                    <a:lnTo>
                      <a:pt x="f453" y="f365"/>
                    </a:lnTo>
                    <a:lnTo>
                      <a:pt x="f454" y="f343"/>
                    </a:lnTo>
                    <a:lnTo>
                      <a:pt x="f455" y="f350"/>
                    </a:lnTo>
                    <a:lnTo>
                      <a:pt x="f85" y="f354"/>
                    </a:lnTo>
                    <a:lnTo>
                      <a:pt x="f456" y="f360"/>
                    </a:lnTo>
                    <a:lnTo>
                      <a:pt x="f89" y="f457"/>
                    </a:lnTo>
                    <a:lnTo>
                      <a:pt x="f97" y="f356"/>
                    </a:lnTo>
                    <a:lnTo>
                      <a:pt x="f458" y="f337"/>
                    </a:lnTo>
                    <a:lnTo>
                      <a:pt x="f273" y="f459"/>
                    </a:lnTo>
                    <a:lnTo>
                      <a:pt x="f460" y="f424"/>
                    </a:lnTo>
                    <a:lnTo>
                      <a:pt x="f269" y="f461"/>
                    </a:lnTo>
                    <a:lnTo>
                      <a:pt x="f462" y="f317"/>
                    </a:lnTo>
                    <a:lnTo>
                      <a:pt x="f463" y="f317"/>
                    </a:lnTo>
                    <a:lnTo>
                      <a:pt x="f464" y="f425"/>
                    </a:lnTo>
                    <a:lnTo>
                      <a:pt x="f465" y="f434"/>
                    </a:lnTo>
                    <a:lnTo>
                      <a:pt x="f264" y="f320"/>
                    </a:lnTo>
                    <a:lnTo>
                      <a:pt x="f264" y="f427"/>
                    </a:lnTo>
                    <a:lnTo>
                      <a:pt x="f466" y="f467"/>
                    </a:lnTo>
                    <a:lnTo>
                      <a:pt x="f465" y="f429"/>
                    </a:lnTo>
                    <a:lnTo>
                      <a:pt x="f468" y="f435"/>
                    </a:lnTo>
                    <a:lnTo>
                      <a:pt x="f466" y="f2"/>
                    </a:lnTo>
                    <a:lnTo>
                      <a:pt x="f469" y="f303"/>
                    </a:lnTo>
                    <a:lnTo>
                      <a:pt x="f392" y="f470"/>
                    </a:lnTo>
                    <a:lnTo>
                      <a:pt x="f471" y="f472"/>
                    </a:lnTo>
                    <a:lnTo>
                      <a:pt x="f119" y="f472"/>
                    </a:lnTo>
                    <a:lnTo>
                      <a:pt x="f473" y="f474"/>
                    </a:lnTo>
                    <a:lnTo>
                      <a:pt x="f475" y="f470"/>
                    </a:lnTo>
                    <a:lnTo>
                      <a:pt x="f379" y="f470"/>
                    </a:lnTo>
                    <a:lnTo>
                      <a:pt x="f258" y="f474"/>
                    </a:lnTo>
                    <a:lnTo>
                      <a:pt x="f476" y="f477"/>
                    </a:lnTo>
                    <a:lnTo>
                      <a:pt x="f478" y="f472"/>
                    </a:lnTo>
                    <a:lnTo>
                      <a:pt x="f479" y="f57"/>
                    </a:lnTo>
                    <a:lnTo>
                      <a:pt x="f257" y="f441"/>
                    </a:lnTo>
                    <a:lnTo>
                      <a:pt x="f378" y="f415"/>
                    </a:lnTo>
                    <a:lnTo>
                      <a:pt x="f378" y="f480"/>
                    </a:lnTo>
                    <a:lnTo>
                      <a:pt x="f481" y="f301"/>
                    </a:lnTo>
                    <a:lnTo>
                      <a:pt x="f482" y="f60"/>
                    </a:lnTo>
                    <a:lnTo>
                      <a:pt x="f483" y="f60"/>
                    </a:lnTo>
                    <a:lnTo>
                      <a:pt x="f145" y="f484"/>
                    </a:lnTo>
                    <a:lnTo>
                      <a:pt x="f485" y="f486"/>
                    </a:lnTo>
                    <a:lnTo>
                      <a:pt x="f487" y="f488"/>
                    </a:lnTo>
                    <a:lnTo>
                      <a:pt x="f160" y="f416"/>
                    </a:lnTo>
                    <a:lnTo>
                      <a:pt x="f162" y="f416"/>
                    </a:lnTo>
                    <a:lnTo>
                      <a:pt x="f240" y="f489"/>
                    </a:lnTo>
                    <a:lnTo>
                      <a:pt x="f248" y="f470"/>
                    </a:lnTo>
                    <a:lnTo>
                      <a:pt x="f239" y="f474"/>
                    </a:lnTo>
                    <a:lnTo>
                      <a:pt x="f238" y="f474"/>
                    </a:lnTo>
                    <a:lnTo>
                      <a:pt x="f236" y="f488"/>
                    </a:lnTo>
                    <a:lnTo>
                      <a:pt x="f490" y="f491"/>
                    </a:lnTo>
                    <a:lnTo>
                      <a:pt x="f166" y="f492"/>
                    </a:lnTo>
                    <a:lnTo>
                      <a:pt x="f357" y="f309"/>
                    </a:lnTo>
                    <a:lnTo>
                      <a:pt x="f353" y="f493"/>
                    </a:lnTo>
                    <a:lnTo>
                      <a:pt x="f494" y="f324"/>
                    </a:lnTo>
                    <a:lnTo>
                      <a:pt x="f223" y="f428"/>
                    </a:lnTo>
                    <a:lnTo>
                      <a:pt x="f495" y="f322"/>
                    </a:lnTo>
                    <a:lnTo>
                      <a:pt x="f219" y="f430"/>
                    </a:lnTo>
                    <a:lnTo>
                      <a:pt x="f196" y="f313"/>
                    </a:lnTo>
                    <a:lnTo>
                      <a:pt x="f191" y="f496"/>
                    </a:lnTo>
                    <a:lnTo>
                      <a:pt x="f497" y="f336"/>
                    </a:lnTo>
                    <a:lnTo>
                      <a:pt x="f333" y="f437"/>
                    </a:lnTo>
                    <a:lnTo>
                      <a:pt x="f207" y="f377"/>
                    </a:lnTo>
                    <a:lnTo>
                      <a:pt x="f498" y="f499"/>
                    </a:lnTo>
                    <a:lnTo>
                      <a:pt x="f106" y="f31"/>
                    </a:lnTo>
                    <a:lnTo>
                      <a:pt x="f153" y="f409"/>
                    </a:lnTo>
                    <a:lnTo>
                      <a:pt x="f500" y="f395"/>
                    </a:lnTo>
                    <a:lnTo>
                      <a:pt x="f138" y="f14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94" name="Freeform 14">
                <a:extLst>
                  <a:ext uri="{FF2B5EF4-FFF2-40B4-BE49-F238E27FC236}">
                    <a16:creationId xmlns:a16="http://schemas.microsoft.com/office/drawing/2014/main" id="{C0B6FC2F-1E1F-4938-B43E-4053EB2A4BC0}"/>
                  </a:ext>
                </a:extLst>
              </p:cNvPr>
              <p:cNvSpPr/>
              <p:nvPr/>
            </p:nvSpPr>
            <p:spPr>
              <a:xfrm>
                <a:off x="3981773" y="1741566"/>
                <a:ext cx="173041" cy="171001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796"/>
                  <a:gd name="f8" fmla="val 880"/>
                  <a:gd name="f9" fmla="val 467"/>
                  <a:gd name="f10" fmla="val 476"/>
                  <a:gd name="f11" fmla="val 1"/>
                  <a:gd name="f12" fmla="val 486"/>
                  <a:gd name="f13" fmla="val 7"/>
                  <a:gd name="f14" fmla="val 496"/>
                  <a:gd name="f15" fmla="val 16"/>
                  <a:gd name="f16" fmla="val 505"/>
                  <a:gd name="f17" fmla="val 27"/>
                  <a:gd name="f18" fmla="val 513"/>
                  <a:gd name="f19" fmla="val 36"/>
                  <a:gd name="f20" fmla="val 518"/>
                  <a:gd name="f21" fmla="val 46"/>
                  <a:gd name="f22" fmla="val 523"/>
                  <a:gd name="f23" fmla="val 57"/>
                  <a:gd name="f24" fmla="val 524"/>
                  <a:gd name="f25" fmla="val 70"/>
                  <a:gd name="f26" fmla="val 94"/>
                  <a:gd name="f27" fmla="val 102"/>
                  <a:gd name="f28" fmla="val 526"/>
                  <a:gd name="f29" fmla="val 105"/>
                  <a:gd name="f30" fmla="val 533"/>
                  <a:gd name="f31" fmla="val 109"/>
                  <a:gd name="f32" fmla="val 545"/>
                  <a:gd name="f33" fmla="val 115"/>
                  <a:gd name="f34" fmla="val 558"/>
                  <a:gd name="f35" fmla="val 120"/>
                  <a:gd name="f36" fmla="val 573"/>
                  <a:gd name="f37" fmla="val 126"/>
                  <a:gd name="f38" fmla="val 587"/>
                  <a:gd name="f39" fmla="val 131"/>
                  <a:gd name="f40" fmla="val 599"/>
                  <a:gd name="f41" fmla="val 137"/>
                  <a:gd name="f42" fmla="val 607"/>
                  <a:gd name="f43" fmla="val 143"/>
                  <a:gd name="f44" fmla="val 612"/>
                  <a:gd name="f45" fmla="val 148"/>
                  <a:gd name="f46" fmla="val 617"/>
                  <a:gd name="f47" fmla="val 153"/>
                  <a:gd name="f48" fmla="val 625"/>
                  <a:gd name="f49" fmla="val 157"/>
                  <a:gd name="f50" fmla="val 635"/>
                  <a:gd name="f51" fmla="val 158"/>
                  <a:gd name="f52" fmla="val 645"/>
                  <a:gd name="f53" fmla="val 655"/>
                  <a:gd name="f54" fmla="val 661"/>
                  <a:gd name="f55" fmla="val 671"/>
                  <a:gd name="f56" fmla="val 156"/>
                  <a:gd name="f57" fmla="val 681"/>
                  <a:gd name="f58" fmla="val 152"/>
                  <a:gd name="f59" fmla="val 690"/>
                  <a:gd name="f60" fmla="val 151"/>
                  <a:gd name="f61" fmla="val 703"/>
                  <a:gd name="f62" fmla="val 155"/>
                  <a:gd name="f63" fmla="val 718"/>
                  <a:gd name="f64" fmla="val 161"/>
                  <a:gd name="f65" fmla="val 722"/>
                  <a:gd name="f66" fmla="val 164"/>
                  <a:gd name="f67" fmla="val 723"/>
                  <a:gd name="f68" fmla="val 167"/>
                  <a:gd name="f69" fmla="val 724"/>
                  <a:gd name="f70" fmla="val 172"/>
                  <a:gd name="f71" fmla="val 725"/>
                  <a:gd name="f72" fmla="val 177"/>
                  <a:gd name="f73" fmla="val 729"/>
                  <a:gd name="f74" fmla="val 184"/>
                  <a:gd name="f75" fmla="val 734"/>
                  <a:gd name="f76" fmla="val 192"/>
                  <a:gd name="f77" fmla="val 739"/>
                  <a:gd name="f78" fmla="val 198"/>
                  <a:gd name="f79" fmla="val 745"/>
                  <a:gd name="f80" fmla="val 199"/>
                  <a:gd name="f81" fmla="val 749"/>
                  <a:gd name="f82" fmla="val 196"/>
                  <a:gd name="f83" fmla="val 753"/>
                  <a:gd name="f84" fmla="val 764"/>
                  <a:gd name="f85" fmla="val 186"/>
                  <a:gd name="f86" fmla="val 771"/>
                  <a:gd name="f87" fmla="val 187"/>
                  <a:gd name="f88" fmla="val 784"/>
                  <a:gd name="f89" fmla="val 195"/>
                  <a:gd name="f90" fmla="val 793"/>
                  <a:gd name="f91" fmla="val 206"/>
                  <a:gd name="f92" fmla="val 216"/>
                  <a:gd name="f93" fmla="val 222"/>
                  <a:gd name="f94" fmla="val 231"/>
                  <a:gd name="f95" fmla="val 775"/>
                  <a:gd name="f96" fmla="val 238"/>
                  <a:gd name="f97" fmla="val 766"/>
                  <a:gd name="f98" fmla="val 247"/>
                  <a:gd name="f99" fmla="val 761"/>
                  <a:gd name="f100" fmla="val 255"/>
                  <a:gd name="f101" fmla="val 261"/>
                  <a:gd name="f102" fmla="val 765"/>
                  <a:gd name="f103" fmla="val 265"/>
                  <a:gd name="f104" fmla="val 778"/>
                  <a:gd name="f105" fmla="val 276"/>
                  <a:gd name="f106" fmla="val 781"/>
                  <a:gd name="f107" fmla="val 283"/>
                  <a:gd name="f108" fmla="val 780"/>
                  <a:gd name="f109" fmla="val 287"/>
                  <a:gd name="f110" fmla="val 776"/>
                  <a:gd name="f111" fmla="val 289"/>
                  <a:gd name="f112" fmla="val 763"/>
                  <a:gd name="f113" fmla="val 291"/>
                  <a:gd name="f114" fmla="val 757"/>
                  <a:gd name="f115" fmla="val 293"/>
                  <a:gd name="f116" fmla="val 296"/>
                  <a:gd name="f117" fmla="val 752"/>
                  <a:gd name="f118" fmla="val 302"/>
                  <a:gd name="f119" fmla="val 318"/>
                  <a:gd name="f120" fmla="val 750"/>
                  <a:gd name="f121" fmla="val 333"/>
                  <a:gd name="f122" fmla="val 746"/>
                  <a:gd name="f123" fmla="val 345"/>
                  <a:gd name="f124" fmla="val 743"/>
                  <a:gd name="f125" fmla="val 348"/>
                  <a:gd name="f126" fmla="val 738"/>
                  <a:gd name="f127" fmla="val 728"/>
                  <a:gd name="f128" fmla="val 346"/>
                  <a:gd name="f129" fmla="val 347"/>
                  <a:gd name="f130" fmla="val 720"/>
                  <a:gd name="f131" fmla="val 350"/>
                  <a:gd name="f132" fmla="val 717"/>
                  <a:gd name="f133" fmla="val 714"/>
                  <a:gd name="f134" fmla="val 367"/>
                  <a:gd name="f135" fmla="val 713"/>
                  <a:gd name="f136" fmla="val 374"/>
                  <a:gd name="f137" fmla="val 715"/>
                  <a:gd name="f138" fmla="val 378"/>
                  <a:gd name="f139" fmla="val 388"/>
                  <a:gd name="f140" fmla="val 727"/>
                  <a:gd name="f141" fmla="val 392"/>
                  <a:gd name="f142" fmla="val 401"/>
                  <a:gd name="f143" fmla="val 412"/>
                  <a:gd name="f144" fmla="val 719"/>
                  <a:gd name="f145" fmla="val 425"/>
                  <a:gd name="f146" fmla="val 438"/>
                  <a:gd name="f147" fmla="val 447"/>
                  <a:gd name="f148" fmla="val 689"/>
                  <a:gd name="f149" fmla="val 472"/>
                  <a:gd name="f150" fmla="val 683"/>
                  <a:gd name="f151" fmla="val 480"/>
                  <a:gd name="f152" fmla="val 680"/>
                  <a:gd name="f153" fmla="val 488"/>
                  <a:gd name="f154" fmla="val 492"/>
                  <a:gd name="f155" fmla="val 686"/>
                  <a:gd name="f156" fmla="val 494"/>
                  <a:gd name="f157" fmla="val 691"/>
                  <a:gd name="f158" fmla="val 493"/>
                  <a:gd name="f159" fmla="val 704"/>
                  <a:gd name="f160" fmla="val 491"/>
                  <a:gd name="f161" fmla="val 708"/>
                  <a:gd name="f162" fmla="val 710"/>
                  <a:gd name="f163" fmla="val 709"/>
                  <a:gd name="f164" fmla="val 502"/>
                  <a:gd name="f165" fmla="val 706"/>
                  <a:gd name="f166" fmla="val 702"/>
                  <a:gd name="f167" fmla="val 696"/>
                  <a:gd name="f168" fmla="val 536"/>
                  <a:gd name="f169" fmla="val 547"/>
                  <a:gd name="f170" fmla="val 688"/>
                  <a:gd name="f171" fmla="val 555"/>
                  <a:gd name="f172" fmla="val 684"/>
                  <a:gd name="f173" fmla="val 559"/>
                  <a:gd name="f174" fmla="val 677"/>
                  <a:gd name="f175" fmla="val 561"/>
                  <a:gd name="f176" fmla="val 665"/>
                  <a:gd name="f177" fmla="val 562"/>
                  <a:gd name="f178" fmla="val 564"/>
                  <a:gd name="f179" fmla="val 658"/>
                  <a:gd name="f180" fmla="val 572"/>
                  <a:gd name="f181" fmla="val 654"/>
                  <a:gd name="f182" fmla="val 582"/>
                  <a:gd name="f183" fmla="val 649"/>
                  <a:gd name="f184" fmla="val 594"/>
                  <a:gd name="f185" fmla="val 604"/>
                  <a:gd name="f186" fmla="val 640"/>
                  <a:gd name="f187" fmla="val 608"/>
                  <a:gd name="f188" fmla="val 634"/>
                  <a:gd name="f189" fmla="val 609"/>
                  <a:gd name="f190" fmla="val 628"/>
                  <a:gd name="f191" fmla="val 622"/>
                  <a:gd name="f192" fmla="val 611"/>
                  <a:gd name="f193" fmla="val 619"/>
                  <a:gd name="f194" fmla="val 630"/>
                  <a:gd name="f195" fmla="val 606"/>
                  <a:gd name="f196" fmla="val 662"/>
                  <a:gd name="f197" fmla="val 673"/>
                  <a:gd name="f198" fmla="val 620"/>
                  <a:gd name="f199" fmla="val 632"/>
                  <a:gd name="f200" fmla="val 693"/>
                  <a:gd name="f201" fmla="val 643"/>
                  <a:gd name="f202" fmla="val 652"/>
                  <a:gd name="f203" fmla="val 642"/>
                  <a:gd name="f204" fmla="val 639"/>
                  <a:gd name="f205" fmla="val 636"/>
                  <a:gd name="f206" fmla="val 621"/>
                  <a:gd name="f207" fmla="val 721"/>
                  <a:gd name="f208" fmla="val 615"/>
                  <a:gd name="f209" fmla="val 737"/>
                  <a:gd name="f210" fmla="val 601"/>
                  <a:gd name="f211" fmla="val 591"/>
                  <a:gd name="f212" fmla="val 751"/>
                  <a:gd name="f213" fmla="val 581"/>
                  <a:gd name="f214" fmla="val 758"/>
                  <a:gd name="f215" fmla="val 569"/>
                  <a:gd name="f216" fmla="val 560"/>
                  <a:gd name="f217" fmla="val 768"/>
                  <a:gd name="f218" fmla="val 772"/>
                  <a:gd name="f219" fmla="val 551"/>
                  <a:gd name="f220" fmla="val 774"/>
                  <a:gd name="f221" fmla="val 543"/>
                  <a:gd name="f222" fmla="val 786"/>
                  <a:gd name="f223" fmla="val 791"/>
                  <a:gd name="f224" fmla="val 501"/>
                  <a:gd name="f225" fmla="val 797"/>
                  <a:gd name="f226" fmla="val 497"/>
                  <a:gd name="f227" fmla="val 809"/>
                  <a:gd name="f228" fmla="val 819"/>
                  <a:gd name="f229" fmla="val 483"/>
                  <a:gd name="f230" fmla="val 825"/>
                  <a:gd name="f231" fmla="val 829"/>
                  <a:gd name="f232" fmla="val 465"/>
                  <a:gd name="f233" fmla="val 830"/>
                  <a:gd name="f234" fmla="val 460"/>
                  <a:gd name="f235" fmla="val 454"/>
                  <a:gd name="f236" fmla="val 824"/>
                  <a:gd name="f237" fmla="val 449"/>
                  <a:gd name="f238" fmla="val 823"/>
                  <a:gd name="f239" fmla="val 444"/>
                  <a:gd name="f240" fmla="val 440"/>
                  <a:gd name="f241" fmla="val 833"/>
                  <a:gd name="f242" fmla="val 439"/>
                  <a:gd name="f243" fmla="val 837"/>
                  <a:gd name="f244" fmla="val 436"/>
                  <a:gd name="f245" fmla="val 842"/>
                  <a:gd name="f246" fmla="val 429"/>
                  <a:gd name="f247" fmla="val 844"/>
                  <a:gd name="f248" fmla="val 422"/>
                  <a:gd name="f249" fmla="val 413"/>
                  <a:gd name="f250" fmla="val 843"/>
                  <a:gd name="f251" fmla="val 406"/>
                  <a:gd name="f252" fmla="val 400"/>
                  <a:gd name="f253" fmla="val 838"/>
                  <a:gd name="f254" fmla="val 396"/>
                  <a:gd name="f255" fmla="val 832"/>
                  <a:gd name="f256" fmla="val 385"/>
                  <a:gd name="f257" fmla="val 816"/>
                  <a:gd name="f258" fmla="val 808"/>
                  <a:gd name="f259" fmla="val 368"/>
                  <a:gd name="f260" fmla="val 804"/>
                  <a:gd name="f261" fmla="val 356"/>
                  <a:gd name="f262" fmla="val 805"/>
                  <a:gd name="f263" fmla="val 343"/>
                  <a:gd name="f264" fmla="val 322"/>
                  <a:gd name="f265" fmla="val 827"/>
                  <a:gd name="f266" fmla="val 312"/>
                  <a:gd name="f267" fmla="val 835"/>
                  <a:gd name="f268" fmla="val 306"/>
                  <a:gd name="f269" fmla="val 840"/>
                  <a:gd name="f270" fmla="val 300"/>
                  <a:gd name="f271" fmla="val 292"/>
                  <a:gd name="f272" fmla="val 282"/>
                  <a:gd name="f273" fmla="val 839"/>
                  <a:gd name="f274" fmla="val 270"/>
                  <a:gd name="f275" fmla="val 847"/>
                  <a:gd name="f276" fmla="val 259"/>
                  <a:gd name="f277" fmla="val 850"/>
                  <a:gd name="f278" fmla="val 254"/>
                  <a:gd name="f279" fmla="val 251"/>
                  <a:gd name="f280" fmla="val 249"/>
                  <a:gd name="f281" fmla="val 245"/>
                  <a:gd name="f282" fmla="val 230"/>
                  <a:gd name="f283" fmla="val 219"/>
                  <a:gd name="f284" fmla="val 197"/>
                  <a:gd name="f285" fmla="val 846"/>
                  <a:gd name="f286" fmla="val 189"/>
                  <a:gd name="f287" fmla="val 849"/>
                  <a:gd name="f288" fmla="val 854"/>
                  <a:gd name="f289" fmla="val 185"/>
                  <a:gd name="f290" fmla="val 862"/>
                  <a:gd name="f291" fmla="val 182"/>
                  <a:gd name="f292" fmla="val 868"/>
                  <a:gd name="f293" fmla="val 179"/>
                  <a:gd name="f294" fmla="val 874"/>
                  <a:gd name="f295" fmla="val 175"/>
                  <a:gd name="f296" fmla="val 878"/>
                  <a:gd name="f297" fmla="val 159"/>
                  <a:gd name="f298" fmla="val 879"/>
                  <a:gd name="f299" fmla="val 877"/>
                  <a:gd name="f300" fmla="val 149"/>
                  <a:gd name="f301" fmla="val 133"/>
                  <a:gd name="f302" fmla="val 861"/>
                  <a:gd name="f303" fmla="val 129"/>
                  <a:gd name="f304" fmla="val 858"/>
                  <a:gd name="f305" fmla="val 856"/>
                  <a:gd name="f306" fmla="val 122"/>
                  <a:gd name="f307" fmla="val 119"/>
                  <a:gd name="f308" fmla="val 121"/>
                  <a:gd name="f309" fmla="val 123"/>
                  <a:gd name="f310" fmla="val 834"/>
                  <a:gd name="f311" fmla="val 125"/>
                  <a:gd name="f312" fmla="val 828"/>
                  <a:gd name="f313" fmla="val 822"/>
                  <a:gd name="f314" fmla="val 817"/>
                  <a:gd name="f315" fmla="val 116"/>
                  <a:gd name="f316" fmla="val 806"/>
                  <a:gd name="f317" fmla="val 117"/>
                  <a:gd name="f318" fmla="val 801"/>
                  <a:gd name="f319" fmla="val 754"/>
                  <a:gd name="f320" fmla="val 127"/>
                  <a:gd name="f321" fmla="val 134"/>
                  <a:gd name="f322" fmla="val 742"/>
                  <a:gd name="f323" fmla="val 141"/>
                  <a:gd name="f324" fmla="val 150"/>
                  <a:gd name="f325" fmla="val 145"/>
                  <a:gd name="f326" fmla="val 146"/>
                  <a:gd name="f327" fmla="val 699"/>
                  <a:gd name="f328" fmla="val 666"/>
                  <a:gd name="f329" fmla="val 162"/>
                  <a:gd name="f330" fmla="val 166"/>
                  <a:gd name="f331" fmla="val 624"/>
                  <a:gd name="f332" fmla="val 170"/>
                  <a:gd name="f333" fmla="val 623"/>
                  <a:gd name="f334" fmla="val 173"/>
                  <a:gd name="f335" fmla="val 176"/>
                  <a:gd name="f336" fmla="val 191"/>
                  <a:gd name="f337" fmla="val 193"/>
                  <a:gd name="f338" fmla="val 577"/>
                  <a:gd name="f339" fmla="val 570"/>
                  <a:gd name="f340" fmla="val 174"/>
                  <a:gd name="f341" fmla="val 566"/>
                  <a:gd name="f342" fmla="val 563"/>
                  <a:gd name="f343" fmla="val 147"/>
                  <a:gd name="f344" fmla="val 553"/>
                  <a:gd name="f345" fmla="val 144"/>
                  <a:gd name="f346" fmla="val 550"/>
                  <a:gd name="f347" fmla="val 549"/>
                  <a:gd name="f348" fmla="val 135"/>
                  <a:gd name="f349" fmla="val 557"/>
                  <a:gd name="f350" fmla="val 114"/>
                  <a:gd name="f351" fmla="val 82"/>
                  <a:gd name="f352" fmla="val 61"/>
                  <a:gd name="f353" fmla="val 58"/>
                  <a:gd name="f354" fmla="val 535"/>
                  <a:gd name="f355" fmla="val 527"/>
                  <a:gd name="f356" fmla="val 69"/>
                  <a:gd name="f357" fmla="val 519"/>
                  <a:gd name="f358" fmla="val 78"/>
                  <a:gd name="f359" fmla="val 512"/>
                  <a:gd name="f360" fmla="val 86"/>
                  <a:gd name="f361" fmla="val 503"/>
                  <a:gd name="f362" fmla="val 90"/>
                  <a:gd name="f363" fmla="val 91"/>
                  <a:gd name="f364" fmla="val 457"/>
                  <a:gd name="f365" fmla="val 92"/>
                  <a:gd name="f366" fmla="val 96"/>
                  <a:gd name="f367" fmla="val 101"/>
                  <a:gd name="f368" fmla="val 446"/>
                  <a:gd name="f369" fmla="val 445"/>
                  <a:gd name="f370" fmla="val 441"/>
                  <a:gd name="f371" fmla="val 434"/>
                  <a:gd name="f372" fmla="val 427"/>
                  <a:gd name="f373" fmla="val 419"/>
                  <a:gd name="f374" fmla="val 407"/>
                  <a:gd name="f375" fmla="val 408"/>
                  <a:gd name="f376" fmla="val 410"/>
                  <a:gd name="f377" fmla="val 403"/>
                  <a:gd name="f378" fmla="val 393"/>
                  <a:gd name="f379" fmla="val 386"/>
                  <a:gd name="f380" fmla="val 142"/>
                  <a:gd name="f381" fmla="val 379"/>
                  <a:gd name="f382" fmla="val 375"/>
                  <a:gd name="f383" fmla="val 373"/>
                  <a:gd name="f384" fmla="val 371"/>
                  <a:gd name="f385" fmla="val 370"/>
                  <a:gd name="f386" fmla="val 372"/>
                  <a:gd name="f387" fmla="val 377"/>
                  <a:gd name="f388" fmla="val 384"/>
                  <a:gd name="f389" fmla="val 399"/>
                  <a:gd name="f390" fmla="val 88"/>
                  <a:gd name="f391" fmla="val 404"/>
                  <a:gd name="f392" fmla="val 63"/>
                  <a:gd name="f393" fmla="val 48"/>
                  <a:gd name="f394" fmla="val 405"/>
                  <a:gd name="f395" fmla="val 39"/>
                  <a:gd name="f396" fmla="val 37"/>
                  <a:gd name="f397" fmla="val 34"/>
                  <a:gd name="f398" fmla="val 33"/>
                  <a:gd name="f399" fmla="val 394"/>
                  <a:gd name="f400" fmla="val 32"/>
                  <a:gd name="f401" fmla="val 391"/>
                  <a:gd name="f402" fmla="val 30"/>
                  <a:gd name="f403" fmla="val 389"/>
                  <a:gd name="f404" fmla="val 26"/>
                  <a:gd name="f405" fmla="val 20"/>
                  <a:gd name="f406" fmla="val 8"/>
                  <a:gd name="f407" fmla="val 395"/>
                  <a:gd name="f408" fmla="val 2"/>
                  <a:gd name="f409" fmla="val 6"/>
                  <a:gd name="f410" fmla="val 13"/>
                  <a:gd name="f411" fmla="val 358"/>
                  <a:gd name="f412" fmla="val 18"/>
                  <a:gd name="f413" fmla="val 24"/>
                  <a:gd name="f414" fmla="val 336"/>
                  <a:gd name="f415" fmla="val 332"/>
                  <a:gd name="f416" fmla="val 41"/>
                  <a:gd name="f417" fmla="val 328"/>
                  <a:gd name="f418" fmla="val 53"/>
                  <a:gd name="f419" fmla="val 326"/>
                  <a:gd name="f420" fmla="val 67"/>
                  <a:gd name="f421" fmla="val 98"/>
                  <a:gd name="f422" fmla="val 315"/>
                  <a:gd name="f423" fmla="val 108"/>
                  <a:gd name="f424" fmla="val 295"/>
                  <a:gd name="f425" fmla="val 128"/>
                  <a:gd name="f426" fmla="val 285"/>
                  <a:gd name="f427" fmla="val 275"/>
                  <a:gd name="f428" fmla="val 138"/>
                  <a:gd name="f429" fmla="val 272"/>
                  <a:gd name="f430" fmla="val 269"/>
                  <a:gd name="f431" fmla="val 169"/>
                  <a:gd name="f432" fmla="val 267"/>
                  <a:gd name="f433" fmla="val 264"/>
                  <a:gd name="f434" fmla="val 258"/>
                  <a:gd name="f435" fmla="val 252"/>
                  <a:gd name="f436" fmla="val 246"/>
                  <a:gd name="f437" fmla="val 241"/>
                  <a:gd name="f438" fmla="val 202"/>
                  <a:gd name="f439" fmla="val 237"/>
                  <a:gd name="f440" fmla="val 209"/>
                  <a:gd name="f441" fmla="val 235"/>
                  <a:gd name="f442" fmla="val 217"/>
                  <a:gd name="f443" fmla="val 221"/>
                  <a:gd name="f444" fmla="val 224"/>
                  <a:gd name="f445" fmla="val 228"/>
                  <a:gd name="f446" fmla="val 243"/>
                  <a:gd name="f447" fmla="val 244"/>
                  <a:gd name="f448" fmla="val 242"/>
                  <a:gd name="f449" fmla="val 257"/>
                  <a:gd name="f450" fmla="val 207"/>
                  <a:gd name="f451" fmla="val 194"/>
                  <a:gd name="f452" fmla="val 253"/>
                  <a:gd name="f453" fmla="val 165"/>
                  <a:gd name="f454" fmla="val 229"/>
                  <a:gd name="f455" fmla="val 136"/>
                  <a:gd name="f456" fmla="val 215"/>
                  <a:gd name="f457" fmla="val 118"/>
                  <a:gd name="f458" fmla="val 110"/>
                  <a:gd name="f459" fmla="val 218"/>
                  <a:gd name="f460" fmla="val 83"/>
                  <a:gd name="f461" fmla="val 65"/>
                  <a:gd name="f462" fmla="val 225"/>
                  <a:gd name="f463" fmla="val 47"/>
                  <a:gd name="f464" fmla="val 44"/>
                  <a:gd name="f465" fmla="val 263"/>
                  <a:gd name="f466" fmla="val 42"/>
                  <a:gd name="f467" fmla="val 43"/>
                  <a:gd name="f468" fmla="val 279"/>
                  <a:gd name="f469" fmla="val 288"/>
                  <a:gd name="f470" fmla="val 52"/>
                  <a:gd name="f471" fmla="val 55"/>
                  <a:gd name="f472" fmla="val 54"/>
                  <a:gd name="f473" fmla="val 316"/>
                  <a:gd name="f474" fmla="val 49"/>
                  <a:gd name="f475" fmla="val 327"/>
                  <a:gd name="f476" fmla="val 340"/>
                  <a:gd name="f477" fmla="val 38"/>
                  <a:gd name="f478" fmla="val 357"/>
                  <a:gd name="f479" fmla="val 364"/>
                  <a:gd name="f480" fmla="val 40"/>
                  <a:gd name="f481" fmla="val 409"/>
                  <a:gd name="f482" fmla="val 431"/>
                  <a:gd name="f483" fmla="val 22"/>
                  <a:gd name="f484" fmla="val 442"/>
                  <a:gd name="f485" fmla="val 17"/>
                  <a:gd name="f486" fmla="val 12"/>
                  <a:gd name="f487" fmla="val 451"/>
                  <a:gd name="f488" fmla="+- 0 0 -90"/>
                  <a:gd name="f489" fmla="*/ f4 1 796"/>
                  <a:gd name="f490" fmla="*/ f5 1 880"/>
                  <a:gd name="f491" fmla="+- f8 0 f6"/>
                  <a:gd name="f492" fmla="+- f7 0 f6"/>
                  <a:gd name="f493" fmla="*/ f488 f0 1"/>
                  <a:gd name="f494" fmla="*/ f492 1 796"/>
                  <a:gd name="f495" fmla="*/ f491 1 880"/>
                  <a:gd name="f496" fmla="*/ f493 1 f3"/>
                  <a:gd name="f497" fmla="*/ 518 1 f494"/>
                  <a:gd name="f498" fmla="*/ 46 1 f495"/>
                  <a:gd name="f499" fmla="*/ 545 1 f494"/>
                  <a:gd name="f500" fmla="*/ 115 1 f495"/>
                  <a:gd name="f501" fmla="*/ 617 1 f494"/>
                  <a:gd name="f502" fmla="*/ 153 1 f495"/>
                  <a:gd name="f503" fmla="*/ 681 1 f494"/>
                  <a:gd name="f504" fmla="*/ 152 1 f495"/>
                  <a:gd name="f505" fmla="*/ 725 1 f494"/>
                  <a:gd name="f506" fmla="*/ 177 1 f495"/>
                  <a:gd name="f507" fmla="*/ 764 1 f494"/>
                  <a:gd name="f508" fmla="*/ 186 1 f495"/>
                  <a:gd name="f509" fmla="*/ 775 1 f494"/>
                  <a:gd name="f510" fmla="*/ 238 1 f495"/>
                  <a:gd name="f511" fmla="*/ 780 1 f494"/>
                  <a:gd name="f512" fmla="*/ 287 1 f495"/>
                  <a:gd name="f513" fmla="*/ 750 1 f494"/>
                  <a:gd name="f514" fmla="*/ 333 1 f495"/>
                  <a:gd name="f515" fmla="*/ 717 1 f494"/>
                  <a:gd name="f516" fmla="*/ 360 1 f495"/>
                  <a:gd name="f517" fmla="*/ 722 1 f494"/>
                  <a:gd name="f518" fmla="*/ 412 1 f495"/>
                  <a:gd name="f519" fmla="*/ 492 1 f495"/>
                  <a:gd name="f520" fmla="*/ 706 1 f494"/>
                  <a:gd name="f521" fmla="*/ 513 1 f495"/>
                  <a:gd name="f522" fmla="*/ 671 1 f494"/>
                  <a:gd name="f523" fmla="*/ 561 1 f495"/>
                  <a:gd name="f524" fmla="*/ 640 1 f494"/>
                  <a:gd name="f525" fmla="*/ 608 1 f495"/>
                  <a:gd name="f526" fmla="*/ 604 1 f494"/>
                  <a:gd name="f527" fmla="*/ 645 1 f495"/>
                  <a:gd name="f528" fmla="*/ 642 1 f494"/>
                  <a:gd name="f529" fmla="*/ 714 1 f495"/>
                  <a:gd name="f530" fmla="*/ 601 1 f494"/>
                  <a:gd name="f531" fmla="*/ 745 1 f495"/>
                  <a:gd name="f532" fmla="*/ 543 1 f494"/>
                  <a:gd name="f533" fmla="*/ 776 1 f495"/>
                  <a:gd name="f534" fmla="*/ 492 1 f494"/>
                  <a:gd name="f535" fmla="*/ 819 1 f495"/>
                  <a:gd name="f536" fmla="*/ 444 1 f494"/>
                  <a:gd name="f537" fmla="*/ 824 1 f495"/>
                  <a:gd name="f538" fmla="*/ 406 1 f494"/>
                  <a:gd name="f539" fmla="*/ 842 1 f495"/>
                  <a:gd name="f540" fmla="*/ 356 1 f494"/>
                  <a:gd name="f541" fmla="*/ 805 1 f495"/>
                  <a:gd name="f542" fmla="*/ 292 1 f494"/>
                  <a:gd name="f543" fmla="*/ 840 1 f495"/>
                  <a:gd name="f544" fmla="*/ 254 1 f494"/>
                  <a:gd name="f545" fmla="*/ 850 1 f495"/>
                  <a:gd name="f546" fmla="*/ 197 1 f494"/>
                  <a:gd name="f547" fmla="*/ 846 1 f495"/>
                  <a:gd name="f548" fmla="*/ 167 1 f494"/>
                  <a:gd name="f549" fmla="*/ 880 1 f495"/>
                  <a:gd name="f550" fmla="*/ 129 1 f494"/>
                  <a:gd name="f551" fmla="*/ 858 1 f495"/>
                  <a:gd name="f552" fmla="*/ 125 1 f494"/>
                  <a:gd name="f553" fmla="*/ 822 1 f495"/>
                  <a:gd name="f554" fmla="*/ 127 1 f494"/>
                  <a:gd name="f555" fmla="*/ 150 1 f494"/>
                  <a:gd name="f556" fmla="*/ 708 1 f495"/>
                  <a:gd name="f557" fmla="*/ 158 1 f494"/>
                  <a:gd name="f558" fmla="*/ 639 1 f495"/>
                  <a:gd name="f559" fmla="*/ 182 1 f494"/>
                  <a:gd name="f560" fmla="*/ 617 1 f495"/>
                  <a:gd name="f561" fmla="*/ 174 1 f494"/>
                  <a:gd name="f562" fmla="*/ 566 1 f495"/>
                  <a:gd name="f563" fmla="*/ 135 1 f494"/>
                  <a:gd name="f564" fmla="*/ 551 1 f495"/>
                  <a:gd name="f565" fmla="*/ 70 1 f494"/>
                  <a:gd name="f566" fmla="*/ 549 1 f495"/>
                  <a:gd name="f567" fmla="*/ 90 1 f494"/>
                  <a:gd name="f568" fmla="*/ 493 1 f495"/>
                  <a:gd name="f569" fmla="*/ 114 1 f494"/>
                  <a:gd name="f570" fmla="*/ 446 1 f495"/>
                  <a:gd name="f571" fmla="*/ 123 1 f494"/>
                  <a:gd name="f572" fmla="*/ 407 1 f495"/>
                  <a:gd name="f573" fmla="*/ 152 1 f494"/>
                  <a:gd name="f574" fmla="*/ 393 1 f495"/>
                  <a:gd name="f575" fmla="*/ 91 1 f494"/>
                  <a:gd name="f576" fmla="*/ 370 1 f495"/>
                  <a:gd name="f577" fmla="*/ 82 1 f494"/>
                  <a:gd name="f578" fmla="*/ 406 1 f495"/>
                  <a:gd name="f579" fmla="*/ 33 1 f494"/>
                  <a:gd name="f580" fmla="*/ 396 1 f495"/>
                  <a:gd name="f581" fmla="*/ 16 1 f494"/>
                  <a:gd name="f582" fmla="*/ 24 1 f494"/>
                  <a:gd name="f583" fmla="*/ 336 1 f495"/>
                  <a:gd name="f584" fmla="*/ 108 1 f494"/>
                  <a:gd name="f585" fmla="*/ 306 1 f495"/>
                  <a:gd name="f586" fmla="*/ 169 1 f494"/>
                  <a:gd name="f587" fmla="*/ 270 1 f495"/>
                  <a:gd name="f588" fmla="*/ 199 1 f494"/>
                  <a:gd name="f589" fmla="*/ 241 1 f495"/>
                  <a:gd name="f590" fmla="*/ 231 1 f494"/>
                  <a:gd name="f591" fmla="*/ 244 1 f495"/>
                  <a:gd name="f592" fmla="*/ 255 1 f494"/>
                  <a:gd name="f593" fmla="*/ 180 1 f495"/>
                  <a:gd name="f594" fmla="*/ 215 1 f494"/>
                  <a:gd name="f595" fmla="*/ 118 1 f495"/>
                  <a:gd name="f596" fmla="*/ 246 1 f494"/>
                  <a:gd name="f597" fmla="*/ 306 1 f494"/>
                  <a:gd name="f598" fmla="*/ 54 1 f495"/>
                  <a:gd name="f599" fmla="*/ 377 1 f494"/>
                  <a:gd name="f600" fmla="*/ 42 1 f495"/>
                  <a:gd name="f601" fmla="*/ 451 1 f494"/>
                  <a:gd name="f602" fmla="*/ 7 1 f495"/>
                  <a:gd name="f603" fmla="*/ 0 1 f494"/>
                  <a:gd name="f604" fmla="*/ f7 1 f494"/>
                  <a:gd name="f605" fmla="*/ 0 1 f495"/>
                  <a:gd name="f606" fmla="*/ f8 1 f495"/>
                  <a:gd name="f607" fmla="+- f496 0 f1"/>
                  <a:gd name="f608" fmla="*/ f603 f489 1"/>
                  <a:gd name="f609" fmla="*/ f604 f489 1"/>
                  <a:gd name="f610" fmla="*/ f606 f490 1"/>
                  <a:gd name="f611" fmla="*/ f605 f490 1"/>
                  <a:gd name="f612" fmla="*/ f497 f489 1"/>
                  <a:gd name="f613" fmla="*/ f498 f490 1"/>
                  <a:gd name="f614" fmla="*/ f499 f489 1"/>
                  <a:gd name="f615" fmla="*/ f500 f490 1"/>
                  <a:gd name="f616" fmla="*/ f501 f489 1"/>
                  <a:gd name="f617" fmla="*/ f502 f490 1"/>
                  <a:gd name="f618" fmla="*/ f503 f489 1"/>
                  <a:gd name="f619" fmla="*/ f504 f490 1"/>
                  <a:gd name="f620" fmla="*/ f505 f489 1"/>
                  <a:gd name="f621" fmla="*/ f506 f490 1"/>
                  <a:gd name="f622" fmla="*/ f507 f489 1"/>
                  <a:gd name="f623" fmla="*/ f508 f490 1"/>
                  <a:gd name="f624" fmla="*/ f509 f489 1"/>
                  <a:gd name="f625" fmla="*/ f510 f490 1"/>
                  <a:gd name="f626" fmla="*/ f511 f489 1"/>
                  <a:gd name="f627" fmla="*/ f512 f490 1"/>
                  <a:gd name="f628" fmla="*/ f513 f489 1"/>
                  <a:gd name="f629" fmla="*/ f514 f490 1"/>
                  <a:gd name="f630" fmla="*/ f515 f489 1"/>
                  <a:gd name="f631" fmla="*/ f516 f490 1"/>
                  <a:gd name="f632" fmla="*/ f517 f489 1"/>
                  <a:gd name="f633" fmla="*/ f518 f490 1"/>
                  <a:gd name="f634" fmla="*/ f519 f490 1"/>
                  <a:gd name="f635" fmla="*/ f520 f489 1"/>
                  <a:gd name="f636" fmla="*/ f521 f490 1"/>
                  <a:gd name="f637" fmla="*/ f522 f489 1"/>
                  <a:gd name="f638" fmla="*/ f523 f490 1"/>
                  <a:gd name="f639" fmla="*/ f524 f489 1"/>
                  <a:gd name="f640" fmla="*/ f525 f490 1"/>
                  <a:gd name="f641" fmla="*/ f526 f489 1"/>
                  <a:gd name="f642" fmla="*/ f527 f490 1"/>
                  <a:gd name="f643" fmla="*/ f528 f489 1"/>
                  <a:gd name="f644" fmla="*/ f529 f490 1"/>
                  <a:gd name="f645" fmla="*/ f530 f489 1"/>
                  <a:gd name="f646" fmla="*/ f531 f490 1"/>
                  <a:gd name="f647" fmla="*/ f532 f489 1"/>
                  <a:gd name="f648" fmla="*/ f533 f490 1"/>
                  <a:gd name="f649" fmla="*/ f534 f489 1"/>
                  <a:gd name="f650" fmla="*/ f535 f490 1"/>
                  <a:gd name="f651" fmla="*/ f536 f489 1"/>
                  <a:gd name="f652" fmla="*/ f537 f490 1"/>
                  <a:gd name="f653" fmla="*/ f538 f489 1"/>
                  <a:gd name="f654" fmla="*/ f539 f490 1"/>
                  <a:gd name="f655" fmla="*/ f540 f489 1"/>
                  <a:gd name="f656" fmla="*/ f541 f490 1"/>
                  <a:gd name="f657" fmla="*/ f542 f489 1"/>
                  <a:gd name="f658" fmla="*/ f543 f490 1"/>
                  <a:gd name="f659" fmla="*/ f544 f489 1"/>
                  <a:gd name="f660" fmla="*/ f545 f490 1"/>
                  <a:gd name="f661" fmla="*/ f546 f489 1"/>
                  <a:gd name="f662" fmla="*/ f547 f490 1"/>
                  <a:gd name="f663" fmla="*/ f548 f489 1"/>
                  <a:gd name="f664" fmla="*/ f549 f490 1"/>
                  <a:gd name="f665" fmla="*/ f550 f489 1"/>
                  <a:gd name="f666" fmla="*/ f551 f490 1"/>
                  <a:gd name="f667" fmla="*/ f552 f489 1"/>
                  <a:gd name="f668" fmla="*/ f553 f490 1"/>
                  <a:gd name="f669" fmla="*/ f554 f489 1"/>
                  <a:gd name="f670" fmla="*/ f555 f489 1"/>
                  <a:gd name="f671" fmla="*/ f556 f490 1"/>
                  <a:gd name="f672" fmla="*/ f557 f489 1"/>
                  <a:gd name="f673" fmla="*/ f558 f490 1"/>
                  <a:gd name="f674" fmla="*/ f559 f489 1"/>
                  <a:gd name="f675" fmla="*/ f560 f490 1"/>
                  <a:gd name="f676" fmla="*/ f561 f489 1"/>
                  <a:gd name="f677" fmla="*/ f562 f490 1"/>
                  <a:gd name="f678" fmla="*/ f563 f489 1"/>
                  <a:gd name="f679" fmla="*/ f564 f490 1"/>
                  <a:gd name="f680" fmla="*/ f565 f489 1"/>
                  <a:gd name="f681" fmla="*/ f566 f490 1"/>
                  <a:gd name="f682" fmla="*/ f567 f489 1"/>
                  <a:gd name="f683" fmla="*/ f568 f490 1"/>
                  <a:gd name="f684" fmla="*/ f569 f489 1"/>
                  <a:gd name="f685" fmla="*/ f570 f490 1"/>
                  <a:gd name="f686" fmla="*/ f571 f489 1"/>
                  <a:gd name="f687" fmla="*/ f572 f490 1"/>
                  <a:gd name="f688" fmla="*/ f573 f489 1"/>
                  <a:gd name="f689" fmla="*/ f574 f490 1"/>
                  <a:gd name="f690" fmla="*/ f575 f489 1"/>
                  <a:gd name="f691" fmla="*/ f576 f490 1"/>
                  <a:gd name="f692" fmla="*/ f577 f489 1"/>
                  <a:gd name="f693" fmla="*/ f578 f490 1"/>
                  <a:gd name="f694" fmla="*/ f579 f489 1"/>
                  <a:gd name="f695" fmla="*/ f580 f490 1"/>
                  <a:gd name="f696" fmla="*/ f581 f489 1"/>
                  <a:gd name="f697" fmla="*/ f582 f489 1"/>
                  <a:gd name="f698" fmla="*/ f583 f490 1"/>
                  <a:gd name="f699" fmla="*/ f584 f489 1"/>
                  <a:gd name="f700" fmla="*/ f585 f490 1"/>
                  <a:gd name="f701" fmla="*/ f586 f489 1"/>
                  <a:gd name="f702" fmla="*/ f587 f490 1"/>
                  <a:gd name="f703" fmla="*/ f588 f489 1"/>
                  <a:gd name="f704" fmla="*/ f589 f490 1"/>
                  <a:gd name="f705" fmla="*/ f590 f489 1"/>
                  <a:gd name="f706" fmla="*/ f591 f490 1"/>
                  <a:gd name="f707" fmla="*/ f592 f489 1"/>
                  <a:gd name="f708" fmla="*/ f593 f490 1"/>
                  <a:gd name="f709" fmla="*/ f594 f489 1"/>
                  <a:gd name="f710" fmla="*/ f595 f490 1"/>
                  <a:gd name="f711" fmla="*/ f596 f489 1"/>
                  <a:gd name="f712" fmla="*/ f597 f489 1"/>
                  <a:gd name="f713" fmla="*/ f598 f490 1"/>
                  <a:gd name="f714" fmla="*/ f599 f489 1"/>
                  <a:gd name="f715" fmla="*/ f600 f490 1"/>
                  <a:gd name="f716" fmla="*/ f601 f489 1"/>
                  <a:gd name="f717" fmla="*/ f602 f49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07">
                    <a:pos x="f612" y="f613"/>
                  </a:cxn>
                  <a:cxn ang="f607">
                    <a:pos x="f614" y="f615"/>
                  </a:cxn>
                  <a:cxn ang="f607">
                    <a:pos x="f616" y="f617"/>
                  </a:cxn>
                  <a:cxn ang="f607">
                    <a:pos x="f618" y="f619"/>
                  </a:cxn>
                  <a:cxn ang="f607">
                    <a:pos x="f620" y="f621"/>
                  </a:cxn>
                  <a:cxn ang="f607">
                    <a:pos x="f622" y="f623"/>
                  </a:cxn>
                  <a:cxn ang="f607">
                    <a:pos x="f624" y="f625"/>
                  </a:cxn>
                  <a:cxn ang="f607">
                    <a:pos x="f626" y="f627"/>
                  </a:cxn>
                  <a:cxn ang="f607">
                    <a:pos x="f628" y="f629"/>
                  </a:cxn>
                  <a:cxn ang="f607">
                    <a:pos x="f630" y="f631"/>
                  </a:cxn>
                  <a:cxn ang="f607">
                    <a:pos x="f632" y="f633"/>
                  </a:cxn>
                  <a:cxn ang="f607">
                    <a:pos x="f618" y="f634"/>
                  </a:cxn>
                  <a:cxn ang="f607">
                    <a:pos x="f635" y="f636"/>
                  </a:cxn>
                  <a:cxn ang="f607">
                    <a:pos x="f637" y="f638"/>
                  </a:cxn>
                  <a:cxn ang="f607">
                    <a:pos x="f639" y="f640"/>
                  </a:cxn>
                  <a:cxn ang="f607">
                    <a:pos x="f641" y="f642"/>
                  </a:cxn>
                  <a:cxn ang="f607">
                    <a:pos x="f643" y="f644"/>
                  </a:cxn>
                  <a:cxn ang="f607">
                    <a:pos x="f645" y="f646"/>
                  </a:cxn>
                  <a:cxn ang="f607">
                    <a:pos x="f647" y="f648"/>
                  </a:cxn>
                  <a:cxn ang="f607">
                    <a:pos x="f649" y="f650"/>
                  </a:cxn>
                  <a:cxn ang="f607">
                    <a:pos x="f651" y="f652"/>
                  </a:cxn>
                  <a:cxn ang="f607">
                    <a:pos x="f653" y="f654"/>
                  </a:cxn>
                  <a:cxn ang="f607">
                    <a:pos x="f655" y="f656"/>
                  </a:cxn>
                  <a:cxn ang="f607">
                    <a:pos x="f657" y="f658"/>
                  </a:cxn>
                  <a:cxn ang="f607">
                    <a:pos x="f659" y="f660"/>
                  </a:cxn>
                  <a:cxn ang="f607">
                    <a:pos x="f661" y="f662"/>
                  </a:cxn>
                  <a:cxn ang="f607">
                    <a:pos x="f663" y="f664"/>
                  </a:cxn>
                  <a:cxn ang="f607">
                    <a:pos x="f665" y="f666"/>
                  </a:cxn>
                  <a:cxn ang="f607">
                    <a:pos x="f667" y="f668"/>
                  </a:cxn>
                  <a:cxn ang="f607">
                    <a:pos x="f669" y="f646"/>
                  </a:cxn>
                  <a:cxn ang="f607">
                    <a:pos x="f670" y="f671"/>
                  </a:cxn>
                  <a:cxn ang="f607">
                    <a:pos x="f672" y="f673"/>
                  </a:cxn>
                  <a:cxn ang="f607">
                    <a:pos x="f674" y="f675"/>
                  </a:cxn>
                  <a:cxn ang="f607">
                    <a:pos x="f676" y="f677"/>
                  </a:cxn>
                  <a:cxn ang="f607">
                    <a:pos x="f678" y="f679"/>
                  </a:cxn>
                  <a:cxn ang="f607">
                    <a:pos x="f680" y="f681"/>
                  </a:cxn>
                  <a:cxn ang="f607">
                    <a:pos x="f682" y="f683"/>
                  </a:cxn>
                  <a:cxn ang="f607">
                    <a:pos x="f684" y="f685"/>
                  </a:cxn>
                  <a:cxn ang="f607">
                    <a:pos x="f686" y="f687"/>
                  </a:cxn>
                  <a:cxn ang="f607">
                    <a:pos x="f688" y="f689"/>
                  </a:cxn>
                  <a:cxn ang="f607">
                    <a:pos x="f690" y="f691"/>
                  </a:cxn>
                  <a:cxn ang="f607">
                    <a:pos x="f692" y="f693"/>
                  </a:cxn>
                  <a:cxn ang="f607">
                    <a:pos x="f694" y="f695"/>
                  </a:cxn>
                  <a:cxn ang="f607">
                    <a:pos x="f696" y="f689"/>
                  </a:cxn>
                  <a:cxn ang="f607">
                    <a:pos x="f697" y="f698"/>
                  </a:cxn>
                  <a:cxn ang="f607">
                    <a:pos x="f699" y="f700"/>
                  </a:cxn>
                  <a:cxn ang="f607">
                    <a:pos x="f701" y="f702"/>
                  </a:cxn>
                  <a:cxn ang="f607">
                    <a:pos x="f703" y="f704"/>
                  </a:cxn>
                  <a:cxn ang="f607">
                    <a:pos x="f705" y="f706"/>
                  </a:cxn>
                  <a:cxn ang="f607">
                    <a:pos x="f707" y="f708"/>
                  </a:cxn>
                  <a:cxn ang="f607">
                    <a:pos x="f709" y="f710"/>
                  </a:cxn>
                  <a:cxn ang="f607">
                    <a:pos x="f711" y="f613"/>
                  </a:cxn>
                  <a:cxn ang="f607">
                    <a:pos x="f712" y="f713"/>
                  </a:cxn>
                  <a:cxn ang="f607">
                    <a:pos x="f714" y="f715"/>
                  </a:cxn>
                  <a:cxn ang="f607">
                    <a:pos x="f716" y="f717"/>
                  </a:cxn>
                </a:cxnLst>
                <a:rect l="f608" t="f611" r="f609" b="f610"/>
                <a:pathLst>
                  <a:path w="796" h="880">
                    <a:moveTo>
                      <a:pt x="f9" y="f6"/>
                    </a:move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4" y="f26"/>
                    </a:lnTo>
                    <a:lnTo>
                      <a:pt x="f22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51"/>
                    </a:lnTo>
                    <a:lnTo>
                      <a:pt x="f52" y="f51"/>
                    </a:lnTo>
                    <a:lnTo>
                      <a:pt x="f53" y="f49"/>
                    </a:lnTo>
                    <a:lnTo>
                      <a:pt x="f54" y="f49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76"/>
                    </a:lnTo>
                    <a:lnTo>
                      <a:pt x="f84" y="f85"/>
                    </a:lnTo>
                    <a:lnTo>
                      <a:pt x="f86" y="f87"/>
                    </a:lnTo>
                    <a:lnTo>
                      <a:pt x="f88" y="f89"/>
                    </a:lnTo>
                    <a:lnTo>
                      <a:pt x="f90" y="f91"/>
                    </a:lnTo>
                    <a:lnTo>
                      <a:pt x="f7" y="f92"/>
                    </a:lnTo>
                    <a:lnTo>
                      <a:pt x="f90" y="f93"/>
                    </a:lnTo>
                    <a:lnTo>
                      <a:pt x="f88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99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83" y="f116"/>
                    </a:lnTo>
                    <a:lnTo>
                      <a:pt x="f117" y="f118"/>
                    </a:lnTo>
                    <a:lnTo>
                      <a:pt x="f117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26" y="f125"/>
                    </a:lnTo>
                    <a:lnTo>
                      <a:pt x="f127" y="f128"/>
                    </a:lnTo>
                    <a:lnTo>
                      <a:pt x="f67" y="f129"/>
                    </a:lnTo>
                    <a:lnTo>
                      <a:pt x="f130" y="f131"/>
                    </a:lnTo>
                    <a:lnTo>
                      <a:pt x="f132" y="f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69" y="f139"/>
                    </a:lnTo>
                    <a:lnTo>
                      <a:pt x="f140" y="f141"/>
                    </a:lnTo>
                    <a:lnTo>
                      <a:pt x="f71" y="f142"/>
                    </a:lnTo>
                    <a:lnTo>
                      <a:pt x="f65" y="f143"/>
                    </a:lnTo>
                    <a:lnTo>
                      <a:pt x="f144" y="f145"/>
                    </a:lnTo>
                    <a:lnTo>
                      <a:pt x="f132" y="f146"/>
                    </a:lnTo>
                    <a:lnTo>
                      <a:pt x="f133" y="f14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57" y="f154"/>
                    </a:lnTo>
                    <a:lnTo>
                      <a:pt x="f155" y="f156"/>
                    </a:lnTo>
                    <a:lnTo>
                      <a:pt x="f157" y="f158"/>
                    </a:lnTo>
                    <a:lnTo>
                      <a:pt x="f159" y="f160"/>
                    </a:lnTo>
                    <a:lnTo>
                      <a:pt x="f161" y="f160"/>
                    </a:lnTo>
                    <a:lnTo>
                      <a:pt x="f162" y="f156"/>
                    </a:lnTo>
                    <a:lnTo>
                      <a:pt x="f163" y="f164"/>
                    </a:lnTo>
                    <a:lnTo>
                      <a:pt x="f165" y="f18"/>
                    </a:lnTo>
                    <a:lnTo>
                      <a:pt x="f166" y="f24"/>
                    </a:lnTo>
                    <a:lnTo>
                      <a:pt x="f167" y="f168"/>
                    </a:lnTo>
                    <a:lnTo>
                      <a:pt x="f157" y="f169"/>
                    </a:lnTo>
                    <a:lnTo>
                      <a:pt x="f170" y="f171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55" y="f175"/>
                    </a:lnTo>
                    <a:lnTo>
                      <a:pt x="f176" y="f177"/>
                    </a:lnTo>
                    <a:lnTo>
                      <a:pt x="f54" y="f178"/>
                    </a:lnTo>
                    <a:lnTo>
                      <a:pt x="f179" y="f180"/>
                    </a:lnTo>
                    <a:lnTo>
                      <a:pt x="f181" y="f182"/>
                    </a:lnTo>
                    <a:lnTo>
                      <a:pt x="f183" y="f184"/>
                    </a:lnTo>
                    <a:lnTo>
                      <a:pt x="f52" y="f185"/>
                    </a:lnTo>
                    <a:lnTo>
                      <a:pt x="f186" y="f187"/>
                    </a:lnTo>
                    <a:lnTo>
                      <a:pt x="f188" y="f189"/>
                    </a:lnTo>
                    <a:lnTo>
                      <a:pt x="f190" y="f187"/>
                    </a:lnTo>
                    <a:lnTo>
                      <a:pt x="f191" y="f189"/>
                    </a:lnTo>
                    <a:lnTo>
                      <a:pt x="f46" y="f192"/>
                    </a:lnTo>
                    <a:lnTo>
                      <a:pt x="f44" y="f193"/>
                    </a:lnTo>
                    <a:lnTo>
                      <a:pt x="f42" y="f194"/>
                    </a:lnTo>
                    <a:lnTo>
                      <a:pt x="f185" y="f52"/>
                    </a:lnTo>
                    <a:lnTo>
                      <a:pt x="f195" y="f196"/>
                    </a:lnTo>
                    <a:lnTo>
                      <a:pt x="f44" y="f197"/>
                    </a:lnTo>
                    <a:lnTo>
                      <a:pt x="f198" y="f172"/>
                    </a:lnTo>
                    <a:lnTo>
                      <a:pt x="f199" y="f200"/>
                    </a:lnTo>
                    <a:lnTo>
                      <a:pt x="f201" y="f166"/>
                    </a:lnTo>
                    <a:lnTo>
                      <a:pt x="f202" y="f163"/>
                    </a:lnTo>
                    <a:lnTo>
                      <a:pt x="f203" y="f133"/>
                    </a:lnTo>
                    <a:lnTo>
                      <a:pt x="f204" y="f137"/>
                    </a:lnTo>
                    <a:lnTo>
                      <a:pt x="f205" y="f137"/>
                    </a:lnTo>
                    <a:lnTo>
                      <a:pt x="f190" y="f132"/>
                    </a:lnTo>
                    <a:lnTo>
                      <a:pt x="f206" y="f207"/>
                    </a:lnTo>
                    <a:lnTo>
                      <a:pt x="f208" y="f127"/>
                    </a:lnTo>
                    <a:lnTo>
                      <a:pt x="f187" y="f209"/>
                    </a:lnTo>
                    <a:lnTo>
                      <a:pt x="f210" y="f79"/>
                    </a:lnTo>
                    <a:lnTo>
                      <a:pt x="f211" y="f212"/>
                    </a:lnTo>
                    <a:lnTo>
                      <a:pt x="f213" y="f214"/>
                    </a:lnTo>
                    <a:lnTo>
                      <a:pt x="f215" y="f84"/>
                    </a:lnTo>
                    <a:lnTo>
                      <a:pt x="f216" y="f217"/>
                    </a:lnTo>
                    <a:lnTo>
                      <a:pt x="f171" y="f218"/>
                    </a:lnTo>
                    <a:lnTo>
                      <a:pt x="f219" y="f220"/>
                    </a:lnTo>
                    <a:lnTo>
                      <a:pt x="f221" y="f110"/>
                    </a:lnTo>
                    <a:lnTo>
                      <a:pt x="f30" y="f104"/>
                    </a:lnTo>
                    <a:lnTo>
                      <a:pt x="f22" y="f106"/>
                    </a:lnTo>
                    <a:lnTo>
                      <a:pt x="f18" y="f222"/>
                    </a:lnTo>
                    <a:lnTo>
                      <a:pt x="f16" y="f223"/>
                    </a:lnTo>
                    <a:lnTo>
                      <a:pt x="f224" y="f225"/>
                    </a:lnTo>
                    <a:lnTo>
                      <a:pt x="f226" y="f227"/>
                    </a:lnTo>
                    <a:lnTo>
                      <a:pt x="f154" y="f228"/>
                    </a:lnTo>
                    <a:lnTo>
                      <a:pt x="f229" y="f230"/>
                    </a:lnTo>
                    <a:lnTo>
                      <a:pt x="f149" y="f231"/>
                    </a:lnTo>
                    <a:lnTo>
                      <a:pt x="f232" y="f233"/>
                    </a:lnTo>
                    <a:lnTo>
                      <a:pt x="f234" y="f231"/>
                    </a:lnTo>
                    <a:lnTo>
                      <a:pt x="f235" y="f236"/>
                    </a:lnTo>
                    <a:lnTo>
                      <a:pt x="f237" y="f238"/>
                    </a:lnTo>
                    <a:lnTo>
                      <a:pt x="f239" y="f236"/>
                    </a:lnTo>
                    <a:lnTo>
                      <a:pt x="f240" y="f241"/>
                    </a:lnTo>
                    <a:lnTo>
                      <a:pt x="f242" y="f243"/>
                    </a:lnTo>
                    <a:lnTo>
                      <a:pt x="f244" y="f245"/>
                    </a:lnTo>
                    <a:lnTo>
                      <a:pt x="f246" y="f247"/>
                    </a:lnTo>
                    <a:lnTo>
                      <a:pt x="f248" y="f247"/>
                    </a:lnTo>
                    <a:lnTo>
                      <a:pt x="f249" y="f250"/>
                    </a:lnTo>
                    <a:lnTo>
                      <a:pt x="f251" y="f245"/>
                    </a:lnTo>
                    <a:lnTo>
                      <a:pt x="f252" y="f253"/>
                    </a:lnTo>
                    <a:lnTo>
                      <a:pt x="f254" y="f255"/>
                    </a:lnTo>
                    <a:lnTo>
                      <a:pt x="f141" y="f236"/>
                    </a:lnTo>
                    <a:lnTo>
                      <a:pt x="f256" y="f257"/>
                    </a:lnTo>
                    <a:lnTo>
                      <a:pt x="f138" y="f258"/>
                    </a:lnTo>
                    <a:lnTo>
                      <a:pt x="f259" y="f260"/>
                    </a:lnTo>
                    <a:lnTo>
                      <a:pt x="f261" y="f262"/>
                    </a:lnTo>
                    <a:lnTo>
                      <a:pt x="f263" y="f227"/>
                    </a:lnTo>
                    <a:lnTo>
                      <a:pt x="f264" y="f265"/>
                    </a:lnTo>
                    <a:lnTo>
                      <a:pt x="f266" y="f267"/>
                    </a:lnTo>
                    <a:lnTo>
                      <a:pt x="f268" y="f269"/>
                    </a:lnTo>
                    <a:lnTo>
                      <a:pt x="f270" y="f247"/>
                    </a:lnTo>
                    <a:lnTo>
                      <a:pt x="f116" y="f250"/>
                    </a:lnTo>
                    <a:lnTo>
                      <a:pt x="f271" y="f269"/>
                    </a:lnTo>
                    <a:lnTo>
                      <a:pt x="f109" y="f253"/>
                    </a:lnTo>
                    <a:lnTo>
                      <a:pt x="f272" y="f243"/>
                    </a:lnTo>
                    <a:lnTo>
                      <a:pt x="f105" y="f273"/>
                    </a:lnTo>
                    <a:lnTo>
                      <a:pt x="f274" y="f250"/>
                    </a:lnTo>
                    <a:lnTo>
                      <a:pt x="f103" y="f275"/>
                    </a:lnTo>
                    <a:lnTo>
                      <a:pt x="f276" y="f277"/>
                    </a:lnTo>
                    <a:lnTo>
                      <a:pt x="f278" y="f277"/>
                    </a:lnTo>
                    <a:lnTo>
                      <a:pt x="f279" y="f275"/>
                    </a:lnTo>
                    <a:lnTo>
                      <a:pt x="f280" y="f247"/>
                    </a:lnTo>
                    <a:lnTo>
                      <a:pt x="f281" y="f245"/>
                    </a:lnTo>
                    <a:lnTo>
                      <a:pt x="f96" y="f269"/>
                    </a:lnTo>
                    <a:lnTo>
                      <a:pt x="f282" y="f245"/>
                    </a:lnTo>
                    <a:lnTo>
                      <a:pt x="f283" y="f245"/>
                    </a:lnTo>
                    <a:lnTo>
                      <a:pt x="f284" y="f285"/>
                    </a:lnTo>
                    <a:lnTo>
                      <a:pt x="f286" y="f287"/>
                    </a:lnTo>
                    <a:lnTo>
                      <a:pt x="f85" y="f288"/>
                    </a:lnTo>
                    <a:lnTo>
                      <a:pt x="f289" y="f290"/>
                    </a:lnTo>
                    <a:lnTo>
                      <a:pt x="f291" y="f292"/>
                    </a:lnTo>
                    <a:lnTo>
                      <a:pt x="f293" y="f294"/>
                    </a:lnTo>
                    <a:lnTo>
                      <a:pt x="f295" y="f296"/>
                    </a:lnTo>
                    <a:lnTo>
                      <a:pt x="f68" y="f8"/>
                    </a:lnTo>
                    <a:lnTo>
                      <a:pt x="f297" y="f8"/>
                    </a:lnTo>
                    <a:lnTo>
                      <a:pt x="f49" y="f298"/>
                    </a:lnTo>
                    <a:lnTo>
                      <a:pt x="f47" y="f299"/>
                    </a:lnTo>
                    <a:lnTo>
                      <a:pt x="f300" y="f294"/>
                    </a:lnTo>
                    <a:lnTo>
                      <a:pt x="f43" y="f292"/>
                    </a:lnTo>
                    <a:lnTo>
                      <a:pt x="f301" y="f302"/>
                    </a:lnTo>
                    <a:lnTo>
                      <a:pt x="f303" y="f304"/>
                    </a:lnTo>
                    <a:lnTo>
                      <a:pt x="f37" y="f305"/>
                    </a:lnTo>
                    <a:lnTo>
                      <a:pt x="f306" y="f288"/>
                    </a:lnTo>
                    <a:lnTo>
                      <a:pt x="f307" y="f288"/>
                    </a:lnTo>
                    <a:lnTo>
                      <a:pt x="f308" y="f250"/>
                    </a:lnTo>
                    <a:lnTo>
                      <a:pt x="f309" y="f310"/>
                    </a:lnTo>
                    <a:lnTo>
                      <a:pt x="f311" y="f312"/>
                    </a:lnTo>
                    <a:lnTo>
                      <a:pt x="f311" y="f313"/>
                    </a:lnTo>
                    <a:lnTo>
                      <a:pt x="f306" y="f314"/>
                    </a:lnTo>
                    <a:lnTo>
                      <a:pt x="f315" y="f316"/>
                    </a:lnTo>
                    <a:lnTo>
                      <a:pt x="f317" y="f318"/>
                    </a:lnTo>
                    <a:lnTo>
                      <a:pt x="f35" y="f223"/>
                    </a:lnTo>
                    <a:lnTo>
                      <a:pt x="f35" y="f319"/>
                    </a:lnTo>
                    <a:lnTo>
                      <a:pt x="f306" y="f81"/>
                    </a:lnTo>
                    <a:lnTo>
                      <a:pt x="f320" y="f79"/>
                    </a:lnTo>
                    <a:lnTo>
                      <a:pt x="f321" y="f322"/>
                    </a:lnTo>
                    <a:lnTo>
                      <a:pt x="f323" y="f126"/>
                    </a:lnTo>
                    <a:lnTo>
                      <a:pt x="f45" y="f75"/>
                    </a:lnTo>
                    <a:lnTo>
                      <a:pt x="f58" y="f73"/>
                    </a:lnTo>
                    <a:lnTo>
                      <a:pt x="f62" y="f65"/>
                    </a:lnTo>
                    <a:lnTo>
                      <a:pt x="f47" y="f133"/>
                    </a:lnTo>
                    <a:lnTo>
                      <a:pt x="f324" y="f161"/>
                    </a:lnTo>
                    <a:lnTo>
                      <a:pt x="f325" y="f61"/>
                    </a:lnTo>
                    <a:lnTo>
                      <a:pt x="f326" y="f327"/>
                    </a:lnTo>
                    <a:lnTo>
                      <a:pt x="f45" y="f157"/>
                    </a:lnTo>
                    <a:lnTo>
                      <a:pt x="f300" y="f152"/>
                    </a:lnTo>
                    <a:lnTo>
                      <a:pt x="f60" y="f328"/>
                    </a:lnTo>
                    <a:lnTo>
                      <a:pt x="f62" y="f202"/>
                    </a:lnTo>
                    <a:lnTo>
                      <a:pt x="f51" y="f204"/>
                    </a:lnTo>
                    <a:lnTo>
                      <a:pt x="f329" y="f194"/>
                    </a:lnTo>
                    <a:lnTo>
                      <a:pt x="f330" y="f331"/>
                    </a:lnTo>
                    <a:lnTo>
                      <a:pt x="f332" y="f333"/>
                    </a:lnTo>
                    <a:lnTo>
                      <a:pt x="f334" y="f333"/>
                    </a:lnTo>
                    <a:lnTo>
                      <a:pt x="f335" y="f331"/>
                    </a:lnTo>
                    <a:lnTo>
                      <a:pt x="f293" y="f191"/>
                    </a:lnTo>
                    <a:lnTo>
                      <a:pt x="f291" y="f46"/>
                    </a:lnTo>
                    <a:lnTo>
                      <a:pt x="f87" y="f187"/>
                    </a:lnTo>
                    <a:lnTo>
                      <a:pt x="f336" y="f210"/>
                    </a:lnTo>
                    <a:lnTo>
                      <a:pt x="f337" y="f184"/>
                    </a:lnTo>
                    <a:lnTo>
                      <a:pt x="f337" y="f38"/>
                    </a:lnTo>
                    <a:lnTo>
                      <a:pt x="f286" y="f338"/>
                    </a:lnTo>
                    <a:lnTo>
                      <a:pt x="f291" y="f339"/>
                    </a:lnTo>
                    <a:lnTo>
                      <a:pt x="f340" y="f341"/>
                    </a:lnTo>
                    <a:lnTo>
                      <a:pt x="f58" y="f341"/>
                    </a:lnTo>
                    <a:lnTo>
                      <a:pt x="f300" y="f342"/>
                    </a:lnTo>
                    <a:lnTo>
                      <a:pt x="f343" y="f173"/>
                    </a:lnTo>
                    <a:lnTo>
                      <a:pt x="f326" y="f344"/>
                    </a:lnTo>
                    <a:lnTo>
                      <a:pt x="f345" y="f346"/>
                    </a:lnTo>
                    <a:lnTo>
                      <a:pt x="f323" y="f347"/>
                    </a:lnTo>
                    <a:lnTo>
                      <a:pt x="f348" y="f219"/>
                    </a:lnTo>
                    <a:lnTo>
                      <a:pt x="f303" y="f349"/>
                    </a:lnTo>
                    <a:lnTo>
                      <a:pt x="f308" y="f175"/>
                    </a:lnTo>
                    <a:lnTo>
                      <a:pt x="f350" y="f342"/>
                    </a:lnTo>
                    <a:lnTo>
                      <a:pt x="f29" y="f177"/>
                    </a:lnTo>
                    <a:lnTo>
                      <a:pt x="f26" y="f173"/>
                    </a:lnTo>
                    <a:lnTo>
                      <a:pt x="f351" y="f344"/>
                    </a:lnTo>
                    <a:lnTo>
                      <a:pt x="f25" y="f347"/>
                    </a:lnTo>
                    <a:lnTo>
                      <a:pt x="f352" y="f221"/>
                    </a:lnTo>
                    <a:lnTo>
                      <a:pt x="f353" y="f354"/>
                    </a:lnTo>
                    <a:lnTo>
                      <a:pt x="f352" y="f355"/>
                    </a:lnTo>
                    <a:lnTo>
                      <a:pt x="f356" y="f357"/>
                    </a:lnTo>
                    <a:lnTo>
                      <a:pt x="f358" y="f359"/>
                    </a:lnTo>
                    <a:lnTo>
                      <a:pt x="f360" y="f361"/>
                    </a:lnTo>
                    <a:lnTo>
                      <a:pt x="f362" y="f158"/>
                    </a:lnTo>
                    <a:lnTo>
                      <a:pt x="f363" y="f151"/>
                    </a:lnTo>
                    <a:lnTo>
                      <a:pt x="f362" y="f9"/>
                    </a:lnTo>
                    <a:lnTo>
                      <a:pt x="f362" y="f364"/>
                    </a:lnTo>
                    <a:lnTo>
                      <a:pt x="f365" y="f237"/>
                    </a:lnTo>
                    <a:lnTo>
                      <a:pt x="f366" y="f147"/>
                    </a:lnTo>
                    <a:lnTo>
                      <a:pt x="f367" y="f368"/>
                    </a:lnTo>
                    <a:lnTo>
                      <a:pt x="f350" y="f368"/>
                    </a:lnTo>
                    <a:lnTo>
                      <a:pt x="f307" y="f369"/>
                    </a:lnTo>
                    <a:lnTo>
                      <a:pt x="f306" y="f370"/>
                    </a:lnTo>
                    <a:lnTo>
                      <a:pt x="f309" y="f371"/>
                    </a:lnTo>
                    <a:lnTo>
                      <a:pt x="f306" y="f372"/>
                    </a:lnTo>
                    <a:lnTo>
                      <a:pt x="f35" y="f373"/>
                    </a:lnTo>
                    <a:lnTo>
                      <a:pt x="f35" y="f249"/>
                    </a:lnTo>
                    <a:lnTo>
                      <a:pt x="f309" y="f374"/>
                    </a:lnTo>
                    <a:lnTo>
                      <a:pt x="f320" y="f251"/>
                    </a:lnTo>
                    <a:lnTo>
                      <a:pt x="f41" y="f375"/>
                    </a:lnTo>
                    <a:lnTo>
                      <a:pt x="f43" y="f376"/>
                    </a:lnTo>
                    <a:lnTo>
                      <a:pt x="f45" y="f376"/>
                    </a:lnTo>
                    <a:lnTo>
                      <a:pt x="f60" y="f375"/>
                    </a:lnTo>
                    <a:lnTo>
                      <a:pt x="f47" y="f377"/>
                    </a:lnTo>
                    <a:lnTo>
                      <a:pt x="f58" y="f378"/>
                    </a:lnTo>
                    <a:lnTo>
                      <a:pt x="f45" y="f379"/>
                    </a:lnTo>
                    <a:lnTo>
                      <a:pt x="f380" y="f381"/>
                    </a:lnTo>
                    <a:lnTo>
                      <a:pt x="f301" y="f382"/>
                    </a:lnTo>
                    <a:lnTo>
                      <a:pt x="f37" y="f383"/>
                    </a:lnTo>
                    <a:lnTo>
                      <a:pt x="f33" y="f384"/>
                    </a:lnTo>
                    <a:lnTo>
                      <a:pt x="f29" y="f385"/>
                    </a:lnTo>
                    <a:lnTo>
                      <a:pt x="f363" y="f385"/>
                    </a:lnTo>
                    <a:lnTo>
                      <a:pt x="f362" y="f386"/>
                    </a:lnTo>
                    <a:lnTo>
                      <a:pt x="f362" y="f387"/>
                    </a:lnTo>
                    <a:lnTo>
                      <a:pt x="f363" y="f388"/>
                    </a:lnTo>
                    <a:lnTo>
                      <a:pt x="f365" y="f141"/>
                    </a:lnTo>
                    <a:lnTo>
                      <a:pt x="f363" y="f389"/>
                    </a:lnTo>
                    <a:lnTo>
                      <a:pt x="f390" y="f391"/>
                    </a:lnTo>
                    <a:lnTo>
                      <a:pt x="f351" y="f251"/>
                    </a:lnTo>
                    <a:lnTo>
                      <a:pt x="f392" y="f251"/>
                    </a:lnTo>
                    <a:lnTo>
                      <a:pt x="f393" y="f394"/>
                    </a:lnTo>
                    <a:lnTo>
                      <a:pt x="f395" y="f391"/>
                    </a:lnTo>
                    <a:lnTo>
                      <a:pt x="f396" y="f377"/>
                    </a:lnTo>
                    <a:lnTo>
                      <a:pt x="f397" y="f142"/>
                    </a:lnTo>
                    <a:lnTo>
                      <a:pt x="f397" y="f389"/>
                    </a:lnTo>
                    <a:lnTo>
                      <a:pt x="f398" y="f254"/>
                    </a:lnTo>
                    <a:lnTo>
                      <a:pt x="f398" y="f399"/>
                    </a:lnTo>
                    <a:lnTo>
                      <a:pt x="f400" y="f141"/>
                    </a:lnTo>
                    <a:lnTo>
                      <a:pt x="f400" y="f401"/>
                    </a:lnTo>
                    <a:lnTo>
                      <a:pt x="f402" y="f403"/>
                    </a:lnTo>
                    <a:lnTo>
                      <a:pt x="f404" y="f403"/>
                    </a:lnTo>
                    <a:lnTo>
                      <a:pt x="f405" y="f401"/>
                    </a:lnTo>
                    <a:lnTo>
                      <a:pt x="f15" y="f378"/>
                    </a:lnTo>
                    <a:lnTo>
                      <a:pt x="f406" y="f407"/>
                    </a:lnTo>
                    <a:lnTo>
                      <a:pt x="f408" y="f378"/>
                    </a:lnTo>
                    <a:lnTo>
                      <a:pt x="f6" y="f378"/>
                    </a:lnTo>
                    <a:lnTo>
                      <a:pt x="f409" y="f382"/>
                    </a:lnTo>
                    <a:lnTo>
                      <a:pt x="f410" y="f411"/>
                    </a:lnTo>
                    <a:lnTo>
                      <a:pt x="f412" y="f123"/>
                    </a:lnTo>
                    <a:lnTo>
                      <a:pt x="f413" y="f414"/>
                    </a:lnTo>
                    <a:lnTo>
                      <a:pt x="f402" y="f415"/>
                    </a:lnTo>
                    <a:lnTo>
                      <a:pt x="f416" y="f417"/>
                    </a:lnTo>
                    <a:lnTo>
                      <a:pt x="f418" y="f419"/>
                    </a:lnTo>
                    <a:lnTo>
                      <a:pt x="f420" y="f264"/>
                    </a:lnTo>
                    <a:lnTo>
                      <a:pt x="f362" y="f119"/>
                    </a:lnTo>
                    <a:lnTo>
                      <a:pt x="f421" y="f422"/>
                    </a:lnTo>
                    <a:lnTo>
                      <a:pt x="f423" y="f268"/>
                    </a:lnTo>
                    <a:lnTo>
                      <a:pt x="f307" y="f424"/>
                    </a:lnTo>
                    <a:lnTo>
                      <a:pt x="f425" y="f426"/>
                    </a:lnTo>
                    <a:lnTo>
                      <a:pt x="f321" y="f427"/>
                    </a:lnTo>
                    <a:lnTo>
                      <a:pt x="f428" y="f429"/>
                    </a:lnTo>
                    <a:lnTo>
                      <a:pt x="f343" y="f274"/>
                    </a:lnTo>
                    <a:lnTo>
                      <a:pt x="f49" y="f430"/>
                    </a:lnTo>
                    <a:lnTo>
                      <a:pt x="f431" y="f274"/>
                    </a:lnTo>
                    <a:lnTo>
                      <a:pt x="f286" y="f274"/>
                    </a:lnTo>
                    <a:lnTo>
                      <a:pt x="f89" y="f432"/>
                    </a:lnTo>
                    <a:lnTo>
                      <a:pt x="f80" y="f433"/>
                    </a:lnTo>
                    <a:lnTo>
                      <a:pt x="f80" y="f434"/>
                    </a:lnTo>
                    <a:lnTo>
                      <a:pt x="f284" y="f435"/>
                    </a:lnTo>
                    <a:lnTo>
                      <a:pt x="f284" y="f436"/>
                    </a:lnTo>
                    <a:lnTo>
                      <a:pt x="f80" y="f437"/>
                    </a:lnTo>
                    <a:lnTo>
                      <a:pt x="f438" y="f439"/>
                    </a:lnTo>
                    <a:lnTo>
                      <a:pt x="f440" y="f441"/>
                    </a:lnTo>
                    <a:lnTo>
                      <a:pt x="f442" y="f441"/>
                    </a:lnTo>
                    <a:lnTo>
                      <a:pt x="f443" y="f439"/>
                    </a:lnTo>
                    <a:lnTo>
                      <a:pt x="f444" y="f437"/>
                    </a:lnTo>
                    <a:lnTo>
                      <a:pt x="f445" y="f446"/>
                    </a:lnTo>
                    <a:lnTo>
                      <a:pt x="f94" y="f447"/>
                    </a:lnTo>
                    <a:lnTo>
                      <a:pt x="f441" y="f448"/>
                    </a:lnTo>
                    <a:lnTo>
                      <a:pt x="f447" y="f441"/>
                    </a:lnTo>
                    <a:lnTo>
                      <a:pt x="f279" y="f445"/>
                    </a:lnTo>
                    <a:lnTo>
                      <a:pt x="f100" y="f283"/>
                    </a:lnTo>
                    <a:lnTo>
                      <a:pt x="f449" y="f450"/>
                    </a:lnTo>
                    <a:lnTo>
                      <a:pt x="f100" y="f451"/>
                    </a:lnTo>
                    <a:lnTo>
                      <a:pt x="f100" y="f3"/>
                    </a:lnTo>
                    <a:lnTo>
                      <a:pt x="f452" y="f453"/>
                    </a:lnTo>
                    <a:lnTo>
                      <a:pt x="f436" y="f60"/>
                    </a:lnTo>
                    <a:lnTo>
                      <a:pt x="f439" y="f43"/>
                    </a:lnTo>
                    <a:lnTo>
                      <a:pt x="f454" y="f455"/>
                    </a:lnTo>
                    <a:lnTo>
                      <a:pt x="f443" y="f39"/>
                    </a:lnTo>
                    <a:lnTo>
                      <a:pt x="f442" y="f37"/>
                    </a:lnTo>
                    <a:lnTo>
                      <a:pt x="f456" y="f457"/>
                    </a:lnTo>
                    <a:lnTo>
                      <a:pt x="f456" y="f458"/>
                    </a:lnTo>
                    <a:lnTo>
                      <a:pt x="f442" y="f421"/>
                    </a:lnTo>
                    <a:lnTo>
                      <a:pt x="f459" y="f460"/>
                    </a:lnTo>
                    <a:lnTo>
                      <a:pt x="f443" y="f461"/>
                    </a:lnTo>
                    <a:lnTo>
                      <a:pt x="f462" y="f463"/>
                    </a:lnTo>
                    <a:lnTo>
                      <a:pt x="f441" y="f393"/>
                    </a:lnTo>
                    <a:lnTo>
                      <a:pt x="f436" y="f21"/>
                    </a:lnTo>
                    <a:lnTo>
                      <a:pt x="f100" y="f464"/>
                    </a:lnTo>
                    <a:lnTo>
                      <a:pt x="f465" y="f466"/>
                    </a:lnTo>
                    <a:lnTo>
                      <a:pt x="f274" y="f467"/>
                    </a:lnTo>
                    <a:lnTo>
                      <a:pt x="f468" y="f463"/>
                    </a:lnTo>
                    <a:lnTo>
                      <a:pt x="f469" y="f470"/>
                    </a:lnTo>
                    <a:lnTo>
                      <a:pt x="f116" y="f471"/>
                    </a:lnTo>
                    <a:lnTo>
                      <a:pt x="f268" y="f472"/>
                    </a:lnTo>
                    <a:lnTo>
                      <a:pt x="f473" y="f474"/>
                    </a:lnTo>
                    <a:lnTo>
                      <a:pt x="f475" y="f467"/>
                    </a:lnTo>
                    <a:lnTo>
                      <a:pt x="f476" y="f477"/>
                    </a:lnTo>
                    <a:lnTo>
                      <a:pt x="f131" y="f396"/>
                    </a:lnTo>
                    <a:lnTo>
                      <a:pt x="f478" y="f396"/>
                    </a:lnTo>
                    <a:lnTo>
                      <a:pt x="f479" y="f480"/>
                    </a:lnTo>
                    <a:lnTo>
                      <a:pt x="f387" y="f466"/>
                    </a:lnTo>
                    <a:lnTo>
                      <a:pt x="f256" y="f416"/>
                    </a:lnTo>
                    <a:lnTo>
                      <a:pt x="f481" y="f400"/>
                    </a:lnTo>
                    <a:lnTo>
                      <a:pt x="f248" y="f17"/>
                    </a:lnTo>
                    <a:lnTo>
                      <a:pt x="f482" y="f483"/>
                    </a:lnTo>
                    <a:lnTo>
                      <a:pt x="f484" y="f485"/>
                    </a:lnTo>
                    <a:lnTo>
                      <a:pt x="f368" y="f486"/>
                    </a:lnTo>
                    <a:lnTo>
                      <a:pt x="f487" y="f13"/>
                    </a:lnTo>
                    <a:lnTo>
                      <a:pt x="f364" y="f408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95" name="Freeform 15">
                <a:extLst>
                  <a:ext uri="{FF2B5EF4-FFF2-40B4-BE49-F238E27FC236}">
                    <a16:creationId xmlns:a16="http://schemas.microsoft.com/office/drawing/2014/main" id="{8CA68560-B2F4-4EEB-91FA-261B8B3C6FC5}"/>
                  </a:ext>
                </a:extLst>
              </p:cNvPr>
              <p:cNvSpPr/>
              <p:nvPr/>
            </p:nvSpPr>
            <p:spPr>
              <a:xfrm>
                <a:off x="3821122" y="1683858"/>
                <a:ext cx="216520" cy="145353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996"/>
                  <a:gd name="f7" fmla="val 748"/>
                  <a:gd name="f8" fmla="val 550"/>
                  <a:gd name="f9" fmla="val 565"/>
                  <a:gd name="f10" fmla="val 2"/>
                  <a:gd name="f11" fmla="val 580"/>
                  <a:gd name="f12" fmla="val 8"/>
                  <a:gd name="f13" fmla="val 594"/>
                  <a:gd name="f14" fmla="val 16"/>
                  <a:gd name="f15" fmla="val 605"/>
                  <a:gd name="f16" fmla="val 27"/>
                  <a:gd name="f17" fmla="val 609"/>
                  <a:gd name="f18" fmla="val 39"/>
                  <a:gd name="f19" fmla="val 52"/>
                  <a:gd name="f20" fmla="val 608"/>
                  <a:gd name="f21" fmla="val 59"/>
                  <a:gd name="f22" fmla="val 604"/>
                  <a:gd name="f23" fmla="val 66"/>
                  <a:gd name="f24" fmla="val 598"/>
                  <a:gd name="f25" fmla="val 71"/>
                  <a:gd name="f26" fmla="val 595"/>
                  <a:gd name="f27" fmla="val 77"/>
                  <a:gd name="f28" fmla="val 85"/>
                  <a:gd name="f29" fmla="val 596"/>
                  <a:gd name="f30" fmla="val 96"/>
                  <a:gd name="f31" fmla="val 105"/>
                  <a:gd name="f32" fmla="val 600"/>
                  <a:gd name="f33" fmla="val 115"/>
                  <a:gd name="f34" fmla="val 597"/>
                  <a:gd name="f35" fmla="val 119"/>
                  <a:gd name="f36" fmla="val 593"/>
                  <a:gd name="f37" fmla="val 120"/>
                  <a:gd name="f38" fmla="val 587"/>
                  <a:gd name="f39" fmla="val 118"/>
                  <a:gd name="f40" fmla="val 579"/>
                  <a:gd name="f41" fmla="val 116"/>
                  <a:gd name="f42" fmla="val 571"/>
                  <a:gd name="f43" fmla="val 113"/>
                  <a:gd name="f44" fmla="val 563"/>
                  <a:gd name="f45" fmla="val 111"/>
                  <a:gd name="f46" fmla="val 557"/>
                  <a:gd name="f47" fmla="val 552"/>
                  <a:gd name="f48" fmla="val 549"/>
                  <a:gd name="f49" fmla="val 551"/>
                  <a:gd name="f50" fmla="val 128"/>
                  <a:gd name="f51" fmla="val 559"/>
                  <a:gd name="f52" fmla="val 133"/>
                  <a:gd name="f53" fmla="val 569"/>
                  <a:gd name="f54" fmla="val 137"/>
                  <a:gd name="f55" fmla="val 591"/>
                  <a:gd name="f56" fmla="val 135"/>
                  <a:gd name="f57" fmla="val 606"/>
                  <a:gd name="f58" fmla="val 620"/>
                  <a:gd name="f59" fmla="val 130"/>
                  <a:gd name="f60" fmla="val 634"/>
                  <a:gd name="f61" fmla="val 646"/>
                  <a:gd name="f62" fmla="val 127"/>
                  <a:gd name="f63" fmla="val 654"/>
                  <a:gd name="f64" fmla="val 665"/>
                  <a:gd name="f65" fmla="val 675"/>
                  <a:gd name="f66" fmla="val 140"/>
                  <a:gd name="f67" fmla="val 682"/>
                  <a:gd name="f68" fmla="val 146"/>
                  <a:gd name="f69" fmla="val 689"/>
                  <a:gd name="f70" fmla="val 149"/>
                  <a:gd name="f71" fmla="val 693"/>
                  <a:gd name="f72" fmla="val 147"/>
                  <a:gd name="f73" fmla="val 699"/>
                  <a:gd name="f74" fmla="val 142"/>
                  <a:gd name="f75" fmla="val 708"/>
                  <a:gd name="f76" fmla="val 134"/>
                  <a:gd name="f77" fmla="val 718"/>
                  <a:gd name="f78" fmla="val 126"/>
                  <a:gd name="f79" fmla="val 727"/>
                  <a:gd name="f80" fmla="val 745"/>
                  <a:gd name="f81" fmla="val 97"/>
                  <a:gd name="f82" fmla="val 752"/>
                  <a:gd name="f83" fmla="val 89"/>
                  <a:gd name="f84" fmla="val 755"/>
                  <a:gd name="f85" fmla="val 757"/>
                  <a:gd name="f86" fmla="val 79"/>
                  <a:gd name="f87" fmla="val 759"/>
                  <a:gd name="f88" fmla="val 69"/>
                  <a:gd name="f89" fmla="val 764"/>
                  <a:gd name="f90" fmla="val 47"/>
                  <a:gd name="f91" fmla="val 766"/>
                  <a:gd name="f92" fmla="val 38"/>
                  <a:gd name="f93" fmla="val 769"/>
                  <a:gd name="f94" fmla="val 32"/>
                  <a:gd name="f95" fmla="val 778"/>
                  <a:gd name="f96" fmla="val 28"/>
                  <a:gd name="f97" fmla="val 785"/>
                  <a:gd name="f98" fmla="val 29"/>
                  <a:gd name="f99" fmla="val 793"/>
                  <a:gd name="f100" fmla="val 36"/>
                  <a:gd name="f101" fmla="val 797"/>
                  <a:gd name="f102" fmla="val 802"/>
                  <a:gd name="f103" fmla="val 40"/>
                  <a:gd name="f104" fmla="val 809"/>
                  <a:gd name="f105" fmla="val 41"/>
                  <a:gd name="f106" fmla="val 816"/>
                  <a:gd name="f107" fmla="val 43"/>
                  <a:gd name="f108" fmla="val 824"/>
                  <a:gd name="f109" fmla="val 49"/>
                  <a:gd name="f110" fmla="val 832"/>
                  <a:gd name="f111" fmla="val 61"/>
                  <a:gd name="f112" fmla="val 840"/>
                  <a:gd name="f113" fmla="val 75"/>
                  <a:gd name="f114" fmla="val 843"/>
                  <a:gd name="f115" fmla="val 90"/>
                  <a:gd name="f116" fmla="val 845"/>
                  <a:gd name="f117" fmla="val 104"/>
                  <a:gd name="f118" fmla="val 114"/>
                  <a:gd name="f119" fmla="val 839"/>
                  <a:gd name="f120" fmla="val 122"/>
                  <a:gd name="f121" fmla="val 826"/>
                  <a:gd name="f122" fmla="val 822"/>
                  <a:gd name="f123" fmla="val 145"/>
                  <a:gd name="f124" fmla="val 154"/>
                  <a:gd name="f125" fmla="val 165"/>
                  <a:gd name="f126" fmla="val 833"/>
                  <a:gd name="f127" fmla="val 176"/>
                  <a:gd name="f128" fmla="val 842"/>
                  <a:gd name="f129" fmla="val 189"/>
                  <a:gd name="f130" fmla="val 852"/>
                  <a:gd name="f131" fmla="val 202"/>
                  <a:gd name="f132" fmla="val 860"/>
                  <a:gd name="f133" fmla="val 214"/>
                  <a:gd name="f134" fmla="val 868"/>
                  <a:gd name="f135" fmla="val 225"/>
                  <a:gd name="f136" fmla="val 873"/>
                  <a:gd name="f137" fmla="val 234"/>
                  <a:gd name="f138" fmla="val 876"/>
                  <a:gd name="f139" fmla="val 243"/>
                  <a:gd name="f140" fmla="val 877"/>
                  <a:gd name="f141" fmla="val 249"/>
                  <a:gd name="f142" fmla="val 880"/>
                  <a:gd name="f143" fmla="val 256"/>
                  <a:gd name="f144" fmla="val 882"/>
                  <a:gd name="f145" fmla="val 261"/>
                  <a:gd name="f146" fmla="val 886"/>
                  <a:gd name="f147" fmla="val 267"/>
                  <a:gd name="f148" fmla="val 894"/>
                  <a:gd name="f149" fmla="val 271"/>
                  <a:gd name="f150" fmla="val 901"/>
                  <a:gd name="f151" fmla="val 272"/>
                  <a:gd name="f152" fmla="val 910"/>
                  <a:gd name="f153" fmla="val 270"/>
                  <a:gd name="f154" fmla="val 917"/>
                  <a:gd name="f155" fmla="val 268"/>
                  <a:gd name="f156" fmla="val 924"/>
                  <a:gd name="f157" fmla="val 933"/>
                  <a:gd name="f158" fmla="val 945"/>
                  <a:gd name="f159" fmla="val 958"/>
                  <a:gd name="f160" fmla="val 275"/>
                  <a:gd name="f161" fmla="val 967"/>
                  <a:gd name="f162" fmla="val 282"/>
                  <a:gd name="f163" fmla="val 969"/>
                  <a:gd name="f164" fmla="val 287"/>
                  <a:gd name="f165" fmla="val 968"/>
                  <a:gd name="f166" fmla="val 295"/>
                  <a:gd name="f167" fmla="val 965"/>
                  <a:gd name="f168" fmla="val 304"/>
                  <a:gd name="f169" fmla="val 961"/>
                  <a:gd name="f170" fmla="val 315"/>
                  <a:gd name="f171" fmla="val 325"/>
                  <a:gd name="f172" fmla="val 957"/>
                  <a:gd name="f173" fmla="val 333"/>
                  <a:gd name="f174" fmla="val 959"/>
                  <a:gd name="f175" fmla="val 340"/>
                  <a:gd name="f176" fmla="val 960"/>
                  <a:gd name="f177" fmla="val 342"/>
                  <a:gd name="f178" fmla="val 964"/>
                  <a:gd name="f179" fmla="val 344"/>
                  <a:gd name="f180" fmla="val 362"/>
                  <a:gd name="f181" fmla="val 380"/>
                  <a:gd name="f182" fmla="val 956"/>
                  <a:gd name="f183" fmla="val 395"/>
                  <a:gd name="f184" fmla="val 954"/>
                  <a:gd name="f185" fmla="val 407"/>
                  <a:gd name="f186" fmla="val 415"/>
                  <a:gd name="f187" fmla="val 423"/>
                  <a:gd name="f188" fmla="val 428"/>
                  <a:gd name="f189" fmla="val 433"/>
                  <a:gd name="f190" fmla="val 976"/>
                  <a:gd name="f191" fmla="val 440"/>
                  <a:gd name="f192" fmla="val 985"/>
                  <a:gd name="f193" fmla="val 448"/>
                  <a:gd name="f194" fmla="val 992"/>
                  <a:gd name="f195" fmla="val 462"/>
                  <a:gd name="f196" fmla="val 994"/>
                  <a:gd name="f197" fmla="val 477"/>
                  <a:gd name="f198" fmla="val 491"/>
                  <a:gd name="f199" fmla="val 504"/>
                  <a:gd name="f200" fmla="val 516"/>
                  <a:gd name="f201" fmla="val 990"/>
                  <a:gd name="f202" fmla="val 525"/>
                  <a:gd name="f203" fmla="val 983"/>
                  <a:gd name="f204" fmla="val 532"/>
                  <a:gd name="f205" fmla="val 974"/>
                  <a:gd name="f206" fmla="val 539"/>
                  <a:gd name="f207" fmla="val 970"/>
                  <a:gd name="f208" fmla="val 541"/>
                  <a:gd name="f209" fmla="val 540"/>
                  <a:gd name="f210" fmla="val 963"/>
                  <a:gd name="f211" fmla="val 538"/>
                  <a:gd name="f212" fmla="val 534"/>
                  <a:gd name="f213" fmla="val 948"/>
                  <a:gd name="f214" fmla="val 941"/>
                  <a:gd name="f215" fmla="val 938"/>
                  <a:gd name="f216" fmla="val 936"/>
                  <a:gd name="f217" fmla="val 543"/>
                  <a:gd name="f218" fmla="val 555"/>
                  <a:gd name="f219" fmla="val 561"/>
                  <a:gd name="f220" fmla="val 934"/>
                  <a:gd name="f221" fmla="val 564"/>
                  <a:gd name="f222" fmla="val 928"/>
                  <a:gd name="f223" fmla="val 567"/>
                  <a:gd name="f224" fmla="val 908"/>
                  <a:gd name="f225" fmla="val 896"/>
                  <a:gd name="f226" fmla="val 566"/>
                  <a:gd name="f227" fmla="val 572"/>
                  <a:gd name="f228" fmla="val 867"/>
                  <a:gd name="f229" fmla="val 582"/>
                  <a:gd name="f230" fmla="val 858"/>
                  <a:gd name="f231" fmla="val 592"/>
                  <a:gd name="f232" fmla="val 847"/>
                  <a:gd name="f233" fmla="val 603"/>
                  <a:gd name="f234" fmla="val 837"/>
                  <a:gd name="f235" fmla="val 612"/>
                  <a:gd name="f236" fmla="val 829"/>
                  <a:gd name="f237" fmla="val 615"/>
                  <a:gd name="f238" fmla="val 806"/>
                  <a:gd name="f239" fmla="val 619"/>
                  <a:gd name="f240" fmla="val 792"/>
                  <a:gd name="f241" fmla="val 623"/>
                  <a:gd name="f242" fmla="val 780"/>
                  <a:gd name="f243" fmla="val 625"/>
                  <a:gd name="f244" fmla="val 629"/>
                  <a:gd name="f245" fmla="val 763"/>
                  <a:gd name="f246" fmla="val 633"/>
                  <a:gd name="f247" fmla="val 642"/>
                  <a:gd name="f248" fmla="val 655"/>
                  <a:gd name="f249" fmla="val 672"/>
                  <a:gd name="f250" fmla="val 739"/>
                  <a:gd name="f251" fmla="val 690"/>
                  <a:gd name="f252" fmla="val 730"/>
                  <a:gd name="f253" fmla="val 686"/>
                  <a:gd name="f254" fmla="val 723"/>
                  <a:gd name="f255" fmla="val 683"/>
                  <a:gd name="f256" fmla="val 717"/>
                  <a:gd name="f257" fmla="val 710"/>
                  <a:gd name="f258" fmla="val 685"/>
                  <a:gd name="f259" fmla="val 688"/>
                  <a:gd name="f260" fmla="val 678"/>
                  <a:gd name="f261" fmla="val 691"/>
                  <a:gd name="f262" fmla="val 671"/>
                  <a:gd name="f263" fmla="val 695"/>
                  <a:gd name="f264" fmla="val 656"/>
                  <a:gd name="f265" fmla="val 701"/>
                  <a:gd name="f266" fmla="val 638"/>
                  <a:gd name="f267" fmla="val 704"/>
                  <a:gd name="f268" fmla="val 630"/>
                  <a:gd name="f269" fmla="val 706"/>
                  <a:gd name="f270" fmla="val 720"/>
                  <a:gd name="f271" fmla="val 719"/>
                  <a:gd name="f272" fmla="val 713"/>
                  <a:gd name="f273" fmla="val 696"/>
                  <a:gd name="f274" fmla="val 562"/>
                  <a:gd name="f275" fmla="val 554"/>
                  <a:gd name="f276" fmla="val 692"/>
                  <a:gd name="f277" fmla="val 547"/>
                  <a:gd name="f278" fmla="val 537"/>
                  <a:gd name="f279" fmla="val 527"/>
                  <a:gd name="f280" fmla="val 703"/>
                  <a:gd name="f281" fmla="val 519"/>
                  <a:gd name="f282" fmla="val 510"/>
                  <a:gd name="f283" fmla="val 503"/>
                  <a:gd name="f284" fmla="val 721"/>
                  <a:gd name="f285" fmla="val 495"/>
                  <a:gd name="f286" fmla="val 729"/>
                  <a:gd name="f287" fmla="val 489"/>
                  <a:gd name="f288" fmla="val 733"/>
                  <a:gd name="f289" fmla="val 484"/>
                  <a:gd name="f290" fmla="val 732"/>
                  <a:gd name="f291" fmla="val 725"/>
                  <a:gd name="f292" fmla="val 472"/>
                  <a:gd name="f293" fmla="val 716"/>
                  <a:gd name="f294" fmla="val 469"/>
                  <a:gd name="f295" fmla="val 711"/>
                  <a:gd name="f296" fmla="val 463"/>
                  <a:gd name="f297" fmla="val 707"/>
                  <a:gd name="f298" fmla="val 455"/>
                  <a:gd name="f299" fmla="val 443"/>
                  <a:gd name="f300" fmla="val 709"/>
                  <a:gd name="f301" fmla="val 429"/>
                  <a:gd name="f302" fmla="val 712"/>
                  <a:gd name="f303" fmla="val 403"/>
                  <a:gd name="f304" fmla="val 396"/>
                  <a:gd name="f305" fmla="val 390"/>
                  <a:gd name="f306" fmla="val 736"/>
                  <a:gd name="f307" fmla="val 386"/>
                  <a:gd name="f308" fmla="val 743"/>
                  <a:gd name="f309" fmla="val 383"/>
                  <a:gd name="f310" fmla="val 747"/>
                  <a:gd name="f311" fmla="val 377"/>
                  <a:gd name="f312" fmla="val 372"/>
                  <a:gd name="f313" fmla="val 746"/>
                  <a:gd name="f314" fmla="val 367"/>
                  <a:gd name="f315" fmla="val 361"/>
                  <a:gd name="f316" fmla="val 355"/>
                  <a:gd name="f317" fmla="val 734"/>
                  <a:gd name="f318" fmla="val 345"/>
                  <a:gd name="f319" fmla="val 338"/>
                  <a:gd name="f320" fmla="val 332"/>
                  <a:gd name="f321" fmla="val 329"/>
                  <a:gd name="f322" fmla="val 740"/>
                  <a:gd name="f323" fmla="val 326"/>
                  <a:gd name="f324" fmla="val 744"/>
                  <a:gd name="f325" fmla="val 323"/>
                  <a:gd name="f326" fmla="val 318"/>
                  <a:gd name="f327" fmla="val 308"/>
                  <a:gd name="f328" fmla="val 303"/>
                  <a:gd name="f329" fmla="val 731"/>
                  <a:gd name="f330" fmla="val 298"/>
                  <a:gd name="f331" fmla="val 290"/>
                  <a:gd name="f332" fmla="val 286"/>
                  <a:gd name="f333" fmla="val 283"/>
                  <a:gd name="f334" fmla="val 280"/>
                  <a:gd name="f335" fmla="val 742"/>
                  <a:gd name="f336" fmla="val 277"/>
                  <a:gd name="f337" fmla="val 265"/>
                  <a:gd name="f338" fmla="val 258"/>
                  <a:gd name="f339" fmla="val 252"/>
                  <a:gd name="f340" fmla="val 248"/>
                  <a:gd name="f341" fmla="val 738"/>
                  <a:gd name="f342" fmla="val 237"/>
                  <a:gd name="f343" fmla="val 741"/>
                  <a:gd name="f344" fmla="val 222"/>
                  <a:gd name="f345" fmla="val 198"/>
                  <a:gd name="f346" fmla="val 187"/>
                  <a:gd name="f347" fmla="val 722"/>
                  <a:gd name="f348" fmla="val 166"/>
                  <a:gd name="f349" fmla="val 159"/>
                  <a:gd name="f350" fmla="val 152"/>
                  <a:gd name="f351" fmla="val 700"/>
                  <a:gd name="f352" fmla="val 121"/>
                  <a:gd name="f353" fmla="val 110"/>
                  <a:gd name="f354" fmla="val 99"/>
                  <a:gd name="f355" fmla="val 676"/>
                  <a:gd name="f356" fmla="val 91"/>
                  <a:gd name="f357" fmla="val 81"/>
                  <a:gd name="f358" fmla="val 684"/>
                  <a:gd name="f359" fmla="val 73"/>
                  <a:gd name="f360" fmla="val 68"/>
                  <a:gd name="f361" fmla="val 681"/>
                  <a:gd name="f362" fmla="val 58"/>
                  <a:gd name="f363" fmla="val 54"/>
                  <a:gd name="f364" fmla="val 50"/>
                  <a:gd name="f365" fmla="val 45"/>
                  <a:gd name="f366" fmla="val 34"/>
                  <a:gd name="f367" fmla="val 25"/>
                  <a:gd name="f368" fmla="val 20"/>
                  <a:gd name="f369" fmla="val 17"/>
                  <a:gd name="f370" fmla="val 677"/>
                  <a:gd name="f371" fmla="val 670"/>
                  <a:gd name="f372" fmla="val 660"/>
                  <a:gd name="f373" fmla="val 18"/>
                  <a:gd name="f374" fmla="val 649"/>
                  <a:gd name="f375" fmla="val 13"/>
                  <a:gd name="f376" fmla="val 626"/>
                  <a:gd name="f377" fmla="val 6"/>
                  <a:gd name="f378" fmla="val 1"/>
                  <a:gd name="f379" fmla="val 4"/>
                  <a:gd name="f380" fmla="val 588"/>
                  <a:gd name="f381" fmla="val 23"/>
                  <a:gd name="f382" fmla="val 31"/>
                  <a:gd name="f383" fmla="val 37"/>
                  <a:gd name="f384" fmla="val 83"/>
                  <a:gd name="f385" fmla="val 560"/>
                  <a:gd name="f386" fmla="val 136"/>
                  <a:gd name="f387" fmla="val 553"/>
                  <a:gd name="f388" fmla="val 141"/>
                  <a:gd name="f389" fmla="val 546"/>
                  <a:gd name="f390" fmla="val 533"/>
                  <a:gd name="f391" fmla="val 518"/>
                  <a:gd name="f392" fmla="val 490"/>
                  <a:gd name="f393" fmla="val 480"/>
                  <a:gd name="f394" fmla="val 138"/>
                  <a:gd name="f395" fmla="val 460"/>
                  <a:gd name="f396" fmla="val 439"/>
                  <a:gd name="f397" fmla="val 438"/>
                  <a:gd name="f398" fmla="val 437"/>
                  <a:gd name="f399" fmla="val 435"/>
                  <a:gd name="f400" fmla="val 124"/>
                  <a:gd name="f401" fmla="val 434"/>
                  <a:gd name="f402" fmla="val 432"/>
                  <a:gd name="f403" fmla="val 430"/>
                  <a:gd name="f404" fmla="val 424"/>
                  <a:gd name="f405" fmla="val 413"/>
                  <a:gd name="f406" fmla="val 400"/>
                  <a:gd name="f407" fmla="val 112"/>
                  <a:gd name="f408" fmla="val 387"/>
                  <a:gd name="f409" fmla="val 109"/>
                  <a:gd name="f410" fmla="val 375"/>
                  <a:gd name="f411" fmla="val 108"/>
                  <a:gd name="f412" fmla="val 366"/>
                  <a:gd name="f413" fmla="val 357"/>
                  <a:gd name="f414" fmla="val 348"/>
                  <a:gd name="f415" fmla="val 339"/>
                  <a:gd name="f416" fmla="val 330"/>
                  <a:gd name="f417" fmla="val 321"/>
                  <a:gd name="f418" fmla="val 310"/>
                  <a:gd name="f419" fmla="val 296"/>
                  <a:gd name="f420" fmla="val 102"/>
                  <a:gd name="f421" fmla="val 281"/>
                  <a:gd name="f422" fmla="val 101"/>
                  <a:gd name="f423" fmla="val 262"/>
                  <a:gd name="f424" fmla="val 98"/>
                  <a:gd name="f425" fmla="val 244"/>
                  <a:gd name="f426" fmla="val 95"/>
                  <a:gd name="f427" fmla="val 233"/>
                  <a:gd name="f428" fmla="val 82"/>
                  <a:gd name="f429" fmla="val 205"/>
                  <a:gd name="f430" fmla="val 76"/>
                  <a:gd name="f431" fmla="val 201"/>
                  <a:gd name="f432" fmla="val 196"/>
                  <a:gd name="f433" fmla="val 74"/>
                  <a:gd name="f434" fmla="val 86"/>
                  <a:gd name="f435" fmla="val 185"/>
                  <a:gd name="f436" fmla="val 184"/>
                  <a:gd name="f437" fmla="val 123"/>
                  <a:gd name="f438" fmla="val 182"/>
                  <a:gd name="f439" fmla="val 148"/>
                  <a:gd name="f440" fmla="val 191"/>
                  <a:gd name="f441" fmla="val 161"/>
                  <a:gd name="f442" fmla="val 200"/>
                  <a:gd name="f443" fmla="val 167"/>
                  <a:gd name="f444" fmla="val 206"/>
                  <a:gd name="f445" fmla="val 177"/>
                  <a:gd name="f446" fmla="val 211"/>
                  <a:gd name="f447" fmla="val 212"/>
                  <a:gd name="f448" fmla="val 209"/>
                  <a:gd name="f449" fmla="val 230"/>
                  <a:gd name="f450" fmla="val 204"/>
                  <a:gd name="f451" fmla="val 239"/>
                  <a:gd name="f452" fmla="val 186"/>
                  <a:gd name="f453" fmla="val 168"/>
                  <a:gd name="f454" fmla="val 218"/>
                  <a:gd name="f455" fmla="val 139"/>
                  <a:gd name="f456" fmla="val 207"/>
                  <a:gd name="f457" fmla="val 213"/>
                  <a:gd name="f458" fmla="val 216"/>
                  <a:gd name="f459" fmla="val 210"/>
                  <a:gd name="f460" fmla="val 219"/>
                  <a:gd name="f461" fmla="val 269"/>
                  <a:gd name="f462" fmla="val 42"/>
                  <a:gd name="f463" fmla="val 289"/>
                  <a:gd name="f464" fmla="val 33"/>
                  <a:gd name="f465" fmla="val 301"/>
                  <a:gd name="f466" fmla="val 343"/>
                  <a:gd name="f467" fmla="val 327"/>
                  <a:gd name="f468" fmla="val 92"/>
                  <a:gd name="f469" fmla="val 100"/>
                  <a:gd name="f470" fmla="val 106"/>
                  <a:gd name="f471" fmla="val 346"/>
                  <a:gd name="f472" fmla="val 365"/>
                  <a:gd name="f473" fmla="val 103"/>
                  <a:gd name="f474" fmla="val 391"/>
                  <a:gd name="f475" fmla="val 404"/>
                  <a:gd name="f476" fmla="val 441"/>
                  <a:gd name="f477" fmla="val 449"/>
                  <a:gd name="f478" fmla="val 456"/>
                  <a:gd name="f479" fmla="val 457"/>
                  <a:gd name="f480" fmla="val 453"/>
                  <a:gd name="f481" fmla="val 450"/>
                  <a:gd name="f482" fmla="val 459"/>
                  <a:gd name="f483" fmla="val 84"/>
                  <a:gd name="f484" fmla="val 468"/>
                  <a:gd name="f485" fmla="val 65"/>
                  <a:gd name="f486" fmla="val 55"/>
                  <a:gd name="f487" fmla="val 493"/>
                  <a:gd name="f488" fmla="val 515"/>
                  <a:gd name="f489" fmla="val 30"/>
                  <a:gd name="f490" fmla="val 520"/>
                  <a:gd name="f491" fmla="val 524"/>
                  <a:gd name="f492" fmla="val 24"/>
                  <a:gd name="f493" fmla="val 528"/>
                  <a:gd name="f494" fmla="val 531"/>
                  <a:gd name="f495" fmla="val 12"/>
                  <a:gd name="f496" fmla="val 536"/>
                  <a:gd name="f497" fmla="val 542"/>
                  <a:gd name="f498" fmla="+- 0 0 -90"/>
                  <a:gd name="f499" fmla="*/ f3 1 996"/>
                  <a:gd name="f500" fmla="*/ f4 1 748"/>
                  <a:gd name="f501" fmla="+- f7 0 f5"/>
                  <a:gd name="f502" fmla="+- f6 0 f5"/>
                  <a:gd name="f503" fmla="*/ f498 f0 1"/>
                  <a:gd name="f504" fmla="*/ f502 1 996"/>
                  <a:gd name="f505" fmla="*/ f501 1 748"/>
                  <a:gd name="f506" fmla="*/ f503 1 f2"/>
                  <a:gd name="f507" fmla="*/ 609 1 f504"/>
                  <a:gd name="f508" fmla="*/ 52 1 f505"/>
                  <a:gd name="f509" fmla="*/ 598 1 f504"/>
                  <a:gd name="f510" fmla="*/ 105 1 f505"/>
                  <a:gd name="f511" fmla="*/ 563 1 f504"/>
                  <a:gd name="f512" fmla="*/ 111 1 f505"/>
                  <a:gd name="f513" fmla="*/ 579 1 f504"/>
                  <a:gd name="f514" fmla="*/ 137 1 f505"/>
                  <a:gd name="f515" fmla="*/ 665 1 f504"/>
                  <a:gd name="f516" fmla="*/ 133 1 f505"/>
                  <a:gd name="f517" fmla="*/ 718 1 f504"/>
                  <a:gd name="f518" fmla="*/ 126 1 f505"/>
                  <a:gd name="f519" fmla="*/ 764 1 f504"/>
                  <a:gd name="f520" fmla="*/ 47 1 f505"/>
                  <a:gd name="f521" fmla="*/ 802 1 f504"/>
                  <a:gd name="f522" fmla="*/ 40 1 f505"/>
                  <a:gd name="f523" fmla="*/ 845 1 f504"/>
                  <a:gd name="f524" fmla="*/ 104 1 f505"/>
                  <a:gd name="f525" fmla="*/ 826 1 f504"/>
                  <a:gd name="f526" fmla="*/ 165 1 f505"/>
                  <a:gd name="f527" fmla="*/ 876 1 f504"/>
                  <a:gd name="f528" fmla="*/ 243 1 f505"/>
                  <a:gd name="f529" fmla="*/ 910 1 f504"/>
                  <a:gd name="f530" fmla="*/ 270 1 f505"/>
                  <a:gd name="f531" fmla="*/ 969 1 f504"/>
                  <a:gd name="f532" fmla="*/ 287 1 f505"/>
                  <a:gd name="f533" fmla="*/ 960 1 f504"/>
                  <a:gd name="f534" fmla="*/ 342 1 f505"/>
                  <a:gd name="f535" fmla="*/ 956 1 f504"/>
                  <a:gd name="f536" fmla="*/ 423 1 f505"/>
                  <a:gd name="f537" fmla="*/ 994 1 f504"/>
                  <a:gd name="f538" fmla="*/ 491 1 f505"/>
                  <a:gd name="f539" fmla="*/ 967 1 f504"/>
                  <a:gd name="f540" fmla="*/ 540 1 f505"/>
                  <a:gd name="f541" fmla="*/ 936 1 f504"/>
                  <a:gd name="f542" fmla="*/ 543 1 f505"/>
                  <a:gd name="f543" fmla="*/ 896 1 f504"/>
                  <a:gd name="f544" fmla="*/ 566 1 f505"/>
                  <a:gd name="f545" fmla="*/ 837 1 f504"/>
                  <a:gd name="f546" fmla="*/ 612 1 f505"/>
                  <a:gd name="f547" fmla="*/ 757 1 f504"/>
                  <a:gd name="f548" fmla="*/ 642 1 f505"/>
                  <a:gd name="f549" fmla="*/ 710 1 f504"/>
                  <a:gd name="f550" fmla="*/ 683 1 f505"/>
                  <a:gd name="f551" fmla="*/ 630 1 f504"/>
                  <a:gd name="f552" fmla="*/ 706 1 f505"/>
                  <a:gd name="f553" fmla="*/ 554 1 f504"/>
                  <a:gd name="f554" fmla="*/ 692 1 f505"/>
                  <a:gd name="f555" fmla="*/ 495 1 f504"/>
                  <a:gd name="f556" fmla="*/ 729 1 f505"/>
                  <a:gd name="f557" fmla="*/ 455 1 f504"/>
                  <a:gd name="f558" fmla="*/ 707 1 f505"/>
                  <a:gd name="f559" fmla="*/ 386 1 f504"/>
                  <a:gd name="f560" fmla="*/ 743 1 f505"/>
                  <a:gd name="f561" fmla="*/ 345 1 f504"/>
                  <a:gd name="f562" fmla="*/ 732 1 f505"/>
                  <a:gd name="f563" fmla="*/ 308 1 f504"/>
                  <a:gd name="f564" fmla="*/ 736 1 f505"/>
                  <a:gd name="f565" fmla="*/ 277 1 f504"/>
                  <a:gd name="f566" fmla="*/ 744 1 f505"/>
                  <a:gd name="f567" fmla="*/ 237 1 f504"/>
                  <a:gd name="f568" fmla="*/ 741 1 f505"/>
                  <a:gd name="f569" fmla="*/ 159 1 f504"/>
                  <a:gd name="f570" fmla="*/ 709 1 f505"/>
                  <a:gd name="f571" fmla="*/ 81 1 f504"/>
                  <a:gd name="f572" fmla="*/ 684 1 f505"/>
                  <a:gd name="f573" fmla="*/ 45 1 f504"/>
                  <a:gd name="f574" fmla="*/ 688 1 f505"/>
                  <a:gd name="f575" fmla="*/ 17 1 f504"/>
                  <a:gd name="f576" fmla="*/ 660 1 f505"/>
                  <a:gd name="f577" fmla="*/ 1 1 f504"/>
                  <a:gd name="f578" fmla="*/ 600 1 f505"/>
                  <a:gd name="f579" fmla="*/ 83 1 f504"/>
                  <a:gd name="f580" fmla="*/ 562 1 f505"/>
                  <a:gd name="f581" fmla="*/ 146 1 f504"/>
                  <a:gd name="f582" fmla="*/ 518 1 f505"/>
                  <a:gd name="f583" fmla="*/ 136 1 f504"/>
                  <a:gd name="f584" fmla="*/ 439 1 f505"/>
                  <a:gd name="f585" fmla="*/ 121 1 f504"/>
                  <a:gd name="f586" fmla="*/ 432 1 f505"/>
                  <a:gd name="f587" fmla="*/ 108 1 f504"/>
                  <a:gd name="f588" fmla="*/ 366 1 f505"/>
                  <a:gd name="f589" fmla="*/ 127 1 f504"/>
                  <a:gd name="f590" fmla="*/ 310 1 f505"/>
                  <a:gd name="f591" fmla="*/ 98 1 f504"/>
                  <a:gd name="f592" fmla="*/ 252 1 f505"/>
                  <a:gd name="f593" fmla="*/ 74 1 f504"/>
                  <a:gd name="f594" fmla="*/ 189 1 f505"/>
                  <a:gd name="f595" fmla="*/ 154 1 f504"/>
                  <a:gd name="f596" fmla="*/ 191 1 f505"/>
                  <a:gd name="f597" fmla="*/ 222 1 f504"/>
                  <a:gd name="f598" fmla="*/ 209 1 f505"/>
                  <a:gd name="f599" fmla="*/ 211 1 f504"/>
                  <a:gd name="f600" fmla="*/ 139 1 f505"/>
                  <a:gd name="f601" fmla="*/ 216 1 f504"/>
                  <a:gd name="f602" fmla="*/ 89 1 f505"/>
                  <a:gd name="f603" fmla="*/ 269 1 f504"/>
                  <a:gd name="f604" fmla="*/ 42 1 f505"/>
                  <a:gd name="f605" fmla="*/ 342 1 f504"/>
                  <a:gd name="f606" fmla="*/ 34 1 f505"/>
                  <a:gd name="f607" fmla="*/ 329 1 f504"/>
                  <a:gd name="f608" fmla="*/ 100 1 f505"/>
                  <a:gd name="f609" fmla="*/ 391 1 f504"/>
                  <a:gd name="f610" fmla="*/ 101 1 f505"/>
                  <a:gd name="f611" fmla="*/ 456 1 f504"/>
                  <a:gd name="f612" fmla="*/ 109 1 f505"/>
                  <a:gd name="f613" fmla="*/ 453 1 f504"/>
                  <a:gd name="f614" fmla="*/ 484 1 f504"/>
                  <a:gd name="f615" fmla="*/ 531 1 f504"/>
                  <a:gd name="f616" fmla="*/ 12 1 f505"/>
                  <a:gd name="f617" fmla="*/ 0 1 f504"/>
                  <a:gd name="f618" fmla="*/ f6 1 f504"/>
                  <a:gd name="f619" fmla="*/ 0 1 f505"/>
                  <a:gd name="f620" fmla="*/ f7 1 f505"/>
                  <a:gd name="f621" fmla="+- f506 0 f1"/>
                  <a:gd name="f622" fmla="*/ f617 f499 1"/>
                  <a:gd name="f623" fmla="*/ f618 f499 1"/>
                  <a:gd name="f624" fmla="*/ f620 f500 1"/>
                  <a:gd name="f625" fmla="*/ f619 f500 1"/>
                  <a:gd name="f626" fmla="*/ f507 f499 1"/>
                  <a:gd name="f627" fmla="*/ f508 f500 1"/>
                  <a:gd name="f628" fmla="*/ f509 f499 1"/>
                  <a:gd name="f629" fmla="*/ f510 f500 1"/>
                  <a:gd name="f630" fmla="*/ f511 f499 1"/>
                  <a:gd name="f631" fmla="*/ f512 f500 1"/>
                  <a:gd name="f632" fmla="*/ f513 f499 1"/>
                  <a:gd name="f633" fmla="*/ f514 f500 1"/>
                  <a:gd name="f634" fmla="*/ f515 f499 1"/>
                  <a:gd name="f635" fmla="*/ f516 f500 1"/>
                  <a:gd name="f636" fmla="*/ f517 f499 1"/>
                  <a:gd name="f637" fmla="*/ f518 f500 1"/>
                  <a:gd name="f638" fmla="*/ f519 f499 1"/>
                  <a:gd name="f639" fmla="*/ f520 f500 1"/>
                  <a:gd name="f640" fmla="*/ f521 f499 1"/>
                  <a:gd name="f641" fmla="*/ f522 f500 1"/>
                  <a:gd name="f642" fmla="*/ f523 f499 1"/>
                  <a:gd name="f643" fmla="*/ f524 f500 1"/>
                  <a:gd name="f644" fmla="*/ f525 f499 1"/>
                  <a:gd name="f645" fmla="*/ f526 f500 1"/>
                  <a:gd name="f646" fmla="*/ f527 f499 1"/>
                  <a:gd name="f647" fmla="*/ f528 f500 1"/>
                  <a:gd name="f648" fmla="*/ f529 f499 1"/>
                  <a:gd name="f649" fmla="*/ f530 f500 1"/>
                  <a:gd name="f650" fmla="*/ f531 f499 1"/>
                  <a:gd name="f651" fmla="*/ f532 f500 1"/>
                  <a:gd name="f652" fmla="*/ f533 f499 1"/>
                  <a:gd name="f653" fmla="*/ f534 f500 1"/>
                  <a:gd name="f654" fmla="*/ f535 f499 1"/>
                  <a:gd name="f655" fmla="*/ f536 f500 1"/>
                  <a:gd name="f656" fmla="*/ f537 f499 1"/>
                  <a:gd name="f657" fmla="*/ f538 f500 1"/>
                  <a:gd name="f658" fmla="*/ f539 f499 1"/>
                  <a:gd name="f659" fmla="*/ f540 f500 1"/>
                  <a:gd name="f660" fmla="*/ f541 f499 1"/>
                  <a:gd name="f661" fmla="*/ f542 f500 1"/>
                  <a:gd name="f662" fmla="*/ f543 f499 1"/>
                  <a:gd name="f663" fmla="*/ f544 f500 1"/>
                  <a:gd name="f664" fmla="*/ f545 f499 1"/>
                  <a:gd name="f665" fmla="*/ f546 f500 1"/>
                  <a:gd name="f666" fmla="*/ f547 f499 1"/>
                  <a:gd name="f667" fmla="*/ f548 f500 1"/>
                  <a:gd name="f668" fmla="*/ f549 f499 1"/>
                  <a:gd name="f669" fmla="*/ f550 f500 1"/>
                  <a:gd name="f670" fmla="*/ f551 f499 1"/>
                  <a:gd name="f671" fmla="*/ f552 f500 1"/>
                  <a:gd name="f672" fmla="*/ f553 f499 1"/>
                  <a:gd name="f673" fmla="*/ f554 f500 1"/>
                  <a:gd name="f674" fmla="*/ f555 f499 1"/>
                  <a:gd name="f675" fmla="*/ f556 f500 1"/>
                  <a:gd name="f676" fmla="*/ f557 f499 1"/>
                  <a:gd name="f677" fmla="*/ f558 f500 1"/>
                  <a:gd name="f678" fmla="*/ f559 f499 1"/>
                  <a:gd name="f679" fmla="*/ f560 f500 1"/>
                  <a:gd name="f680" fmla="*/ f561 f499 1"/>
                  <a:gd name="f681" fmla="*/ f562 f500 1"/>
                  <a:gd name="f682" fmla="*/ f563 f499 1"/>
                  <a:gd name="f683" fmla="*/ f564 f500 1"/>
                  <a:gd name="f684" fmla="*/ f565 f499 1"/>
                  <a:gd name="f685" fmla="*/ f566 f500 1"/>
                  <a:gd name="f686" fmla="*/ f567 f499 1"/>
                  <a:gd name="f687" fmla="*/ f568 f500 1"/>
                  <a:gd name="f688" fmla="*/ f569 f499 1"/>
                  <a:gd name="f689" fmla="*/ f570 f500 1"/>
                  <a:gd name="f690" fmla="*/ f571 f499 1"/>
                  <a:gd name="f691" fmla="*/ f572 f500 1"/>
                  <a:gd name="f692" fmla="*/ f573 f499 1"/>
                  <a:gd name="f693" fmla="*/ f574 f500 1"/>
                  <a:gd name="f694" fmla="*/ f575 f499 1"/>
                  <a:gd name="f695" fmla="*/ f576 f500 1"/>
                  <a:gd name="f696" fmla="*/ f577 f499 1"/>
                  <a:gd name="f697" fmla="*/ f578 f500 1"/>
                  <a:gd name="f698" fmla="*/ f579 f499 1"/>
                  <a:gd name="f699" fmla="*/ f580 f500 1"/>
                  <a:gd name="f700" fmla="*/ f581 f499 1"/>
                  <a:gd name="f701" fmla="*/ f582 f500 1"/>
                  <a:gd name="f702" fmla="*/ f583 f499 1"/>
                  <a:gd name="f703" fmla="*/ f584 f500 1"/>
                  <a:gd name="f704" fmla="*/ f585 f499 1"/>
                  <a:gd name="f705" fmla="*/ f586 f500 1"/>
                  <a:gd name="f706" fmla="*/ f587 f499 1"/>
                  <a:gd name="f707" fmla="*/ f588 f500 1"/>
                  <a:gd name="f708" fmla="*/ f589 f499 1"/>
                  <a:gd name="f709" fmla="*/ f590 f500 1"/>
                  <a:gd name="f710" fmla="*/ f591 f499 1"/>
                  <a:gd name="f711" fmla="*/ f592 f500 1"/>
                  <a:gd name="f712" fmla="*/ f593 f499 1"/>
                  <a:gd name="f713" fmla="*/ f594 f500 1"/>
                  <a:gd name="f714" fmla="*/ f595 f499 1"/>
                  <a:gd name="f715" fmla="*/ f596 f500 1"/>
                  <a:gd name="f716" fmla="*/ f597 f499 1"/>
                  <a:gd name="f717" fmla="*/ f598 f500 1"/>
                  <a:gd name="f718" fmla="*/ f599 f499 1"/>
                  <a:gd name="f719" fmla="*/ f600 f500 1"/>
                  <a:gd name="f720" fmla="*/ f601 f499 1"/>
                  <a:gd name="f721" fmla="*/ f602 f500 1"/>
                  <a:gd name="f722" fmla="*/ f603 f499 1"/>
                  <a:gd name="f723" fmla="*/ f604 f500 1"/>
                  <a:gd name="f724" fmla="*/ f605 f499 1"/>
                  <a:gd name="f725" fmla="*/ f606 f500 1"/>
                  <a:gd name="f726" fmla="*/ f607 f499 1"/>
                  <a:gd name="f727" fmla="*/ f608 f500 1"/>
                  <a:gd name="f728" fmla="*/ f609 f499 1"/>
                  <a:gd name="f729" fmla="*/ f610 f500 1"/>
                  <a:gd name="f730" fmla="*/ f611 f499 1"/>
                  <a:gd name="f731" fmla="*/ f612 f500 1"/>
                  <a:gd name="f732" fmla="*/ f613 f499 1"/>
                  <a:gd name="f733" fmla="*/ f614 f499 1"/>
                  <a:gd name="f734" fmla="*/ f615 f499 1"/>
                  <a:gd name="f735" fmla="*/ f616 f50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21">
                    <a:pos x="f626" y="f627"/>
                  </a:cxn>
                  <a:cxn ang="f621">
                    <a:pos x="f628" y="f629"/>
                  </a:cxn>
                  <a:cxn ang="f621">
                    <a:pos x="f630" y="f631"/>
                  </a:cxn>
                  <a:cxn ang="f621">
                    <a:pos x="f632" y="f633"/>
                  </a:cxn>
                  <a:cxn ang="f621">
                    <a:pos x="f634" y="f635"/>
                  </a:cxn>
                  <a:cxn ang="f621">
                    <a:pos x="f636" y="f637"/>
                  </a:cxn>
                  <a:cxn ang="f621">
                    <a:pos x="f638" y="f639"/>
                  </a:cxn>
                  <a:cxn ang="f621">
                    <a:pos x="f640" y="f641"/>
                  </a:cxn>
                  <a:cxn ang="f621">
                    <a:pos x="f642" y="f643"/>
                  </a:cxn>
                  <a:cxn ang="f621">
                    <a:pos x="f644" y="f645"/>
                  </a:cxn>
                  <a:cxn ang="f621">
                    <a:pos x="f646" y="f647"/>
                  </a:cxn>
                  <a:cxn ang="f621">
                    <a:pos x="f648" y="f649"/>
                  </a:cxn>
                  <a:cxn ang="f621">
                    <a:pos x="f650" y="f651"/>
                  </a:cxn>
                  <a:cxn ang="f621">
                    <a:pos x="f652" y="f653"/>
                  </a:cxn>
                  <a:cxn ang="f621">
                    <a:pos x="f654" y="f655"/>
                  </a:cxn>
                  <a:cxn ang="f621">
                    <a:pos x="f656" y="f657"/>
                  </a:cxn>
                  <a:cxn ang="f621">
                    <a:pos x="f658" y="f659"/>
                  </a:cxn>
                  <a:cxn ang="f621">
                    <a:pos x="f660" y="f661"/>
                  </a:cxn>
                  <a:cxn ang="f621">
                    <a:pos x="f662" y="f663"/>
                  </a:cxn>
                  <a:cxn ang="f621">
                    <a:pos x="f664" y="f665"/>
                  </a:cxn>
                  <a:cxn ang="f621">
                    <a:pos x="f666" y="f667"/>
                  </a:cxn>
                  <a:cxn ang="f621">
                    <a:pos x="f668" y="f669"/>
                  </a:cxn>
                  <a:cxn ang="f621">
                    <a:pos x="f670" y="f671"/>
                  </a:cxn>
                  <a:cxn ang="f621">
                    <a:pos x="f672" y="f673"/>
                  </a:cxn>
                  <a:cxn ang="f621">
                    <a:pos x="f674" y="f675"/>
                  </a:cxn>
                  <a:cxn ang="f621">
                    <a:pos x="f676" y="f677"/>
                  </a:cxn>
                  <a:cxn ang="f621">
                    <a:pos x="f678" y="f679"/>
                  </a:cxn>
                  <a:cxn ang="f621">
                    <a:pos x="f680" y="f681"/>
                  </a:cxn>
                  <a:cxn ang="f621">
                    <a:pos x="f682" y="f683"/>
                  </a:cxn>
                  <a:cxn ang="f621">
                    <a:pos x="f684" y="f685"/>
                  </a:cxn>
                  <a:cxn ang="f621">
                    <a:pos x="f686" y="f687"/>
                  </a:cxn>
                  <a:cxn ang="f621">
                    <a:pos x="f688" y="f689"/>
                  </a:cxn>
                  <a:cxn ang="f621">
                    <a:pos x="f690" y="f691"/>
                  </a:cxn>
                  <a:cxn ang="f621">
                    <a:pos x="f692" y="f693"/>
                  </a:cxn>
                  <a:cxn ang="f621">
                    <a:pos x="f694" y="f695"/>
                  </a:cxn>
                  <a:cxn ang="f621">
                    <a:pos x="f696" y="f697"/>
                  </a:cxn>
                  <a:cxn ang="f621">
                    <a:pos x="f698" y="f699"/>
                  </a:cxn>
                  <a:cxn ang="f621">
                    <a:pos x="f700" y="f701"/>
                  </a:cxn>
                  <a:cxn ang="f621">
                    <a:pos x="f702" y="f703"/>
                  </a:cxn>
                  <a:cxn ang="f621">
                    <a:pos x="f704" y="f705"/>
                  </a:cxn>
                  <a:cxn ang="f621">
                    <a:pos x="f706" y="f707"/>
                  </a:cxn>
                  <a:cxn ang="f621">
                    <a:pos x="f708" y="f709"/>
                  </a:cxn>
                  <a:cxn ang="f621">
                    <a:pos x="f710" y="f711"/>
                  </a:cxn>
                  <a:cxn ang="f621">
                    <a:pos x="f712" y="f713"/>
                  </a:cxn>
                  <a:cxn ang="f621">
                    <a:pos x="f714" y="f715"/>
                  </a:cxn>
                  <a:cxn ang="f621">
                    <a:pos x="f716" y="f717"/>
                  </a:cxn>
                  <a:cxn ang="f621">
                    <a:pos x="f718" y="f719"/>
                  </a:cxn>
                  <a:cxn ang="f621">
                    <a:pos x="f720" y="f721"/>
                  </a:cxn>
                  <a:cxn ang="f621">
                    <a:pos x="f722" y="f723"/>
                  </a:cxn>
                  <a:cxn ang="f621">
                    <a:pos x="f724" y="f725"/>
                  </a:cxn>
                  <a:cxn ang="f621">
                    <a:pos x="f726" y="f727"/>
                  </a:cxn>
                  <a:cxn ang="f621">
                    <a:pos x="f728" y="f729"/>
                  </a:cxn>
                  <a:cxn ang="f621">
                    <a:pos x="f730" y="f731"/>
                  </a:cxn>
                  <a:cxn ang="f621">
                    <a:pos x="f732" y="f721"/>
                  </a:cxn>
                  <a:cxn ang="f621">
                    <a:pos x="f733" y="f639"/>
                  </a:cxn>
                  <a:cxn ang="f621">
                    <a:pos x="f734" y="f735"/>
                  </a:cxn>
                </a:cxnLst>
                <a:rect l="f622" t="f625" r="f623" b="f624"/>
                <a:pathLst>
                  <a:path w="996" h="748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7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6" y="f28"/>
                    </a:lnTo>
                    <a:lnTo>
                      <a:pt x="f29" y="f30"/>
                    </a:lnTo>
                    <a:lnTo>
                      <a:pt x="f24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5"/>
                    </a:lnTo>
                    <a:lnTo>
                      <a:pt x="f47" y="f43"/>
                    </a:lnTo>
                    <a:lnTo>
                      <a:pt x="f48" y="f37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40" y="f54"/>
                    </a:lnTo>
                    <a:lnTo>
                      <a:pt x="f55" y="f56"/>
                    </a:lnTo>
                    <a:lnTo>
                      <a:pt x="f57" y="f52"/>
                    </a:lnTo>
                    <a:lnTo>
                      <a:pt x="f58" y="f59"/>
                    </a:lnTo>
                    <a:lnTo>
                      <a:pt x="f60" y="f50"/>
                    </a:lnTo>
                    <a:lnTo>
                      <a:pt x="f61" y="f62"/>
                    </a:lnTo>
                    <a:lnTo>
                      <a:pt x="f63" y="f50"/>
                    </a:lnTo>
                    <a:lnTo>
                      <a:pt x="f64" y="f52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33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28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8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6" y="f107"/>
                    </a:lnTo>
                    <a:lnTo>
                      <a:pt x="f10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6" y="f117"/>
                    </a:lnTo>
                    <a:lnTo>
                      <a:pt x="f114" y="f118"/>
                    </a:lnTo>
                    <a:lnTo>
                      <a:pt x="f119" y="f120"/>
                    </a:lnTo>
                    <a:lnTo>
                      <a:pt x="f110" y="f50"/>
                    </a:lnTo>
                    <a:lnTo>
                      <a:pt x="f121" y="f56"/>
                    </a:lnTo>
                    <a:lnTo>
                      <a:pt x="f122" y="f123"/>
                    </a:lnTo>
                    <a:lnTo>
                      <a:pt x="f122" y="f124"/>
                    </a:lnTo>
                    <a:lnTo>
                      <a:pt x="f121" y="f125"/>
                    </a:lnTo>
                    <a:lnTo>
                      <a:pt x="f126" y="f127"/>
                    </a:lnTo>
                    <a:lnTo>
                      <a:pt x="f128" y="f129"/>
                    </a:ln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47"/>
                    </a:lnTo>
                    <a:lnTo>
                      <a:pt x="f157" y="f155"/>
                    </a:lnTo>
                    <a:lnTo>
                      <a:pt x="f158" y="f149"/>
                    </a:lnTo>
                    <a:lnTo>
                      <a:pt x="f159" y="f160"/>
                    </a:lnTo>
                    <a:lnTo>
                      <a:pt x="f161" y="f162"/>
                    </a:lnTo>
                    <a:lnTo>
                      <a:pt x="f163" y="f164"/>
                    </a:lnTo>
                    <a:lnTo>
                      <a:pt x="f165" y="f166"/>
                    </a:lnTo>
                    <a:lnTo>
                      <a:pt x="f167" y="f168"/>
                    </a:lnTo>
                    <a:lnTo>
                      <a:pt x="f169" y="f170"/>
                    </a:lnTo>
                    <a:lnTo>
                      <a:pt x="f159" y="f171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178" y="f179"/>
                    </a:lnTo>
                    <a:lnTo>
                      <a:pt x="f176" y="f180"/>
                    </a:lnTo>
                    <a:lnTo>
                      <a:pt x="f172" y="f181"/>
                    </a:lnTo>
                    <a:lnTo>
                      <a:pt x="f182" y="f183"/>
                    </a:lnTo>
                    <a:lnTo>
                      <a:pt x="f184" y="f185"/>
                    </a:lnTo>
                    <a:lnTo>
                      <a:pt x="f184" y="f186"/>
                    </a:lnTo>
                    <a:lnTo>
                      <a:pt x="f182" y="f187"/>
                    </a:lnTo>
                    <a:lnTo>
                      <a:pt x="f176" y="f188"/>
                    </a:lnTo>
                    <a:lnTo>
                      <a:pt x="f165" y="f189"/>
                    </a:lnTo>
                    <a:lnTo>
                      <a:pt x="f190" y="f191"/>
                    </a:lnTo>
                    <a:lnTo>
                      <a:pt x="f192" y="f193"/>
                    </a:lnTo>
                    <a:lnTo>
                      <a:pt x="f194" y="f195"/>
                    </a:lnTo>
                    <a:lnTo>
                      <a:pt x="f196" y="f197"/>
                    </a:lnTo>
                    <a:lnTo>
                      <a:pt x="f196" y="f198"/>
                    </a:lnTo>
                    <a:lnTo>
                      <a:pt x="f6" y="f199"/>
                    </a:lnTo>
                    <a:lnTo>
                      <a:pt x="f196" y="f200"/>
                    </a:lnTo>
                    <a:lnTo>
                      <a:pt x="f201" y="f202"/>
                    </a:lnTo>
                    <a:lnTo>
                      <a:pt x="f203" y="f204"/>
                    </a:lnTo>
                    <a:lnTo>
                      <a:pt x="f205" y="f206"/>
                    </a:lnTo>
                    <a:lnTo>
                      <a:pt x="f207" y="f208"/>
                    </a:lnTo>
                    <a:lnTo>
                      <a:pt x="f161" y="f209"/>
                    </a:lnTo>
                    <a:lnTo>
                      <a:pt x="f210" y="f211"/>
                    </a:lnTo>
                    <a:lnTo>
                      <a:pt x="f176" y="f212"/>
                    </a:lnTo>
                    <a:lnTo>
                      <a:pt x="f182" y="f204"/>
                    </a:lnTo>
                    <a:lnTo>
                      <a:pt x="f213" y="f204"/>
                    </a:lnTo>
                    <a:lnTo>
                      <a:pt x="f214" y="f212"/>
                    </a:lnTo>
                    <a:lnTo>
                      <a:pt x="f215" y="f211"/>
                    </a:lnTo>
                    <a:lnTo>
                      <a:pt x="f216" y="f217"/>
                    </a:lnTo>
                    <a:lnTo>
                      <a:pt x="f216" y="f48"/>
                    </a:lnTo>
                    <a:lnTo>
                      <a:pt x="f215" y="f218"/>
                    </a:lnTo>
                    <a:lnTo>
                      <a:pt x="f215" y="f219"/>
                    </a:lnTo>
                    <a:lnTo>
                      <a:pt x="f220" y="f221"/>
                    </a:lnTo>
                    <a:lnTo>
                      <a:pt x="f222" y="f223"/>
                    </a:lnTo>
                    <a:lnTo>
                      <a:pt x="f224" y="f223"/>
                    </a:lnTo>
                    <a:lnTo>
                      <a:pt x="f225" y="f226"/>
                    </a:lnTo>
                    <a:lnTo>
                      <a:pt x="f146" y="f223"/>
                    </a:lnTo>
                    <a:lnTo>
                      <a:pt x="f140" y="f53"/>
                    </a:lnTo>
                    <a:lnTo>
                      <a:pt x="f136" y="f227"/>
                    </a:lnTo>
                    <a:lnTo>
                      <a:pt x="f228" y="f229"/>
                    </a:lnTo>
                    <a:lnTo>
                      <a:pt x="f230" y="f231"/>
                    </a:lnTo>
                    <a:lnTo>
                      <a:pt x="f232" y="f233"/>
                    </a:lnTo>
                    <a:lnTo>
                      <a:pt x="f234" y="f235"/>
                    </a:lnTo>
                    <a:lnTo>
                      <a:pt x="f236" y="f237"/>
                    </a:lnTo>
                    <a:lnTo>
                      <a:pt x="f238" y="f239"/>
                    </a:lnTo>
                    <a:lnTo>
                      <a:pt x="f240" y="f241"/>
                    </a:lnTo>
                    <a:lnTo>
                      <a:pt x="f242" y="f243"/>
                    </a:lnTo>
                    <a:lnTo>
                      <a:pt x="f93" y="f244"/>
                    </a:lnTo>
                    <a:lnTo>
                      <a:pt x="f245" y="f246"/>
                    </a:lnTo>
                    <a:lnTo>
                      <a:pt x="f85" y="f247"/>
                    </a:lnTo>
                    <a:lnTo>
                      <a:pt x="f82" y="f248"/>
                    </a:lnTo>
                    <a:lnTo>
                      <a:pt x="f80" y="f249"/>
                    </a:lnTo>
                    <a:lnTo>
                      <a:pt x="f250" y="f251"/>
                    </a:lnTo>
                    <a:lnTo>
                      <a:pt x="f252" y="f253"/>
                    </a:lnTo>
                    <a:lnTo>
                      <a:pt x="f254" y="f255"/>
                    </a:lnTo>
                    <a:lnTo>
                      <a:pt x="f256" y="f67"/>
                    </a:lnTo>
                    <a:lnTo>
                      <a:pt x="f257" y="f255"/>
                    </a:lnTo>
                    <a:lnTo>
                      <a:pt x="f73" y="f258"/>
                    </a:lnTo>
                    <a:lnTo>
                      <a:pt x="f259" y="f259"/>
                    </a:lnTo>
                    <a:lnTo>
                      <a:pt x="f260" y="f261"/>
                    </a:lnTo>
                    <a:lnTo>
                      <a:pt x="f262" y="f263"/>
                    </a:lnTo>
                    <a:lnTo>
                      <a:pt x="f264" y="f265"/>
                    </a:lnTo>
                    <a:lnTo>
                      <a:pt x="f266" y="f267"/>
                    </a:lnTo>
                    <a:lnTo>
                      <a:pt x="f268" y="f269"/>
                    </a:lnTo>
                    <a:lnTo>
                      <a:pt x="f237" y="f256"/>
                    </a:lnTo>
                    <a:lnTo>
                      <a:pt x="f57" y="f270"/>
                    </a:lnTo>
                    <a:lnTo>
                      <a:pt x="f34" y="f271"/>
                    </a:lnTo>
                    <a:lnTo>
                      <a:pt x="f38" y="f272"/>
                    </a:lnTo>
                    <a:lnTo>
                      <a:pt x="f53" y="f273"/>
                    </a:lnTo>
                    <a:lnTo>
                      <a:pt x="f274" y="f261"/>
                    </a:lnTo>
                    <a:lnTo>
                      <a:pt x="f275" y="f276"/>
                    </a:lnTo>
                    <a:lnTo>
                      <a:pt x="f277" y="f273"/>
                    </a:lnTo>
                    <a:lnTo>
                      <a:pt x="f278" y="f265"/>
                    </a:lnTo>
                    <a:lnTo>
                      <a:pt x="f279" y="f280"/>
                    </a:lnTo>
                    <a:lnTo>
                      <a:pt x="f281" y="f269"/>
                    </a:lnTo>
                    <a:lnTo>
                      <a:pt x="f282" y="f272"/>
                    </a:lnTo>
                    <a:lnTo>
                      <a:pt x="f283" y="f284"/>
                    </a:lnTo>
                    <a:lnTo>
                      <a:pt x="f285" y="f286"/>
                    </a:lnTo>
                    <a:lnTo>
                      <a:pt x="f287" y="f288"/>
                    </a:lnTo>
                    <a:lnTo>
                      <a:pt x="f289" y="f290"/>
                    </a:lnTo>
                    <a:lnTo>
                      <a:pt x="f197" y="f291"/>
                    </a:lnTo>
                    <a:lnTo>
                      <a:pt x="f292" y="f293"/>
                    </a:lnTo>
                    <a:lnTo>
                      <a:pt x="f294" y="f295"/>
                    </a:lnTo>
                    <a:lnTo>
                      <a:pt x="f296" y="f297"/>
                    </a:lnTo>
                    <a:lnTo>
                      <a:pt x="f298" y="f297"/>
                    </a:lnTo>
                    <a:lnTo>
                      <a:pt x="f299" y="f300"/>
                    </a:lnTo>
                    <a:lnTo>
                      <a:pt x="f301" y="f302"/>
                    </a:lnTo>
                    <a:lnTo>
                      <a:pt x="f186" y="f293"/>
                    </a:lnTo>
                    <a:lnTo>
                      <a:pt x="f303" y="f284"/>
                    </a:lnTo>
                    <a:lnTo>
                      <a:pt x="f304" y="f286"/>
                    </a:lnTo>
                    <a:lnTo>
                      <a:pt x="f305" y="f306"/>
                    </a:lnTo>
                    <a:lnTo>
                      <a:pt x="f307" y="f308"/>
                    </a:lnTo>
                    <a:lnTo>
                      <a:pt x="f309" y="f310"/>
                    </a:lnTo>
                    <a:lnTo>
                      <a:pt x="f311" y="f7"/>
                    </a:lnTo>
                    <a:lnTo>
                      <a:pt x="f312" y="f313"/>
                    </a:lnTo>
                    <a:lnTo>
                      <a:pt x="f314" y="f308"/>
                    </a:lnTo>
                    <a:lnTo>
                      <a:pt x="f315" y="f250"/>
                    </a:lnTo>
                    <a:lnTo>
                      <a:pt x="f316" y="f317"/>
                    </a:lnTo>
                    <a:lnTo>
                      <a:pt x="f318" y="f290"/>
                    </a:lnTo>
                    <a:lnTo>
                      <a:pt x="f319" y="f288"/>
                    </a:lnTo>
                    <a:lnTo>
                      <a:pt x="f320" y="f306"/>
                    </a:lnTo>
                    <a:lnTo>
                      <a:pt x="f321" y="f322"/>
                    </a:lnTo>
                    <a:lnTo>
                      <a:pt x="f323" y="f324"/>
                    </a:lnTo>
                    <a:lnTo>
                      <a:pt x="f325" y="f313"/>
                    </a:lnTo>
                    <a:lnTo>
                      <a:pt x="f326" y="f80"/>
                    </a:lnTo>
                    <a:lnTo>
                      <a:pt x="f327" y="f306"/>
                    </a:lnTo>
                    <a:lnTo>
                      <a:pt x="f328" y="f329"/>
                    </a:lnTo>
                    <a:lnTo>
                      <a:pt x="f330" y="f286"/>
                    </a:lnTo>
                    <a:lnTo>
                      <a:pt x="f331" y="f252"/>
                    </a:lnTo>
                    <a:lnTo>
                      <a:pt x="f332" y="f317"/>
                    </a:lnTo>
                    <a:lnTo>
                      <a:pt x="f333" y="f250"/>
                    </a:lnTo>
                    <a:lnTo>
                      <a:pt x="f334" y="f335"/>
                    </a:lnTo>
                    <a:lnTo>
                      <a:pt x="f336" y="f324"/>
                    </a:lnTo>
                    <a:lnTo>
                      <a:pt x="f151" y="f324"/>
                    </a:lnTo>
                    <a:lnTo>
                      <a:pt x="f337" y="f335"/>
                    </a:lnTo>
                    <a:lnTo>
                      <a:pt x="f338" y="f250"/>
                    </a:lnTo>
                    <a:lnTo>
                      <a:pt x="f339" y="f306"/>
                    </a:lnTo>
                    <a:lnTo>
                      <a:pt x="f340" y="f306"/>
                    </a:lnTo>
                    <a:lnTo>
                      <a:pt x="f139" y="f341"/>
                    </a:lnTo>
                    <a:lnTo>
                      <a:pt x="f342" y="f343"/>
                    </a:lnTo>
                    <a:lnTo>
                      <a:pt x="f344" y="f308"/>
                    </a:lnTo>
                    <a:lnTo>
                      <a:pt x="f133" y="f343"/>
                    </a:lnTo>
                    <a:lnTo>
                      <a:pt x="f345" y="f252"/>
                    </a:lnTo>
                    <a:lnTo>
                      <a:pt x="f346" y="f347"/>
                    </a:lnTo>
                    <a:lnTo>
                      <a:pt x="f127" y="f293"/>
                    </a:lnTo>
                    <a:lnTo>
                      <a:pt x="f348" y="f295"/>
                    </a:lnTo>
                    <a:lnTo>
                      <a:pt x="f349" y="f300"/>
                    </a:lnTo>
                    <a:lnTo>
                      <a:pt x="f350" y="f269"/>
                    </a:lnTo>
                    <a:lnTo>
                      <a:pt x="f74" y="f351"/>
                    </a:lnTo>
                    <a:lnTo>
                      <a:pt x="f352" y="f258"/>
                    </a:lnTo>
                    <a:lnTo>
                      <a:pt x="f353" y="f260"/>
                    </a:lnTo>
                    <a:lnTo>
                      <a:pt x="f354" y="f355"/>
                    </a:lnTo>
                    <a:lnTo>
                      <a:pt x="f356" y="f260"/>
                    </a:lnTo>
                    <a:lnTo>
                      <a:pt x="f357" y="f358"/>
                    </a:lnTo>
                    <a:lnTo>
                      <a:pt x="f359" y="f261"/>
                    </a:lnTo>
                    <a:lnTo>
                      <a:pt x="f360" y="f259"/>
                    </a:lnTo>
                    <a:lnTo>
                      <a:pt x="f111" y="f361"/>
                    </a:lnTo>
                    <a:lnTo>
                      <a:pt x="f362" y="f260"/>
                    </a:lnTo>
                    <a:lnTo>
                      <a:pt x="f363" y="f361"/>
                    </a:lnTo>
                    <a:lnTo>
                      <a:pt x="f364" y="f358"/>
                    </a:lnTo>
                    <a:lnTo>
                      <a:pt x="f365" y="f259"/>
                    </a:lnTo>
                    <a:lnTo>
                      <a:pt x="f103" y="f251"/>
                    </a:lnTo>
                    <a:lnTo>
                      <a:pt x="f366" y="f259"/>
                    </a:lnTo>
                    <a:lnTo>
                      <a:pt x="f367" y="f358"/>
                    </a:lnTo>
                    <a:lnTo>
                      <a:pt x="f368" y="f361"/>
                    </a:lnTo>
                    <a:lnTo>
                      <a:pt x="f369" y="f370"/>
                    </a:lnTo>
                    <a:lnTo>
                      <a:pt x="f14" y="f371"/>
                    </a:lnTo>
                    <a:lnTo>
                      <a:pt x="f369" y="f372"/>
                    </a:lnTo>
                    <a:lnTo>
                      <a:pt x="f373" y="f374"/>
                    </a:lnTo>
                    <a:lnTo>
                      <a:pt x="f369" y="f266"/>
                    </a:lnTo>
                    <a:lnTo>
                      <a:pt x="f375" y="f376"/>
                    </a:lnTo>
                    <a:lnTo>
                      <a:pt x="f377" y="f237"/>
                    </a:lnTo>
                    <a:lnTo>
                      <a:pt x="f10" y="f17"/>
                    </a:lnTo>
                    <a:lnTo>
                      <a:pt x="f5" y="f22"/>
                    </a:lnTo>
                    <a:lnTo>
                      <a:pt x="f378" y="f32"/>
                    </a:lnTo>
                    <a:lnTo>
                      <a:pt x="f379" y="f29"/>
                    </a:lnTo>
                    <a:lnTo>
                      <a:pt x="f12" y="f380"/>
                    </a:lnTo>
                    <a:lnTo>
                      <a:pt x="f381" y="f42"/>
                    </a:lnTo>
                    <a:lnTo>
                      <a:pt x="f382" y="f221"/>
                    </a:lnTo>
                    <a:lnTo>
                      <a:pt x="f383" y="f219"/>
                    </a:lnTo>
                    <a:lnTo>
                      <a:pt x="f360" y="f219"/>
                    </a:lnTo>
                    <a:lnTo>
                      <a:pt x="f384" y="f274"/>
                    </a:lnTo>
                    <a:lnTo>
                      <a:pt x="f354" y="f219"/>
                    </a:lnTo>
                    <a:lnTo>
                      <a:pt x="f33" y="f385"/>
                    </a:lnTo>
                    <a:lnTo>
                      <a:pt x="f62" y="f46"/>
                    </a:lnTo>
                    <a:lnTo>
                      <a:pt x="f386" y="f387"/>
                    </a:lnTo>
                    <a:lnTo>
                      <a:pt x="f388" y="f389"/>
                    </a:lnTo>
                    <a:lnTo>
                      <a:pt x="f123" y="f390"/>
                    </a:lnTo>
                    <a:lnTo>
                      <a:pt x="f68" y="f391"/>
                    </a:lnTo>
                    <a:lnTo>
                      <a:pt x="f72" y="f199"/>
                    </a:lnTo>
                    <a:lnTo>
                      <a:pt x="f72" y="f392"/>
                    </a:lnTo>
                    <a:lnTo>
                      <a:pt x="f68" y="f393"/>
                    </a:lnTo>
                    <a:lnTo>
                      <a:pt x="f74" y="f292"/>
                    </a:lnTo>
                    <a:lnTo>
                      <a:pt x="f394" y="f395"/>
                    </a:lnTo>
                    <a:lnTo>
                      <a:pt x="f386" y="f193"/>
                    </a:lnTo>
                    <a:lnTo>
                      <a:pt x="f386" y="f396"/>
                    </a:lnTo>
                    <a:lnTo>
                      <a:pt x="f56" y="f397"/>
                    </a:lnTo>
                    <a:lnTo>
                      <a:pt x="f52" y="f398"/>
                    </a:lnTo>
                    <a:lnTo>
                      <a:pt x="f50" y="f398"/>
                    </a:lnTo>
                    <a:lnTo>
                      <a:pt x="f78" y="f399"/>
                    </a:lnTo>
                    <a:lnTo>
                      <a:pt x="f400" y="f399"/>
                    </a:lnTo>
                    <a:lnTo>
                      <a:pt x="f120" y="f401"/>
                    </a:lnTo>
                    <a:lnTo>
                      <a:pt x="f352" y="f402"/>
                    </a:lnTo>
                    <a:lnTo>
                      <a:pt x="f352" y="f403"/>
                    </a:lnTo>
                    <a:lnTo>
                      <a:pt x="f37" y="f404"/>
                    </a:lnTo>
                    <a:lnTo>
                      <a:pt x="f39" y="f405"/>
                    </a:lnTo>
                    <a:lnTo>
                      <a:pt x="f33" y="f406"/>
                    </a:lnTo>
                    <a:lnTo>
                      <a:pt x="f407" y="f408"/>
                    </a:lnTo>
                    <a:lnTo>
                      <a:pt x="f409" y="f410"/>
                    </a:lnTo>
                    <a:lnTo>
                      <a:pt x="f411" y="f412"/>
                    </a:lnTo>
                    <a:lnTo>
                      <a:pt x="f45" y="f413"/>
                    </a:lnTo>
                    <a:lnTo>
                      <a:pt x="f35" y="f414"/>
                    </a:lnTo>
                    <a:lnTo>
                      <a:pt x="f62" y="f415"/>
                    </a:lnTo>
                    <a:lnTo>
                      <a:pt x="f56" y="f416"/>
                    </a:lnTo>
                    <a:lnTo>
                      <a:pt x="f54" y="f417"/>
                    </a:lnTo>
                    <a:lnTo>
                      <a:pt x="f76" y="f170"/>
                    </a:lnTo>
                    <a:lnTo>
                      <a:pt x="f62" y="f418"/>
                    </a:lnTo>
                    <a:lnTo>
                      <a:pt x="f35" y="f328"/>
                    </a:lnTo>
                    <a:lnTo>
                      <a:pt x="f353" y="f419"/>
                    </a:lnTo>
                    <a:lnTo>
                      <a:pt x="f420" y="f332"/>
                    </a:lnTo>
                    <a:lnTo>
                      <a:pt x="f420" y="f421"/>
                    </a:lnTo>
                    <a:lnTo>
                      <a:pt x="f422" y="f151"/>
                    </a:lnTo>
                    <a:lnTo>
                      <a:pt x="f354" y="f423"/>
                    </a:lnTo>
                    <a:lnTo>
                      <a:pt x="f424" y="f339"/>
                    </a:lnTo>
                    <a:lnTo>
                      <a:pt x="f424" y="f425"/>
                    </a:lnTo>
                    <a:lnTo>
                      <a:pt x="f426" y="f427"/>
                    </a:lnTo>
                    <a:lnTo>
                      <a:pt x="f428" y="f133"/>
                    </a:lnTo>
                    <a:lnTo>
                      <a:pt x="f27" y="f429"/>
                    </a:lnTo>
                    <a:lnTo>
                      <a:pt x="f430" y="f431"/>
                    </a:lnTo>
                    <a:lnTo>
                      <a:pt x="f113" y="f432"/>
                    </a:lnTo>
                    <a:lnTo>
                      <a:pt x="f433" y="f129"/>
                    </a:lnTo>
                    <a:lnTo>
                      <a:pt x="f434" y="f346"/>
                    </a:lnTo>
                    <a:lnTo>
                      <a:pt x="f424" y="f435"/>
                    </a:lnTo>
                    <a:lnTo>
                      <a:pt x="f45" y="f436"/>
                    </a:lnTo>
                    <a:lnTo>
                      <a:pt x="f437" y="f438"/>
                    </a:lnTo>
                    <a:lnTo>
                      <a:pt x="f66" y="f438"/>
                    </a:lnTo>
                    <a:lnTo>
                      <a:pt x="f439" y="f435"/>
                    </a:lnTo>
                    <a:lnTo>
                      <a:pt x="f124" y="f440"/>
                    </a:lnTo>
                    <a:lnTo>
                      <a:pt x="f441" y="f442"/>
                    </a:lnTo>
                    <a:lnTo>
                      <a:pt x="f443" y="f444"/>
                    </a:lnTo>
                    <a:lnTo>
                      <a:pt x="f445" y="f446"/>
                    </a:lnTo>
                    <a:lnTo>
                      <a:pt x="f346" y="f447"/>
                    </a:lnTo>
                    <a:lnTo>
                      <a:pt x="f345" y="f446"/>
                    </a:lnTo>
                    <a:lnTo>
                      <a:pt x="f448" y="f446"/>
                    </a:lnTo>
                    <a:lnTo>
                      <a:pt x="f344" y="f448"/>
                    </a:lnTo>
                    <a:lnTo>
                      <a:pt x="f449" y="f450"/>
                    </a:lnTo>
                    <a:lnTo>
                      <a:pt x="f342" y="f432"/>
                    </a:lnTo>
                    <a:lnTo>
                      <a:pt x="f451" y="f452"/>
                    </a:lnTo>
                    <a:lnTo>
                      <a:pt x="f342" y="f445"/>
                    </a:lnTo>
                    <a:lnTo>
                      <a:pt x="f427" y="f453"/>
                    </a:lnTo>
                    <a:lnTo>
                      <a:pt x="f454" y="f439"/>
                    </a:lnTo>
                    <a:lnTo>
                      <a:pt x="f446" y="f455"/>
                    </a:lnTo>
                    <a:lnTo>
                      <a:pt x="f456" y="f59"/>
                    </a:lnTo>
                    <a:lnTo>
                      <a:pt x="f444" y="f120"/>
                    </a:lnTo>
                    <a:lnTo>
                      <a:pt x="f456" y="f41"/>
                    </a:lnTo>
                    <a:lnTo>
                      <a:pt x="f457" y="f411"/>
                    </a:lnTo>
                    <a:lnTo>
                      <a:pt x="f458" y="f422"/>
                    </a:lnTo>
                    <a:lnTo>
                      <a:pt x="f454" y="f426"/>
                    </a:lnTo>
                    <a:lnTo>
                      <a:pt x="f458" y="f83"/>
                    </a:lnTo>
                    <a:lnTo>
                      <a:pt x="f447" y="f434"/>
                    </a:lnTo>
                    <a:lnTo>
                      <a:pt x="f444" y="f428"/>
                    </a:lnTo>
                    <a:lnTo>
                      <a:pt x="f444" y="f86"/>
                    </a:lnTo>
                    <a:lnTo>
                      <a:pt x="f459" y="f433"/>
                    </a:lnTo>
                    <a:lnTo>
                      <a:pt x="f460" y="f360"/>
                    </a:lnTo>
                    <a:lnTo>
                      <a:pt x="f449" y="f111"/>
                    </a:lnTo>
                    <a:lnTo>
                      <a:pt x="f461" y="f462"/>
                    </a:lnTo>
                    <a:lnTo>
                      <a:pt x="f421" y="f92"/>
                    </a:lnTo>
                    <a:lnTo>
                      <a:pt x="f463" y="f366"/>
                    </a:lnTo>
                    <a:lnTo>
                      <a:pt x="f166" y="f464"/>
                    </a:lnTo>
                    <a:lnTo>
                      <a:pt x="f465" y="f464"/>
                    </a:lnTo>
                    <a:lnTo>
                      <a:pt x="f418" y="f94"/>
                    </a:lnTo>
                    <a:lnTo>
                      <a:pt x="f319" y="f94"/>
                    </a:lnTo>
                    <a:lnTo>
                      <a:pt x="f177" y="f366"/>
                    </a:lnTo>
                    <a:lnTo>
                      <a:pt x="f466" y="f103"/>
                    </a:lnTo>
                    <a:lnTo>
                      <a:pt x="f177" y="f90"/>
                    </a:lnTo>
                    <a:lnTo>
                      <a:pt x="f175" y="f362"/>
                    </a:lnTo>
                    <a:lnTo>
                      <a:pt x="f173" y="f27"/>
                    </a:lnTo>
                    <a:lnTo>
                      <a:pt x="f321" y="f28"/>
                    </a:lnTo>
                    <a:lnTo>
                      <a:pt x="f467" y="f468"/>
                    </a:lnTo>
                    <a:lnTo>
                      <a:pt x="f321" y="f469"/>
                    </a:lnTo>
                    <a:lnTo>
                      <a:pt x="f173" y="f470"/>
                    </a:lnTo>
                    <a:lnTo>
                      <a:pt x="f175" y="f45"/>
                    </a:lnTo>
                    <a:lnTo>
                      <a:pt x="f471" y="f45"/>
                    </a:lnTo>
                    <a:lnTo>
                      <a:pt x="f316" y="f411"/>
                    </a:lnTo>
                    <a:lnTo>
                      <a:pt x="f472" y="f473"/>
                    </a:lnTo>
                    <a:lnTo>
                      <a:pt x="f311" y="f422"/>
                    </a:lnTo>
                    <a:lnTo>
                      <a:pt x="f474" y="f422"/>
                    </a:lnTo>
                    <a:lnTo>
                      <a:pt x="f475" y="f117"/>
                    </a:lnTo>
                    <a:lnTo>
                      <a:pt x="f186" y="f409"/>
                    </a:lnTo>
                    <a:lnTo>
                      <a:pt x="f404" y="f45"/>
                    </a:lnTo>
                    <a:lnTo>
                      <a:pt x="f402" y="f45"/>
                    </a:lnTo>
                    <a:lnTo>
                      <a:pt x="f476" y="f407"/>
                    </a:lnTo>
                    <a:lnTo>
                      <a:pt x="f477" y="f45"/>
                    </a:lnTo>
                    <a:lnTo>
                      <a:pt x="f478" y="f409"/>
                    </a:lnTo>
                    <a:lnTo>
                      <a:pt x="f479" y="f470"/>
                    </a:lnTo>
                    <a:lnTo>
                      <a:pt x="f479" y="f117"/>
                    </a:lnTo>
                    <a:lnTo>
                      <a:pt x="f298" y="f469"/>
                    </a:lnTo>
                    <a:lnTo>
                      <a:pt x="f480" y="f354"/>
                    </a:lnTo>
                    <a:lnTo>
                      <a:pt x="f481" y="f81"/>
                    </a:lnTo>
                    <a:lnTo>
                      <a:pt x="f481" y="f468"/>
                    </a:lnTo>
                    <a:lnTo>
                      <a:pt x="f480" y="f83"/>
                    </a:lnTo>
                    <a:lnTo>
                      <a:pt x="f478" y="f434"/>
                    </a:lnTo>
                    <a:lnTo>
                      <a:pt x="f482" y="f483"/>
                    </a:lnTo>
                    <a:lnTo>
                      <a:pt x="f195" y="f357"/>
                    </a:lnTo>
                    <a:lnTo>
                      <a:pt x="f484" y="f359"/>
                    </a:lnTo>
                    <a:lnTo>
                      <a:pt x="f292" y="f485"/>
                    </a:lnTo>
                    <a:lnTo>
                      <a:pt x="f197" y="f486"/>
                    </a:lnTo>
                    <a:lnTo>
                      <a:pt x="f289" y="f90"/>
                    </a:lnTo>
                    <a:lnTo>
                      <a:pt x="f487" y="f18"/>
                    </a:lnTo>
                    <a:lnTo>
                      <a:pt x="f199" y="f94"/>
                    </a:lnTo>
                    <a:lnTo>
                      <a:pt x="f488" y="f489"/>
                    </a:lnTo>
                    <a:lnTo>
                      <a:pt x="f490" y="f96"/>
                    </a:lnTo>
                    <a:lnTo>
                      <a:pt x="f491" y="f492"/>
                    </a:lnTo>
                    <a:lnTo>
                      <a:pt x="f493" y="f373"/>
                    </a:lnTo>
                    <a:lnTo>
                      <a:pt x="f494" y="f495"/>
                    </a:lnTo>
                    <a:lnTo>
                      <a:pt x="f496" y="f377"/>
                    </a:lnTo>
                    <a:lnTo>
                      <a:pt x="f497" y="f10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96" name="Freeform 16">
                <a:extLst>
                  <a:ext uri="{FF2B5EF4-FFF2-40B4-BE49-F238E27FC236}">
                    <a16:creationId xmlns:a16="http://schemas.microsoft.com/office/drawing/2014/main" id="{43422B7B-BE90-42A4-9319-1DE2389C3153}"/>
                  </a:ext>
                </a:extLst>
              </p:cNvPr>
              <p:cNvSpPr/>
              <p:nvPr/>
            </p:nvSpPr>
            <p:spPr>
              <a:xfrm>
                <a:off x="3805248" y="1884194"/>
                <a:ext cx="186299" cy="75785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857"/>
                  <a:gd name="f8" fmla="val 390"/>
                  <a:gd name="f9" fmla="val 582"/>
                  <a:gd name="f10" fmla="val 608"/>
                  <a:gd name="f11" fmla="val 3"/>
                  <a:gd name="f12" fmla="val 631"/>
                  <a:gd name="f13" fmla="val 8"/>
                  <a:gd name="f14" fmla="val 650"/>
                  <a:gd name="f15" fmla="val 14"/>
                  <a:gd name="f16" fmla="val 669"/>
                  <a:gd name="f17" fmla="val 23"/>
                  <a:gd name="f18" fmla="val 689"/>
                  <a:gd name="f19" fmla="val 33"/>
                  <a:gd name="f20" fmla="val 704"/>
                  <a:gd name="f21" fmla="val 42"/>
                  <a:gd name="f22" fmla="val 717"/>
                  <a:gd name="f23" fmla="val 48"/>
                  <a:gd name="f24" fmla="val 729"/>
                  <a:gd name="f25" fmla="val 53"/>
                  <a:gd name="f26" fmla="val 743"/>
                  <a:gd name="f27" fmla="val 56"/>
                  <a:gd name="f28" fmla="val 758"/>
                  <a:gd name="f29" fmla="val 58"/>
                  <a:gd name="f30" fmla="val 778"/>
                  <a:gd name="f31" fmla="val 60"/>
                  <a:gd name="f32" fmla="val 792"/>
                  <a:gd name="f33" fmla="val 802"/>
                  <a:gd name="f34" fmla="val 59"/>
                  <a:gd name="f35" fmla="val 811"/>
                  <a:gd name="f36" fmla="val 822"/>
                  <a:gd name="f37" fmla="val 50"/>
                  <a:gd name="f38" fmla="val 826"/>
                  <a:gd name="f39" fmla="val 46"/>
                  <a:gd name="f40" fmla="val 831"/>
                  <a:gd name="f41" fmla="val 838"/>
                  <a:gd name="f42" fmla="val 846"/>
                  <a:gd name="f43" fmla="val 54"/>
                  <a:gd name="f44" fmla="val 853"/>
                  <a:gd name="f45" fmla="val 68"/>
                  <a:gd name="f46" fmla="val 852"/>
                  <a:gd name="f47" fmla="val 850"/>
                  <a:gd name="f48" fmla="val 72"/>
                  <a:gd name="f49" fmla="val 849"/>
                  <a:gd name="f50" fmla="val 79"/>
                  <a:gd name="f51" fmla="val 91"/>
                  <a:gd name="f52" fmla="val 847"/>
                  <a:gd name="f53" fmla="val 95"/>
                  <a:gd name="f54" fmla="val 844"/>
                  <a:gd name="f55" fmla="val 98"/>
                  <a:gd name="f56" fmla="val 842"/>
                  <a:gd name="f57" fmla="val 100"/>
                  <a:gd name="f58" fmla="val 832"/>
                  <a:gd name="f59" fmla="val 105"/>
                  <a:gd name="f60" fmla="val 829"/>
                  <a:gd name="f61" fmla="val 111"/>
                  <a:gd name="f62" fmla="val 830"/>
                  <a:gd name="f63" fmla="val 116"/>
                  <a:gd name="f64" fmla="val 839"/>
                  <a:gd name="f65" fmla="val 125"/>
                  <a:gd name="f66" fmla="val 129"/>
                  <a:gd name="f67" fmla="val 134"/>
                  <a:gd name="f68" fmla="val 139"/>
                  <a:gd name="f69" fmla="val 141"/>
                  <a:gd name="f70" fmla="val 143"/>
                  <a:gd name="f71" fmla="val 828"/>
                  <a:gd name="f72" fmla="val 154"/>
                  <a:gd name="f73" fmla="val 824"/>
                  <a:gd name="f74" fmla="val 160"/>
                  <a:gd name="f75" fmla="val 166"/>
                  <a:gd name="f76" fmla="val 176"/>
                  <a:gd name="f77" fmla="val 183"/>
                  <a:gd name="f78" fmla="val 190"/>
                  <a:gd name="f79" fmla="val 827"/>
                  <a:gd name="f80" fmla="val 200"/>
                  <a:gd name="f81" fmla="val 211"/>
                  <a:gd name="f82" fmla="val 814"/>
                  <a:gd name="f83" fmla="val 224"/>
                  <a:gd name="f84" fmla="val 807"/>
                  <a:gd name="f85" fmla="val 219"/>
                  <a:gd name="f86" fmla="val 799"/>
                  <a:gd name="f87" fmla="val 217"/>
                  <a:gd name="f88" fmla="val 218"/>
                  <a:gd name="f89" fmla="val 784"/>
                  <a:gd name="f90" fmla="val 225"/>
                  <a:gd name="f91" fmla="val 777"/>
                  <a:gd name="f92" fmla="val 232"/>
                  <a:gd name="f93" fmla="val 769"/>
                  <a:gd name="f94" fmla="val 237"/>
                  <a:gd name="f95" fmla="val 759"/>
                  <a:gd name="f96" fmla="val 240"/>
                  <a:gd name="f97" fmla="val 749"/>
                  <a:gd name="f98" fmla="val 243"/>
                  <a:gd name="f99" fmla="val 737"/>
                  <a:gd name="f100" fmla="val 249"/>
                  <a:gd name="f101" fmla="val 726"/>
                  <a:gd name="f102" fmla="val 256"/>
                  <a:gd name="f103" fmla="val 711"/>
                  <a:gd name="f104" fmla="val 262"/>
                  <a:gd name="f105" fmla="val 694"/>
                  <a:gd name="f106" fmla="val 268"/>
                  <a:gd name="f107" fmla="val 677"/>
                  <a:gd name="f108" fmla="val 274"/>
                  <a:gd name="f109" fmla="val 662"/>
                  <a:gd name="f110" fmla="val 280"/>
                  <a:gd name="f111" fmla="val 284"/>
                  <a:gd name="f112" fmla="val 644"/>
                  <a:gd name="f113" fmla="val 288"/>
                  <a:gd name="f114" fmla="val 636"/>
                  <a:gd name="f115" fmla="val 291"/>
                  <a:gd name="f116" fmla="val 625"/>
                  <a:gd name="f117" fmla="val 294"/>
                  <a:gd name="f118" fmla="val 614"/>
                  <a:gd name="f119" fmla="val 295"/>
                  <a:gd name="f120" fmla="val 602"/>
                  <a:gd name="f121" fmla="val 297"/>
                  <a:gd name="f122" fmla="val 596"/>
                  <a:gd name="f123" fmla="val 296"/>
                  <a:gd name="f124" fmla="val 593"/>
                  <a:gd name="f125" fmla="val 292"/>
                  <a:gd name="f126" fmla="val 590"/>
                  <a:gd name="f127" fmla="val 286"/>
                  <a:gd name="f128" fmla="val 588"/>
                  <a:gd name="f129" fmla="val 585"/>
                  <a:gd name="f130" fmla="val 578"/>
                  <a:gd name="f131" fmla="val 271"/>
                  <a:gd name="f132" fmla="val 572"/>
                  <a:gd name="f133" fmla="val 568"/>
                  <a:gd name="f134" fmla="val 273"/>
                  <a:gd name="f135" fmla="val 566"/>
                  <a:gd name="f136" fmla="val 276"/>
                  <a:gd name="f137" fmla="val 565"/>
                  <a:gd name="f138" fmla="val 563"/>
                  <a:gd name="f139" fmla="val 560"/>
                  <a:gd name="f140" fmla="val 556"/>
                  <a:gd name="f141" fmla="val 551"/>
                  <a:gd name="f142" fmla="val 547"/>
                  <a:gd name="f143" fmla="val 281"/>
                  <a:gd name="f144" fmla="val 542"/>
                  <a:gd name="f145" fmla="val 277"/>
                  <a:gd name="f146" fmla="val 534"/>
                  <a:gd name="f147" fmla="val 526"/>
                  <a:gd name="f148" fmla="val 519"/>
                  <a:gd name="f149" fmla="val 282"/>
                  <a:gd name="f150" fmla="val 515"/>
                  <a:gd name="f151" fmla="val 290"/>
                  <a:gd name="f152" fmla="val 514"/>
                  <a:gd name="f153" fmla="val 299"/>
                  <a:gd name="f154" fmla="val 310"/>
                  <a:gd name="f155" fmla="val 319"/>
                  <a:gd name="f156" fmla="val 516"/>
                  <a:gd name="f157" fmla="val 327"/>
                  <a:gd name="f158" fmla="val 332"/>
                  <a:gd name="f159" fmla="val 512"/>
                  <a:gd name="f160" fmla="val 335"/>
                  <a:gd name="f161" fmla="val 505"/>
                  <a:gd name="f162" fmla="val 337"/>
                  <a:gd name="f163" fmla="val 488"/>
                  <a:gd name="f164" fmla="val 334"/>
                  <a:gd name="f165" fmla="val 480"/>
                  <a:gd name="f166" fmla="val 333"/>
                  <a:gd name="f167" fmla="val 473"/>
                  <a:gd name="f168" fmla="val 463"/>
                  <a:gd name="f169" fmla="val 453"/>
                  <a:gd name="f170" fmla="val 339"/>
                  <a:gd name="f171" fmla="val 445"/>
                  <a:gd name="f172" fmla="val 343"/>
                  <a:gd name="f173" fmla="val 441"/>
                  <a:gd name="f174" fmla="val 348"/>
                  <a:gd name="f175" fmla="val 440"/>
                  <a:gd name="f176" fmla="val 356"/>
                  <a:gd name="f177" fmla="val 366"/>
                  <a:gd name="f178" fmla="val 442"/>
                  <a:gd name="f179" fmla="val 377"/>
                  <a:gd name="f180" fmla="val 425"/>
                  <a:gd name="f181" fmla="val 382"/>
                  <a:gd name="f182" fmla="val 410"/>
                  <a:gd name="f183" fmla="val 385"/>
                  <a:gd name="f184" fmla="val 397"/>
                  <a:gd name="f185" fmla="val 388"/>
                  <a:gd name="f186" fmla="val 389"/>
                  <a:gd name="f187" fmla="val 383"/>
                  <a:gd name="f188" fmla="val 375"/>
                  <a:gd name="f189" fmla="val 369"/>
                  <a:gd name="f190" fmla="val 386"/>
                  <a:gd name="f191" fmla="val 363"/>
                  <a:gd name="f192" fmla="val 381"/>
                  <a:gd name="f193" fmla="val 358"/>
                  <a:gd name="f194" fmla="val 378"/>
                  <a:gd name="f195" fmla="val 353"/>
                  <a:gd name="f196" fmla="val 346"/>
                  <a:gd name="f197" fmla="val 380"/>
                  <a:gd name="f198" fmla="val 341"/>
                  <a:gd name="f199" fmla="val 336"/>
                  <a:gd name="f200" fmla="val 374"/>
                  <a:gd name="f201" fmla="val 338"/>
                  <a:gd name="f202" fmla="val 370"/>
                  <a:gd name="f203" fmla="val 342"/>
                  <a:gd name="f204" fmla="val 365"/>
                  <a:gd name="f205" fmla="val 345"/>
                  <a:gd name="f206" fmla="val 344"/>
                  <a:gd name="f207" fmla="val 352"/>
                  <a:gd name="f208" fmla="val 328"/>
                  <a:gd name="f209" fmla="val 315"/>
                  <a:gd name="f210" fmla="val 301"/>
                  <a:gd name="f211" fmla="val 287"/>
                  <a:gd name="f212" fmla="val 275"/>
                  <a:gd name="f213" fmla="val 267"/>
                  <a:gd name="f214" fmla="val 260"/>
                  <a:gd name="f215" fmla="val 253"/>
                  <a:gd name="f216" fmla="val 340"/>
                  <a:gd name="f217" fmla="val 245"/>
                  <a:gd name="f218" fmla="val 351"/>
                  <a:gd name="f219" fmla="val 230"/>
                  <a:gd name="f220" fmla="val 220"/>
                  <a:gd name="f221" fmla="val 361"/>
                  <a:gd name="f222" fmla="val 359"/>
                  <a:gd name="f223" fmla="val 221"/>
                  <a:gd name="f224" fmla="val 222"/>
                  <a:gd name="f225" fmla="val 212"/>
                  <a:gd name="f226" fmla="val 330"/>
                  <a:gd name="f227" fmla="val 199"/>
                  <a:gd name="f228" fmla="val 326"/>
                  <a:gd name="f229" fmla="val 188"/>
                  <a:gd name="f230" fmla="val 320"/>
                  <a:gd name="f231" fmla="val 178"/>
                  <a:gd name="f232" fmla="val 314"/>
                  <a:gd name="f233" fmla="val 172"/>
                  <a:gd name="f234" fmla="val 305"/>
                  <a:gd name="f235" fmla="val 169"/>
                  <a:gd name="f236" fmla="val 300"/>
                  <a:gd name="f237" fmla="val 164"/>
                  <a:gd name="f238" fmla="val 157"/>
                  <a:gd name="f239" fmla="val 151"/>
                  <a:gd name="f240" fmla="val 145"/>
                  <a:gd name="f241" fmla="val 278"/>
                  <a:gd name="f242" fmla="val 266"/>
                  <a:gd name="f243" fmla="val 137"/>
                  <a:gd name="f244" fmla="val 258"/>
                  <a:gd name="f245" fmla="val 135"/>
                  <a:gd name="f246" fmla="val 254"/>
                  <a:gd name="f247" fmla="val 133"/>
                  <a:gd name="f248" fmla="val 251"/>
                  <a:gd name="f249" fmla="val 128"/>
                  <a:gd name="f250" fmla="val 108"/>
                  <a:gd name="f251" fmla="val 248"/>
                  <a:gd name="f252" fmla="val 102"/>
                  <a:gd name="f253" fmla="val 97"/>
                  <a:gd name="f254" fmla="val 94"/>
                  <a:gd name="f255" fmla="val 92"/>
                  <a:gd name="f256" fmla="val 216"/>
                  <a:gd name="f257" fmla="val 90"/>
                  <a:gd name="f258" fmla="val 209"/>
                  <a:gd name="f259" fmla="val 86"/>
                  <a:gd name="f260" fmla="val 202"/>
                  <a:gd name="f261" fmla="val 73"/>
                  <a:gd name="f262" fmla="val 66"/>
                  <a:gd name="f263" fmla="val 205"/>
                  <a:gd name="f264" fmla="val 229"/>
                  <a:gd name="f265" fmla="val 234"/>
                  <a:gd name="f266" fmla="val 24"/>
                  <a:gd name="f267" fmla="val 235"/>
                  <a:gd name="f268" fmla="val 17"/>
                  <a:gd name="f269" fmla="val 231"/>
                  <a:gd name="f270" fmla="val 7"/>
                  <a:gd name="f271" fmla="val 204"/>
                  <a:gd name="f272" fmla="val 161"/>
                  <a:gd name="f273" fmla="val 2"/>
                  <a:gd name="f274" fmla="val 5"/>
                  <a:gd name="f275" fmla="val 9"/>
                  <a:gd name="f276" fmla="val 13"/>
                  <a:gd name="f277" fmla="val 131"/>
                  <a:gd name="f278" fmla="val 126"/>
                  <a:gd name="f279" fmla="val 124"/>
                  <a:gd name="f280" fmla="val 123"/>
                  <a:gd name="f281" fmla="val 25"/>
                  <a:gd name="f282" fmla="val 36"/>
                  <a:gd name="f283" fmla="val 49"/>
                  <a:gd name="f284" fmla="val 96"/>
                  <a:gd name="f285" fmla="val 89"/>
                  <a:gd name="f286" fmla="val 106"/>
                  <a:gd name="f287" fmla="val 119"/>
                  <a:gd name="f288" fmla="val 147"/>
                  <a:gd name="f289" fmla="val 162"/>
                  <a:gd name="f290" fmla="val 179"/>
                  <a:gd name="f291" fmla="val 140"/>
                  <a:gd name="f292" fmla="val 130"/>
                  <a:gd name="f293" fmla="val 208"/>
                  <a:gd name="f294" fmla="val 118"/>
                  <a:gd name="f295" fmla="val 93"/>
                  <a:gd name="f296" fmla="val 244"/>
                  <a:gd name="f297" fmla="val 99"/>
                  <a:gd name="f298" fmla="val 255"/>
                  <a:gd name="f299" fmla="val 101"/>
                  <a:gd name="f300" fmla="val 259"/>
                  <a:gd name="f301" fmla="val 308"/>
                  <a:gd name="f302" fmla="val 373"/>
                  <a:gd name="f303" fmla="val 394"/>
                  <a:gd name="f304" fmla="val 412"/>
                  <a:gd name="f305" fmla="val 432"/>
                  <a:gd name="f306" fmla="val 88"/>
                  <a:gd name="f307" fmla="val 443"/>
                  <a:gd name="f308" fmla="val 80"/>
                  <a:gd name="f309" fmla="val 455"/>
                  <a:gd name="f310" fmla="val 70"/>
                  <a:gd name="f311" fmla="val 467"/>
                  <a:gd name="f312" fmla="val 62"/>
                  <a:gd name="f313" fmla="val 479"/>
                  <a:gd name="f314" fmla="val 487"/>
                  <a:gd name="f315" fmla="val 55"/>
                  <a:gd name="f316" fmla="val 495"/>
                  <a:gd name="f317" fmla="val 506"/>
                  <a:gd name="f318" fmla="val 39"/>
                  <a:gd name="f319" fmla="val 27"/>
                  <a:gd name="f320" fmla="val 533"/>
                  <a:gd name="f321" fmla="val 548"/>
                  <a:gd name="f322" fmla="val 1"/>
                  <a:gd name="f323" fmla="+- 0 0 -90"/>
                  <a:gd name="f324" fmla="*/ f4 1 857"/>
                  <a:gd name="f325" fmla="*/ f5 1 390"/>
                  <a:gd name="f326" fmla="+- f8 0 f6"/>
                  <a:gd name="f327" fmla="+- f7 0 f6"/>
                  <a:gd name="f328" fmla="*/ f323 f0 1"/>
                  <a:gd name="f329" fmla="*/ f327 1 857"/>
                  <a:gd name="f330" fmla="*/ f326 1 390"/>
                  <a:gd name="f331" fmla="*/ f328 1 f3"/>
                  <a:gd name="f332" fmla="*/ 650 1 f329"/>
                  <a:gd name="f333" fmla="*/ 14 1 f330"/>
                  <a:gd name="f334" fmla="*/ 717 1 f329"/>
                  <a:gd name="f335" fmla="*/ 48 1 f330"/>
                  <a:gd name="f336" fmla="*/ 778 1 f329"/>
                  <a:gd name="f337" fmla="*/ 60 1 f330"/>
                  <a:gd name="f338" fmla="*/ 822 1 f329"/>
                  <a:gd name="f339" fmla="*/ 50 1 f330"/>
                  <a:gd name="f340" fmla="*/ 846 1 f329"/>
                  <a:gd name="f341" fmla="*/ 54 1 f330"/>
                  <a:gd name="f342" fmla="*/ 850 1 f329"/>
                  <a:gd name="f343" fmla="*/ 72 1 f330"/>
                  <a:gd name="f344" fmla="*/ 844 1 f329"/>
                  <a:gd name="f345" fmla="*/ 98 1 f330"/>
                  <a:gd name="f346" fmla="*/ 831 1 f329"/>
                  <a:gd name="f347" fmla="*/ 105 1 f330"/>
                  <a:gd name="f348" fmla="*/ 842 1 f329"/>
                  <a:gd name="f349" fmla="*/ 129 1 f330"/>
                  <a:gd name="f350" fmla="*/ 839 1 f329"/>
                  <a:gd name="f351" fmla="*/ 143 1 f330"/>
                  <a:gd name="f352" fmla="*/ 828 1 f329"/>
                  <a:gd name="f353" fmla="*/ 176 1 f330"/>
                  <a:gd name="f354" fmla="*/ 211 1 f330"/>
                  <a:gd name="f355" fmla="*/ 792 1 f329"/>
                  <a:gd name="f356" fmla="*/ 218 1 f330"/>
                  <a:gd name="f357" fmla="*/ 759 1 f329"/>
                  <a:gd name="f358" fmla="*/ 240 1 f330"/>
                  <a:gd name="f359" fmla="*/ 711 1 f329"/>
                  <a:gd name="f360" fmla="*/ 262 1 f330"/>
                  <a:gd name="f361" fmla="*/ 284 1 f330"/>
                  <a:gd name="f362" fmla="*/ 614 1 f329"/>
                  <a:gd name="f363" fmla="*/ 295 1 f330"/>
                  <a:gd name="f364" fmla="*/ 590 1 f329"/>
                  <a:gd name="f365" fmla="*/ 286 1 f330"/>
                  <a:gd name="f366" fmla="*/ 572 1 f329"/>
                  <a:gd name="f367" fmla="*/ 271 1 f330"/>
                  <a:gd name="f368" fmla="*/ 563 1 f329"/>
                  <a:gd name="f369" fmla="*/ 547 1 f329"/>
                  <a:gd name="f370" fmla="*/ 281 1 f330"/>
                  <a:gd name="f371" fmla="*/ 519 1 f329"/>
                  <a:gd name="f372" fmla="*/ 282 1 f330"/>
                  <a:gd name="f373" fmla="*/ 515 1 f329"/>
                  <a:gd name="f374" fmla="*/ 319 1 f330"/>
                  <a:gd name="f375" fmla="*/ 505 1 f329"/>
                  <a:gd name="f376" fmla="*/ 337 1 f330"/>
                  <a:gd name="f377" fmla="*/ 463 1 f329"/>
                  <a:gd name="f378" fmla="*/ 335 1 f330"/>
                  <a:gd name="f379" fmla="*/ 440 1 f329"/>
                  <a:gd name="f380" fmla="*/ 356 1 f330"/>
                  <a:gd name="f381" fmla="*/ 410 1 f329"/>
                  <a:gd name="f382" fmla="*/ 385 1 f330"/>
                  <a:gd name="f383" fmla="*/ 375 1 f329"/>
                  <a:gd name="f384" fmla="*/ 390 1 f330"/>
                  <a:gd name="f385" fmla="*/ 353 1 f329"/>
                  <a:gd name="f386" fmla="*/ 378 1 f330"/>
                  <a:gd name="f387" fmla="*/ 336 1 f329"/>
                  <a:gd name="f388" fmla="*/ 374 1 f330"/>
                  <a:gd name="f389" fmla="*/ 346 1 f329"/>
                  <a:gd name="f390" fmla="*/ 315 1 f329"/>
                  <a:gd name="f391" fmla="*/ 341 1 f330"/>
                  <a:gd name="f392" fmla="*/ 267 1 f329"/>
                  <a:gd name="f393" fmla="*/ 333 1 f330"/>
                  <a:gd name="f394" fmla="*/ 237 1 f329"/>
                  <a:gd name="f395" fmla="*/ 351 1 f330"/>
                  <a:gd name="f396" fmla="*/ 219 1 f329"/>
                  <a:gd name="f397" fmla="*/ 359 1 f330"/>
                  <a:gd name="f398" fmla="*/ 220 1 f329"/>
                  <a:gd name="f399" fmla="*/ 334 1 f330"/>
                  <a:gd name="f400" fmla="*/ 178 1 f329"/>
                  <a:gd name="f401" fmla="*/ 314 1 f330"/>
                  <a:gd name="f402" fmla="*/ 157 1 f329"/>
                  <a:gd name="f403" fmla="*/ 139 1 f329"/>
                  <a:gd name="f404" fmla="*/ 266 1 f330"/>
                  <a:gd name="f405" fmla="*/ 128 1 f329"/>
                  <a:gd name="f406" fmla="*/ 249 1 f330"/>
                  <a:gd name="f407" fmla="*/ 97 1 f329"/>
                  <a:gd name="f408" fmla="*/ 237 1 f330"/>
                  <a:gd name="f409" fmla="*/ 86 1 f329"/>
                  <a:gd name="f410" fmla="*/ 202 1 f330"/>
                  <a:gd name="f411" fmla="*/ 50 1 f329"/>
                  <a:gd name="f412" fmla="*/ 222 1 f330"/>
                  <a:gd name="f413" fmla="*/ 17 1 f329"/>
                  <a:gd name="f414" fmla="*/ 231 1 f330"/>
                  <a:gd name="f415" fmla="*/ 0 1 f329"/>
                  <a:gd name="f416" fmla="*/ 161 1 f330"/>
                  <a:gd name="f417" fmla="*/ 13 1 f329"/>
                  <a:gd name="f418" fmla="*/ 131 1 f330"/>
                  <a:gd name="f419" fmla="*/ 2 1 f329"/>
                  <a:gd name="f420" fmla="*/ 123 1 f330"/>
                  <a:gd name="f421" fmla="*/ 49 1 f329"/>
                  <a:gd name="f422" fmla="*/ 96 1 f330"/>
                  <a:gd name="f423" fmla="*/ 119 1 f329"/>
                  <a:gd name="f424" fmla="*/ 128 1 f330"/>
                  <a:gd name="f425" fmla="*/ 179 1 f329"/>
                  <a:gd name="f426" fmla="*/ 147 1 f330"/>
                  <a:gd name="f427" fmla="*/ 216 1 f329"/>
                  <a:gd name="f428" fmla="*/ 108 1 f330"/>
                  <a:gd name="f429" fmla="*/ 244 1 f329"/>
                  <a:gd name="f430" fmla="*/ 93 1 f330"/>
                  <a:gd name="f431" fmla="*/ 259 1 f329"/>
                  <a:gd name="f432" fmla="*/ 101 1 f330"/>
                  <a:gd name="f433" fmla="*/ 308 1 f329"/>
                  <a:gd name="f434" fmla="*/ 94 1 f330"/>
                  <a:gd name="f435" fmla="*/ 412 1 f329"/>
                  <a:gd name="f436" fmla="*/ 91 1 f330"/>
                  <a:gd name="f437" fmla="*/ 455 1 f329"/>
                  <a:gd name="f438" fmla="*/ 70 1 f330"/>
                  <a:gd name="f439" fmla="*/ 495 1 f329"/>
                  <a:gd name="f440" fmla="*/ 548 1 f329"/>
                  <a:gd name="f441" fmla="*/ 8 1 f330"/>
                  <a:gd name="f442" fmla="*/ f7 1 f329"/>
                  <a:gd name="f443" fmla="*/ 0 1 f330"/>
                  <a:gd name="f444" fmla="*/ f8 1 f330"/>
                  <a:gd name="f445" fmla="+- f331 0 f1"/>
                  <a:gd name="f446" fmla="*/ f415 f324 1"/>
                  <a:gd name="f447" fmla="*/ f442 f324 1"/>
                  <a:gd name="f448" fmla="*/ f444 f325 1"/>
                  <a:gd name="f449" fmla="*/ f443 f325 1"/>
                  <a:gd name="f450" fmla="*/ f332 f324 1"/>
                  <a:gd name="f451" fmla="*/ f333 f325 1"/>
                  <a:gd name="f452" fmla="*/ f334 f324 1"/>
                  <a:gd name="f453" fmla="*/ f335 f325 1"/>
                  <a:gd name="f454" fmla="*/ f336 f324 1"/>
                  <a:gd name="f455" fmla="*/ f337 f325 1"/>
                  <a:gd name="f456" fmla="*/ f338 f324 1"/>
                  <a:gd name="f457" fmla="*/ f339 f325 1"/>
                  <a:gd name="f458" fmla="*/ f340 f324 1"/>
                  <a:gd name="f459" fmla="*/ f341 f325 1"/>
                  <a:gd name="f460" fmla="*/ f342 f324 1"/>
                  <a:gd name="f461" fmla="*/ f343 f325 1"/>
                  <a:gd name="f462" fmla="*/ f344 f324 1"/>
                  <a:gd name="f463" fmla="*/ f345 f325 1"/>
                  <a:gd name="f464" fmla="*/ f346 f324 1"/>
                  <a:gd name="f465" fmla="*/ f347 f325 1"/>
                  <a:gd name="f466" fmla="*/ f348 f324 1"/>
                  <a:gd name="f467" fmla="*/ f349 f325 1"/>
                  <a:gd name="f468" fmla="*/ f350 f324 1"/>
                  <a:gd name="f469" fmla="*/ f351 f325 1"/>
                  <a:gd name="f470" fmla="*/ f352 f324 1"/>
                  <a:gd name="f471" fmla="*/ f353 f325 1"/>
                  <a:gd name="f472" fmla="*/ f354 f325 1"/>
                  <a:gd name="f473" fmla="*/ f355 f324 1"/>
                  <a:gd name="f474" fmla="*/ f356 f325 1"/>
                  <a:gd name="f475" fmla="*/ f357 f324 1"/>
                  <a:gd name="f476" fmla="*/ f358 f325 1"/>
                  <a:gd name="f477" fmla="*/ f359 f324 1"/>
                  <a:gd name="f478" fmla="*/ f360 f325 1"/>
                  <a:gd name="f479" fmla="*/ f361 f325 1"/>
                  <a:gd name="f480" fmla="*/ f362 f324 1"/>
                  <a:gd name="f481" fmla="*/ f363 f325 1"/>
                  <a:gd name="f482" fmla="*/ f364 f324 1"/>
                  <a:gd name="f483" fmla="*/ f365 f325 1"/>
                  <a:gd name="f484" fmla="*/ f366 f324 1"/>
                  <a:gd name="f485" fmla="*/ f367 f325 1"/>
                  <a:gd name="f486" fmla="*/ f368 f324 1"/>
                  <a:gd name="f487" fmla="*/ f369 f324 1"/>
                  <a:gd name="f488" fmla="*/ f370 f325 1"/>
                  <a:gd name="f489" fmla="*/ f371 f324 1"/>
                  <a:gd name="f490" fmla="*/ f372 f325 1"/>
                  <a:gd name="f491" fmla="*/ f373 f324 1"/>
                  <a:gd name="f492" fmla="*/ f374 f325 1"/>
                  <a:gd name="f493" fmla="*/ f375 f324 1"/>
                  <a:gd name="f494" fmla="*/ f376 f325 1"/>
                  <a:gd name="f495" fmla="*/ f377 f324 1"/>
                  <a:gd name="f496" fmla="*/ f378 f325 1"/>
                  <a:gd name="f497" fmla="*/ f379 f324 1"/>
                  <a:gd name="f498" fmla="*/ f380 f325 1"/>
                  <a:gd name="f499" fmla="*/ f381 f324 1"/>
                  <a:gd name="f500" fmla="*/ f382 f325 1"/>
                  <a:gd name="f501" fmla="*/ f383 f324 1"/>
                  <a:gd name="f502" fmla="*/ f384 f325 1"/>
                  <a:gd name="f503" fmla="*/ f385 f324 1"/>
                  <a:gd name="f504" fmla="*/ f386 f325 1"/>
                  <a:gd name="f505" fmla="*/ f387 f324 1"/>
                  <a:gd name="f506" fmla="*/ f388 f325 1"/>
                  <a:gd name="f507" fmla="*/ f389 f324 1"/>
                  <a:gd name="f508" fmla="*/ f390 f324 1"/>
                  <a:gd name="f509" fmla="*/ f391 f325 1"/>
                  <a:gd name="f510" fmla="*/ f392 f324 1"/>
                  <a:gd name="f511" fmla="*/ f393 f325 1"/>
                  <a:gd name="f512" fmla="*/ f394 f324 1"/>
                  <a:gd name="f513" fmla="*/ f395 f325 1"/>
                  <a:gd name="f514" fmla="*/ f396 f324 1"/>
                  <a:gd name="f515" fmla="*/ f397 f325 1"/>
                  <a:gd name="f516" fmla="*/ f398 f324 1"/>
                  <a:gd name="f517" fmla="*/ f399 f325 1"/>
                  <a:gd name="f518" fmla="*/ f400 f324 1"/>
                  <a:gd name="f519" fmla="*/ f401 f325 1"/>
                  <a:gd name="f520" fmla="*/ f402 f324 1"/>
                  <a:gd name="f521" fmla="*/ f403 f324 1"/>
                  <a:gd name="f522" fmla="*/ f404 f325 1"/>
                  <a:gd name="f523" fmla="*/ f405 f324 1"/>
                  <a:gd name="f524" fmla="*/ f406 f325 1"/>
                  <a:gd name="f525" fmla="*/ f407 f324 1"/>
                  <a:gd name="f526" fmla="*/ f408 f325 1"/>
                  <a:gd name="f527" fmla="*/ f409 f324 1"/>
                  <a:gd name="f528" fmla="*/ f410 f325 1"/>
                  <a:gd name="f529" fmla="*/ f411 f324 1"/>
                  <a:gd name="f530" fmla="*/ f412 f325 1"/>
                  <a:gd name="f531" fmla="*/ f413 f324 1"/>
                  <a:gd name="f532" fmla="*/ f414 f325 1"/>
                  <a:gd name="f533" fmla="*/ f416 f325 1"/>
                  <a:gd name="f534" fmla="*/ f417 f324 1"/>
                  <a:gd name="f535" fmla="*/ f418 f325 1"/>
                  <a:gd name="f536" fmla="*/ f419 f324 1"/>
                  <a:gd name="f537" fmla="*/ f420 f325 1"/>
                  <a:gd name="f538" fmla="*/ f421 f324 1"/>
                  <a:gd name="f539" fmla="*/ f422 f325 1"/>
                  <a:gd name="f540" fmla="*/ f423 f324 1"/>
                  <a:gd name="f541" fmla="*/ f424 f325 1"/>
                  <a:gd name="f542" fmla="*/ f425 f324 1"/>
                  <a:gd name="f543" fmla="*/ f426 f325 1"/>
                  <a:gd name="f544" fmla="*/ f427 f324 1"/>
                  <a:gd name="f545" fmla="*/ f428 f325 1"/>
                  <a:gd name="f546" fmla="*/ f429 f324 1"/>
                  <a:gd name="f547" fmla="*/ f430 f325 1"/>
                  <a:gd name="f548" fmla="*/ f431 f324 1"/>
                  <a:gd name="f549" fmla="*/ f432 f325 1"/>
                  <a:gd name="f550" fmla="*/ f433 f324 1"/>
                  <a:gd name="f551" fmla="*/ f434 f325 1"/>
                  <a:gd name="f552" fmla="*/ f435 f324 1"/>
                  <a:gd name="f553" fmla="*/ f436 f325 1"/>
                  <a:gd name="f554" fmla="*/ f437 f324 1"/>
                  <a:gd name="f555" fmla="*/ f438 f325 1"/>
                  <a:gd name="f556" fmla="*/ f439 f324 1"/>
                  <a:gd name="f557" fmla="*/ f440 f324 1"/>
                  <a:gd name="f558" fmla="*/ f441 f32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45">
                    <a:pos x="f450" y="f451"/>
                  </a:cxn>
                  <a:cxn ang="f445">
                    <a:pos x="f452" y="f453"/>
                  </a:cxn>
                  <a:cxn ang="f445">
                    <a:pos x="f454" y="f455"/>
                  </a:cxn>
                  <a:cxn ang="f445">
                    <a:pos x="f456" y="f457"/>
                  </a:cxn>
                  <a:cxn ang="f445">
                    <a:pos x="f458" y="f459"/>
                  </a:cxn>
                  <a:cxn ang="f445">
                    <a:pos x="f460" y="f461"/>
                  </a:cxn>
                  <a:cxn ang="f445">
                    <a:pos x="f462" y="f463"/>
                  </a:cxn>
                  <a:cxn ang="f445">
                    <a:pos x="f464" y="f465"/>
                  </a:cxn>
                  <a:cxn ang="f445">
                    <a:pos x="f466" y="f467"/>
                  </a:cxn>
                  <a:cxn ang="f445">
                    <a:pos x="f468" y="f469"/>
                  </a:cxn>
                  <a:cxn ang="f445">
                    <a:pos x="f470" y="f471"/>
                  </a:cxn>
                  <a:cxn ang="f445">
                    <a:pos x="f456" y="f472"/>
                  </a:cxn>
                  <a:cxn ang="f445">
                    <a:pos x="f473" y="f474"/>
                  </a:cxn>
                  <a:cxn ang="f445">
                    <a:pos x="f475" y="f476"/>
                  </a:cxn>
                  <a:cxn ang="f445">
                    <a:pos x="f477" y="f478"/>
                  </a:cxn>
                  <a:cxn ang="f445">
                    <a:pos x="f450" y="f479"/>
                  </a:cxn>
                  <a:cxn ang="f445">
                    <a:pos x="f480" y="f481"/>
                  </a:cxn>
                  <a:cxn ang="f445">
                    <a:pos x="f482" y="f483"/>
                  </a:cxn>
                  <a:cxn ang="f445">
                    <a:pos x="f484" y="f485"/>
                  </a:cxn>
                  <a:cxn ang="f445">
                    <a:pos x="f486" y="f479"/>
                  </a:cxn>
                  <a:cxn ang="f445">
                    <a:pos x="f487" y="f488"/>
                  </a:cxn>
                  <a:cxn ang="f445">
                    <a:pos x="f489" y="f490"/>
                  </a:cxn>
                  <a:cxn ang="f445">
                    <a:pos x="f491" y="f492"/>
                  </a:cxn>
                  <a:cxn ang="f445">
                    <a:pos x="f493" y="f494"/>
                  </a:cxn>
                  <a:cxn ang="f445">
                    <a:pos x="f495" y="f496"/>
                  </a:cxn>
                  <a:cxn ang="f445">
                    <a:pos x="f497" y="f498"/>
                  </a:cxn>
                  <a:cxn ang="f445">
                    <a:pos x="f499" y="f500"/>
                  </a:cxn>
                  <a:cxn ang="f445">
                    <a:pos x="f501" y="f502"/>
                  </a:cxn>
                  <a:cxn ang="f445">
                    <a:pos x="f503" y="f504"/>
                  </a:cxn>
                  <a:cxn ang="f445">
                    <a:pos x="f505" y="f506"/>
                  </a:cxn>
                  <a:cxn ang="f445">
                    <a:pos x="f507" y="f498"/>
                  </a:cxn>
                  <a:cxn ang="f445">
                    <a:pos x="f508" y="f509"/>
                  </a:cxn>
                  <a:cxn ang="f445">
                    <a:pos x="f510" y="f511"/>
                  </a:cxn>
                  <a:cxn ang="f445">
                    <a:pos x="f512" y="f513"/>
                  </a:cxn>
                  <a:cxn ang="f445">
                    <a:pos x="f514" y="f515"/>
                  </a:cxn>
                  <a:cxn ang="f445">
                    <a:pos x="f516" y="f517"/>
                  </a:cxn>
                  <a:cxn ang="f445">
                    <a:pos x="f518" y="f519"/>
                  </a:cxn>
                  <a:cxn ang="f445">
                    <a:pos x="f520" y="f481"/>
                  </a:cxn>
                  <a:cxn ang="f445">
                    <a:pos x="f521" y="f522"/>
                  </a:cxn>
                  <a:cxn ang="f445">
                    <a:pos x="f523" y="f524"/>
                  </a:cxn>
                  <a:cxn ang="f445">
                    <a:pos x="f525" y="f526"/>
                  </a:cxn>
                  <a:cxn ang="f445">
                    <a:pos x="f527" y="f528"/>
                  </a:cxn>
                  <a:cxn ang="f445">
                    <a:pos x="f529" y="f530"/>
                  </a:cxn>
                  <a:cxn ang="f445">
                    <a:pos x="f531" y="f532"/>
                  </a:cxn>
                  <a:cxn ang="f445">
                    <a:pos x="f446" y="f533"/>
                  </a:cxn>
                  <a:cxn ang="f445">
                    <a:pos x="f534" y="f535"/>
                  </a:cxn>
                  <a:cxn ang="f445">
                    <a:pos x="f536" y="f537"/>
                  </a:cxn>
                  <a:cxn ang="f445">
                    <a:pos x="f538" y="f539"/>
                  </a:cxn>
                  <a:cxn ang="f445">
                    <a:pos x="f540" y="f541"/>
                  </a:cxn>
                  <a:cxn ang="f445">
                    <a:pos x="f542" y="f543"/>
                  </a:cxn>
                  <a:cxn ang="f445">
                    <a:pos x="f544" y="f545"/>
                  </a:cxn>
                  <a:cxn ang="f445">
                    <a:pos x="f546" y="f547"/>
                  </a:cxn>
                  <a:cxn ang="f445">
                    <a:pos x="f548" y="f549"/>
                  </a:cxn>
                  <a:cxn ang="f445">
                    <a:pos x="f550" y="f551"/>
                  </a:cxn>
                  <a:cxn ang="f445">
                    <a:pos x="f552" y="f553"/>
                  </a:cxn>
                  <a:cxn ang="f445">
                    <a:pos x="f554" y="f555"/>
                  </a:cxn>
                  <a:cxn ang="f445">
                    <a:pos x="f556" y="f453"/>
                  </a:cxn>
                  <a:cxn ang="f445">
                    <a:pos x="f557" y="f558"/>
                  </a:cxn>
                </a:cxnLst>
                <a:rect l="f446" t="f449" r="f447" b="f448"/>
                <a:pathLst>
                  <a:path w="857" h="390">
                    <a:moveTo>
                      <a:pt x="f9" y="f6"/>
                    </a:move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1"/>
                    </a:lnTo>
                    <a:lnTo>
                      <a:pt x="f33" y="f34"/>
                    </a:lnTo>
                    <a:lnTo>
                      <a:pt x="f35" y="f27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39"/>
                    </a:lnTo>
                    <a:lnTo>
                      <a:pt x="f41" y="f23"/>
                    </a:lnTo>
                    <a:lnTo>
                      <a:pt x="f42" y="f43"/>
                    </a:lnTo>
                    <a:lnTo>
                      <a:pt x="f44" y="f31"/>
                    </a:lnTo>
                    <a:lnTo>
                      <a:pt x="f7" y="f45"/>
                    </a:lnTo>
                    <a:lnTo>
                      <a:pt x="f46" y="f45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49" y="f51"/>
                    </a:lnTo>
                    <a:lnTo>
                      <a:pt x="f52" y="f53"/>
                    </a:lnTo>
                    <a:lnTo>
                      <a:pt x="f54" y="f55"/>
                    </a:lnTo>
                    <a:lnTo>
                      <a:pt x="f56" y="f55"/>
                    </a:lnTo>
                    <a:lnTo>
                      <a:pt x="f41" y="f57"/>
                    </a:lnTo>
                    <a:lnTo>
                      <a:pt x="f58" y="f59"/>
                    </a:lnTo>
                    <a:lnTo>
                      <a:pt x="f40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56" y="f66"/>
                    </a:lnTo>
                    <a:lnTo>
                      <a:pt x="f54" y="f67"/>
                    </a:lnTo>
                    <a:lnTo>
                      <a:pt x="f54" y="f68"/>
                    </a:lnTo>
                    <a:lnTo>
                      <a:pt x="f56" y="f69"/>
                    </a:lnTo>
                    <a:lnTo>
                      <a:pt x="f64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3" y="f75"/>
                    </a:lnTo>
                    <a:lnTo>
                      <a:pt x="f71" y="f76"/>
                    </a:lnTo>
                    <a:lnTo>
                      <a:pt x="f62" y="f77"/>
                    </a:lnTo>
                    <a:lnTo>
                      <a:pt x="f62" y="f78"/>
                    </a:lnTo>
                    <a:lnTo>
                      <a:pt x="f79" y="f80"/>
                    </a:lnTo>
                    <a:lnTo>
                      <a:pt x="f36" y="f81"/>
                    </a:lnTo>
                    <a:lnTo>
                      <a:pt x="f82" y="f83"/>
                    </a:lnTo>
                    <a:lnTo>
                      <a:pt x="f84" y="f85"/>
                    </a:lnTo>
                    <a:lnTo>
                      <a:pt x="f86" y="f87"/>
                    </a:lnTo>
                    <a:lnTo>
                      <a:pt x="f32" y="f88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97" y="f98"/>
                    </a:lnTo>
                    <a:lnTo>
                      <a:pt x="f99" y="f100"/>
                    </a:lnTo>
                    <a:lnTo>
                      <a:pt x="f101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109" y="f110"/>
                    </a:lnTo>
                    <a:lnTo>
                      <a:pt x="f14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20" y="f121"/>
                    </a:lnTo>
                    <a:lnTo>
                      <a:pt x="f122" y="f123"/>
                    </a:lnTo>
                    <a:lnTo>
                      <a:pt x="f124" y="f125"/>
                    </a:lnTo>
                    <a:lnTo>
                      <a:pt x="f126" y="f127"/>
                    </a:lnTo>
                    <a:lnTo>
                      <a:pt x="f128" y="f110"/>
                    </a:lnTo>
                    <a:lnTo>
                      <a:pt x="f129" y="f108"/>
                    </a:lnTo>
                    <a:lnTo>
                      <a:pt x="f130" y="f131"/>
                    </a:lnTo>
                    <a:lnTo>
                      <a:pt x="f132" y="f131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10"/>
                    </a:lnTo>
                    <a:lnTo>
                      <a:pt x="f138" y="f111"/>
                    </a:lnTo>
                    <a:lnTo>
                      <a:pt x="f139" y="f127"/>
                    </a:lnTo>
                    <a:lnTo>
                      <a:pt x="f140" y="f127"/>
                    </a:lnTo>
                    <a:lnTo>
                      <a:pt x="f141" y="f111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36"/>
                    </a:lnTo>
                    <a:lnTo>
                      <a:pt x="f147" y="f145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0" y="f154"/>
                    </a:lnTo>
                    <a:lnTo>
                      <a:pt x="f150" y="f155"/>
                    </a:lnTo>
                    <a:lnTo>
                      <a:pt x="f156" y="f157"/>
                    </a:lnTo>
                    <a:lnTo>
                      <a:pt x="f150" y="f158"/>
                    </a:lnTo>
                    <a:lnTo>
                      <a:pt x="f159" y="f160"/>
                    </a:lnTo>
                    <a:lnTo>
                      <a:pt x="f161" y="f162"/>
                    </a:lnTo>
                    <a:lnTo>
                      <a:pt x="f163" y="f164"/>
                    </a:lnTo>
                    <a:lnTo>
                      <a:pt x="f165" y="f166"/>
                    </a:lnTo>
                    <a:lnTo>
                      <a:pt x="f167" y="f166"/>
                    </a:lnTo>
                    <a:lnTo>
                      <a:pt x="f168" y="f160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lnTo>
                      <a:pt x="f175" y="f177"/>
                    </a:lnTo>
                    <a:lnTo>
                      <a:pt x="f178" y="f179"/>
                    </a:lnTo>
                    <a:lnTo>
                      <a:pt x="f180" y="f181"/>
                    </a:lnTo>
                    <a:lnTo>
                      <a:pt x="f182" y="f183"/>
                    </a:lnTo>
                    <a:lnTo>
                      <a:pt x="f184" y="f185"/>
                    </a:lnTo>
                    <a:lnTo>
                      <a:pt x="f185" y="f186"/>
                    </a:lnTo>
                    <a:lnTo>
                      <a:pt x="f187" y="f8"/>
                    </a:lnTo>
                    <a:lnTo>
                      <a:pt x="f188" y="f8"/>
                    </a:lnTo>
                    <a:lnTo>
                      <a:pt x="f189" y="f190"/>
                    </a:lnTo>
                    <a:lnTo>
                      <a:pt x="f191" y="f192"/>
                    </a:lnTo>
                    <a:lnTo>
                      <a:pt x="f193" y="f194"/>
                    </a:lnTo>
                    <a:lnTo>
                      <a:pt x="f195" y="f194"/>
                    </a:lnTo>
                    <a:lnTo>
                      <a:pt x="f196" y="f197"/>
                    </a:lnTo>
                    <a:lnTo>
                      <a:pt x="f198" y="f194"/>
                    </a:lnTo>
                    <a:lnTo>
                      <a:pt x="f162" y="f179"/>
                    </a:lnTo>
                    <a:lnTo>
                      <a:pt x="f199" y="f200"/>
                    </a:lnTo>
                    <a:lnTo>
                      <a:pt x="f201" y="f202"/>
                    </a:lnTo>
                    <a:lnTo>
                      <a:pt x="f203" y="f204"/>
                    </a:lnTo>
                    <a:lnTo>
                      <a:pt x="f205" y="f2"/>
                    </a:lnTo>
                    <a:lnTo>
                      <a:pt x="f196" y="f176"/>
                    </a:lnTo>
                    <a:lnTo>
                      <a:pt x="f206" y="f207"/>
                    </a:lnTo>
                    <a:lnTo>
                      <a:pt x="f201" y="f174"/>
                    </a:lnTo>
                    <a:lnTo>
                      <a:pt x="f208" y="f206"/>
                    </a:lnTo>
                    <a:lnTo>
                      <a:pt x="f209" y="f198"/>
                    </a:lnTo>
                    <a:lnTo>
                      <a:pt x="f210" y="f201"/>
                    </a:lnTo>
                    <a:lnTo>
                      <a:pt x="f211" y="f160"/>
                    </a:lnTo>
                    <a:lnTo>
                      <a:pt x="f212" y="f166"/>
                    </a:lnTo>
                    <a:lnTo>
                      <a:pt x="f213" y="f166"/>
                    </a:lnTo>
                    <a:lnTo>
                      <a:pt x="f214" y="f160"/>
                    </a:lnTo>
                    <a:lnTo>
                      <a:pt x="f215" y="f216"/>
                    </a:lnTo>
                    <a:lnTo>
                      <a:pt x="f217" y="f205"/>
                    </a:lnTo>
                    <a:lnTo>
                      <a:pt x="f94" y="f218"/>
                    </a:lnTo>
                    <a:lnTo>
                      <a:pt x="f219" y="f176"/>
                    </a:lnTo>
                    <a:lnTo>
                      <a:pt x="f83" y="f2"/>
                    </a:lnTo>
                    <a:lnTo>
                      <a:pt x="f220" y="f221"/>
                    </a:lnTo>
                    <a:lnTo>
                      <a:pt x="f85" y="f222"/>
                    </a:lnTo>
                    <a:lnTo>
                      <a:pt x="f220" y="f195"/>
                    </a:lnTo>
                    <a:lnTo>
                      <a:pt x="f223" y="f205"/>
                    </a:lnTo>
                    <a:lnTo>
                      <a:pt x="f224" y="f216"/>
                    </a:lnTo>
                    <a:lnTo>
                      <a:pt x="f220" y="f164"/>
                    </a:lnTo>
                    <a:lnTo>
                      <a:pt x="f225" y="f226"/>
                    </a:lnTo>
                    <a:lnTo>
                      <a:pt x="f227" y="f228"/>
                    </a:lnTo>
                    <a:lnTo>
                      <a:pt x="f229" y="f230"/>
                    </a:lnTo>
                    <a:lnTo>
                      <a:pt x="f231" y="f232"/>
                    </a:lnTo>
                    <a:lnTo>
                      <a:pt x="f233" y="f234"/>
                    </a:lnTo>
                    <a:lnTo>
                      <a:pt x="f235" y="f236"/>
                    </a:lnTo>
                    <a:lnTo>
                      <a:pt x="f237" y="f121"/>
                    </a:lnTo>
                    <a:lnTo>
                      <a:pt x="f238" y="f119"/>
                    </a:lnTo>
                    <a:lnTo>
                      <a:pt x="f239" y="f115"/>
                    </a:lnTo>
                    <a:lnTo>
                      <a:pt x="f240" y="f127"/>
                    </a:lnTo>
                    <a:lnTo>
                      <a:pt x="f69" y="f241"/>
                    </a:lnTo>
                    <a:lnTo>
                      <a:pt x="f68" y="f242"/>
                    </a:lnTo>
                    <a:lnTo>
                      <a:pt x="f243" y="f244"/>
                    </a:lnTo>
                    <a:lnTo>
                      <a:pt x="f245" y="f246"/>
                    </a:lnTo>
                    <a:lnTo>
                      <a:pt x="f247" y="f248"/>
                    </a:lnTo>
                    <a:lnTo>
                      <a:pt x="f249" y="f100"/>
                    </a:lnTo>
                    <a:lnTo>
                      <a:pt x="f63" y="f100"/>
                    </a:lnTo>
                    <a:lnTo>
                      <a:pt x="f250" y="f251"/>
                    </a:lnTo>
                    <a:lnTo>
                      <a:pt x="f252" y="f217"/>
                    </a:lnTo>
                    <a:lnTo>
                      <a:pt x="f253" y="f94"/>
                    </a:lnTo>
                    <a:lnTo>
                      <a:pt x="f254" y="f90"/>
                    </a:lnTo>
                    <a:lnTo>
                      <a:pt x="f255" y="f256"/>
                    </a:lnTo>
                    <a:lnTo>
                      <a:pt x="f257" y="f258"/>
                    </a:lnTo>
                    <a:lnTo>
                      <a:pt x="f259" y="f260"/>
                    </a:lnTo>
                    <a:lnTo>
                      <a:pt x="f50" y="f227"/>
                    </a:lnTo>
                    <a:lnTo>
                      <a:pt x="f261" y="f80"/>
                    </a:lnTo>
                    <a:lnTo>
                      <a:pt x="f262" y="f263"/>
                    </a:lnTo>
                    <a:lnTo>
                      <a:pt x="f37" y="f224"/>
                    </a:lnTo>
                    <a:lnTo>
                      <a:pt x="f21" y="f264"/>
                    </a:lnTo>
                    <a:lnTo>
                      <a:pt x="f19" y="f265"/>
                    </a:lnTo>
                    <a:lnTo>
                      <a:pt x="f266" y="f267"/>
                    </a:lnTo>
                    <a:lnTo>
                      <a:pt x="f268" y="f269"/>
                    </a:lnTo>
                    <a:lnTo>
                      <a:pt x="f270" y="f88"/>
                    </a:lnTo>
                    <a:lnTo>
                      <a:pt x="f11" y="f271"/>
                    </a:lnTo>
                    <a:lnTo>
                      <a:pt x="f6" y="f78"/>
                    </a:lnTo>
                    <a:lnTo>
                      <a:pt x="f6" y="f272"/>
                    </a:lnTo>
                    <a:lnTo>
                      <a:pt x="f273" y="f239"/>
                    </a:lnTo>
                    <a:lnTo>
                      <a:pt x="f274" y="f70"/>
                    </a:lnTo>
                    <a:lnTo>
                      <a:pt x="f275" y="f243"/>
                    </a:lnTo>
                    <a:lnTo>
                      <a:pt x="f276" y="f277"/>
                    </a:lnTo>
                    <a:lnTo>
                      <a:pt x="f276" y="f278"/>
                    </a:lnTo>
                    <a:lnTo>
                      <a:pt x="f13" y="f279"/>
                    </a:lnTo>
                    <a:lnTo>
                      <a:pt x="f274" y="f280"/>
                    </a:lnTo>
                    <a:lnTo>
                      <a:pt x="f273" y="f280"/>
                    </a:lnTo>
                    <a:lnTo>
                      <a:pt x="f15" y="f61"/>
                    </a:lnTo>
                    <a:lnTo>
                      <a:pt x="f281" y="f252"/>
                    </a:lnTo>
                    <a:lnTo>
                      <a:pt x="f282" y="f253"/>
                    </a:lnTo>
                    <a:lnTo>
                      <a:pt x="f283" y="f284"/>
                    </a:lnTo>
                    <a:lnTo>
                      <a:pt x="f45" y="f55"/>
                    </a:lnTo>
                    <a:lnTo>
                      <a:pt x="f285" y="f59"/>
                    </a:lnTo>
                    <a:lnTo>
                      <a:pt x="f286" y="f63"/>
                    </a:lnTo>
                    <a:lnTo>
                      <a:pt x="f287" y="f249"/>
                    </a:lnTo>
                    <a:lnTo>
                      <a:pt x="f277" y="f68"/>
                    </a:lnTo>
                    <a:lnTo>
                      <a:pt x="f240" y="f288"/>
                    </a:lnTo>
                    <a:lnTo>
                      <a:pt x="f289" y="f239"/>
                    </a:lnTo>
                    <a:lnTo>
                      <a:pt x="f290" y="f288"/>
                    </a:lnTo>
                    <a:lnTo>
                      <a:pt x="f78" y="f291"/>
                    </a:lnTo>
                    <a:lnTo>
                      <a:pt x="f227" y="f292"/>
                    </a:lnTo>
                    <a:lnTo>
                      <a:pt x="f293" y="f294"/>
                    </a:lnTo>
                    <a:lnTo>
                      <a:pt x="f256" y="f250"/>
                    </a:lnTo>
                    <a:lnTo>
                      <a:pt x="f83" y="f55"/>
                    </a:lnTo>
                    <a:lnTo>
                      <a:pt x="f265" y="f295"/>
                    </a:lnTo>
                    <a:lnTo>
                      <a:pt x="f96" y="f51"/>
                    </a:lnTo>
                    <a:lnTo>
                      <a:pt x="f296" y="f295"/>
                    </a:lnTo>
                    <a:lnTo>
                      <a:pt x="f100" y="f284"/>
                    </a:lnTo>
                    <a:lnTo>
                      <a:pt x="f248" y="f297"/>
                    </a:lnTo>
                    <a:lnTo>
                      <a:pt x="f298" y="f299"/>
                    </a:lnTo>
                    <a:lnTo>
                      <a:pt x="f300" y="f299"/>
                    </a:lnTo>
                    <a:lnTo>
                      <a:pt x="f242" y="f297"/>
                    </a:lnTo>
                    <a:lnTo>
                      <a:pt x="f108" y="f253"/>
                    </a:lnTo>
                    <a:lnTo>
                      <a:pt x="f113" y="f53"/>
                    </a:lnTo>
                    <a:lnTo>
                      <a:pt x="f301" y="f254"/>
                    </a:lnTo>
                    <a:lnTo>
                      <a:pt x="f218" y="f254"/>
                    </a:lnTo>
                    <a:lnTo>
                      <a:pt x="f302" y="f295"/>
                    </a:lnTo>
                    <a:lnTo>
                      <a:pt x="f303" y="f295"/>
                    </a:lnTo>
                    <a:lnTo>
                      <a:pt x="f304" y="f51"/>
                    </a:lnTo>
                    <a:lnTo>
                      <a:pt x="f180" y="f257"/>
                    </a:lnTo>
                    <a:lnTo>
                      <a:pt x="f305" y="f306"/>
                    </a:lnTo>
                    <a:lnTo>
                      <a:pt x="f307" y="f308"/>
                    </a:lnTo>
                    <a:lnTo>
                      <a:pt x="f309" y="f310"/>
                    </a:lnTo>
                    <a:lnTo>
                      <a:pt x="f311" y="f312"/>
                    </a:lnTo>
                    <a:lnTo>
                      <a:pt x="f313" y="f29"/>
                    </a:lnTo>
                    <a:lnTo>
                      <a:pt x="f314" y="f315"/>
                    </a:lnTo>
                    <a:lnTo>
                      <a:pt x="f316" y="f23"/>
                    </a:lnTo>
                    <a:lnTo>
                      <a:pt x="f317" y="f318"/>
                    </a:lnTo>
                    <a:lnTo>
                      <a:pt x="f148" y="f319"/>
                    </a:lnTo>
                    <a:lnTo>
                      <a:pt x="f320" y="f268"/>
                    </a:lnTo>
                    <a:lnTo>
                      <a:pt x="f321" y="f13"/>
                    </a:lnTo>
                    <a:lnTo>
                      <a:pt x="f137" y="f322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97" name="Freeform 17">
                <a:extLst>
                  <a:ext uri="{FF2B5EF4-FFF2-40B4-BE49-F238E27FC236}">
                    <a16:creationId xmlns:a16="http://schemas.microsoft.com/office/drawing/2014/main" id="{BFE408D7-7494-4A9D-A8F8-BD0FBEEB0D24}"/>
                  </a:ext>
                </a:extLst>
              </p:cNvPr>
              <p:cNvSpPr/>
              <p:nvPr/>
            </p:nvSpPr>
            <p:spPr>
              <a:xfrm>
                <a:off x="3765252" y="1813465"/>
                <a:ext cx="258473" cy="101242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1189"/>
                  <a:gd name="f8" fmla="val 521"/>
                  <a:gd name="f9" fmla="val 413"/>
                  <a:gd name="f10" fmla="val 191"/>
                  <a:gd name="f11" fmla="val 402"/>
                  <a:gd name="f12" fmla="val 192"/>
                  <a:gd name="f13" fmla="val 389"/>
                  <a:gd name="f14" fmla="val 197"/>
                  <a:gd name="f15" fmla="val 376"/>
                  <a:gd name="f16" fmla="val 206"/>
                  <a:gd name="f17" fmla="val 362"/>
                  <a:gd name="f18" fmla="val 217"/>
                  <a:gd name="f19" fmla="val 349"/>
                  <a:gd name="f20" fmla="val 228"/>
                  <a:gd name="f21" fmla="val 338"/>
                  <a:gd name="f22" fmla="val 240"/>
                  <a:gd name="f23" fmla="val 329"/>
                  <a:gd name="f24" fmla="val 251"/>
                  <a:gd name="f25" fmla="val 318"/>
                  <a:gd name="f26" fmla="val 273"/>
                  <a:gd name="f27" fmla="val 310"/>
                  <a:gd name="f28" fmla="val 281"/>
                  <a:gd name="f29" fmla="val 297"/>
                  <a:gd name="f30" fmla="val 296"/>
                  <a:gd name="f31" fmla="val 292"/>
                  <a:gd name="f32" fmla="val 305"/>
                  <a:gd name="f33" fmla="val 289"/>
                  <a:gd name="f34" fmla="val 317"/>
                  <a:gd name="f35" fmla="val 290"/>
                  <a:gd name="f36" fmla="val 326"/>
                  <a:gd name="f37" fmla="val 334"/>
                  <a:gd name="f38" fmla="val 339"/>
                  <a:gd name="f39" fmla="val 345"/>
                  <a:gd name="f40" fmla="val 343"/>
                  <a:gd name="f41" fmla="val 351"/>
                  <a:gd name="f42" fmla="val 353"/>
                  <a:gd name="f43" fmla="val 355"/>
                  <a:gd name="f44" fmla="val 374"/>
                  <a:gd name="f45" fmla="val 388"/>
                  <a:gd name="f46" fmla="val 367"/>
                  <a:gd name="f47" fmla="val 400"/>
                  <a:gd name="f48" fmla="val 375"/>
                  <a:gd name="f49" fmla="val 380"/>
                  <a:gd name="f50" fmla="val 424"/>
                  <a:gd name="f51" fmla="val 383"/>
                  <a:gd name="f52" fmla="val 439"/>
                  <a:gd name="f53" fmla="val 381"/>
                  <a:gd name="f54" fmla="val 453"/>
                  <a:gd name="f55" fmla="val 467"/>
                  <a:gd name="f56" fmla="val 481"/>
                  <a:gd name="f57" fmla="val 347"/>
                  <a:gd name="f58" fmla="val 488"/>
                  <a:gd name="f59" fmla="val 336"/>
                  <a:gd name="f60" fmla="val 493"/>
                  <a:gd name="f61" fmla="val 323"/>
                  <a:gd name="f62" fmla="val 495"/>
                  <a:gd name="f63" fmla="val 308"/>
                  <a:gd name="f64" fmla="val 278"/>
                  <a:gd name="f65" fmla="val 265"/>
                  <a:gd name="f66" fmla="val 257"/>
                  <a:gd name="f67" fmla="val 472"/>
                  <a:gd name="f68" fmla="val 248"/>
                  <a:gd name="f69" fmla="val 464"/>
                  <a:gd name="f70" fmla="val 237"/>
                  <a:gd name="f71" fmla="val 455"/>
                  <a:gd name="f72" fmla="val 224"/>
                  <a:gd name="f73" fmla="val 446"/>
                  <a:gd name="f74" fmla="val 212"/>
                  <a:gd name="f75" fmla="val 436"/>
                  <a:gd name="f76" fmla="val 202"/>
                  <a:gd name="f77" fmla="val 425"/>
                  <a:gd name="f78" fmla="val 194"/>
                  <a:gd name="f79" fmla="val 1087"/>
                  <a:gd name="f80" fmla="val 1101"/>
                  <a:gd name="f81" fmla="val 1111"/>
                  <a:gd name="f82" fmla="val 1"/>
                  <a:gd name="f83" fmla="val 1122"/>
                  <a:gd name="f84" fmla="val 3"/>
                  <a:gd name="f85" fmla="val 1129"/>
                  <a:gd name="f86" fmla="val 5"/>
                  <a:gd name="f87" fmla="val 1138"/>
                  <a:gd name="f88" fmla="val 9"/>
                  <a:gd name="f89" fmla="val 1144"/>
                  <a:gd name="f90" fmla="val 16"/>
                  <a:gd name="f91" fmla="val 1148"/>
                  <a:gd name="f92" fmla="val 23"/>
                  <a:gd name="f93" fmla="val 1149"/>
                  <a:gd name="f94" fmla="val 33"/>
                  <a:gd name="f95" fmla="val 1147"/>
                  <a:gd name="f96" fmla="val 38"/>
                  <a:gd name="f97" fmla="val 40"/>
                  <a:gd name="f98" fmla="val 1139"/>
                  <a:gd name="f99" fmla="val 1133"/>
                  <a:gd name="f100" fmla="val 1123"/>
                  <a:gd name="f101" fmla="val 36"/>
                  <a:gd name="f102" fmla="val 1119"/>
                  <a:gd name="f103" fmla="val 37"/>
                  <a:gd name="f104" fmla="val 1116"/>
                  <a:gd name="f105" fmla="val 43"/>
                  <a:gd name="f106" fmla="val 49"/>
                  <a:gd name="f107" fmla="val 1118"/>
                  <a:gd name="f108" fmla="val 57"/>
                  <a:gd name="f109" fmla="val 64"/>
                  <a:gd name="f110" fmla="val 71"/>
                  <a:gd name="f111" fmla="val 1115"/>
                  <a:gd name="f112" fmla="val 75"/>
                  <a:gd name="f113" fmla="val 1110"/>
                  <a:gd name="f114" fmla="val 76"/>
                  <a:gd name="f115" fmla="val 1097"/>
                  <a:gd name="f116" fmla="val 1092"/>
                  <a:gd name="f117" fmla="val 77"/>
                  <a:gd name="f118" fmla="val 1088"/>
                  <a:gd name="f119" fmla="val 79"/>
                  <a:gd name="f120" fmla="val 1086"/>
                  <a:gd name="f121" fmla="val 87"/>
                  <a:gd name="f122" fmla="val 97"/>
                  <a:gd name="f123" fmla="val 110"/>
                  <a:gd name="f124" fmla="val 123"/>
                  <a:gd name="f125" fmla="val 1082"/>
                  <a:gd name="f126" fmla="val 133"/>
                  <a:gd name="f127" fmla="val 1074"/>
                  <a:gd name="f128" fmla="val 142"/>
                  <a:gd name="f129" fmla="val 1065"/>
                  <a:gd name="f130" fmla="val 149"/>
                  <a:gd name="f131" fmla="val 1057"/>
                  <a:gd name="f132" fmla="val 157"/>
                  <a:gd name="f133" fmla="val 1054"/>
                  <a:gd name="f134" fmla="val 165"/>
                  <a:gd name="f135" fmla="val 173"/>
                  <a:gd name="f136" fmla="val 1066"/>
                  <a:gd name="f137" fmla="val 179"/>
                  <a:gd name="f138" fmla="val 1078"/>
                  <a:gd name="f139" fmla="val 183"/>
                  <a:gd name="f140" fmla="val 1090"/>
                  <a:gd name="f141" fmla="val 189"/>
                  <a:gd name="f142" fmla="val 193"/>
                  <a:gd name="f143" fmla="val 1117"/>
                  <a:gd name="f144" fmla="val 1125"/>
                  <a:gd name="f145" fmla="val 187"/>
                  <a:gd name="f146" fmla="val 1131"/>
                  <a:gd name="f147" fmla="val 181"/>
                  <a:gd name="f148" fmla="val 1137"/>
                  <a:gd name="f149" fmla="val 1140"/>
                  <a:gd name="f150" fmla="val 1142"/>
                  <a:gd name="f151" fmla="val 1143"/>
                  <a:gd name="f152" fmla="val 1145"/>
                  <a:gd name="f153" fmla="val 196"/>
                  <a:gd name="f154" fmla="val 1170"/>
                  <a:gd name="f155" fmla="val 1178"/>
                  <a:gd name="f156" fmla="val 200"/>
                  <a:gd name="f157" fmla="val 1185"/>
                  <a:gd name="f158" fmla="val 207"/>
                  <a:gd name="f159" fmla="val 1187"/>
                  <a:gd name="f160" fmla="val 231"/>
                  <a:gd name="f161" fmla="val 1183"/>
                  <a:gd name="f162" fmla="val 238"/>
                  <a:gd name="f163" fmla="val 247"/>
                  <a:gd name="f164" fmla="val 1175"/>
                  <a:gd name="f165" fmla="val 252"/>
                  <a:gd name="f166" fmla="val 1172"/>
                  <a:gd name="f167" fmla="val 254"/>
                  <a:gd name="f168" fmla="val 1169"/>
                  <a:gd name="f169" fmla="val 253"/>
                  <a:gd name="f170" fmla="val 1166"/>
                  <a:gd name="f171" fmla="val 1162"/>
                  <a:gd name="f172" fmla="val 1158"/>
                  <a:gd name="f173" fmla="val 260"/>
                  <a:gd name="f174" fmla="val 1154"/>
                  <a:gd name="f175" fmla="val 269"/>
                  <a:gd name="f176" fmla="val 1151"/>
                  <a:gd name="f177" fmla="val 282"/>
                  <a:gd name="f178" fmla="val 321"/>
                  <a:gd name="f179" fmla="val 1141"/>
                  <a:gd name="f180" fmla="val 333"/>
                  <a:gd name="f181" fmla="val 1146"/>
                  <a:gd name="f182" fmla="val 344"/>
                  <a:gd name="f183" fmla="val 352"/>
                  <a:gd name="f184" fmla="val 359"/>
                  <a:gd name="f185" fmla="val 364"/>
                  <a:gd name="f186" fmla="val 368"/>
                  <a:gd name="f187" fmla="val 1130"/>
                  <a:gd name="f188" fmla="val 372"/>
                  <a:gd name="f189" fmla="val 379"/>
                  <a:gd name="f190" fmla="val 384"/>
                  <a:gd name="f191" fmla="val 421"/>
                  <a:gd name="f192" fmla="val 1113"/>
                  <a:gd name="f193" fmla="val 431"/>
                  <a:gd name="f194" fmla="val 1112"/>
                  <a:gd name="f195" fmla="val 447"/>
                  <a:gd name="f196" fmla="val 1121"/>
                  <a:gd name="f197" fmla="val 452"/>
                  <a:gd name="f198" fmla="val 458"/>
                  <a:gd name="f199" fmla="val 473"/>
                  <a:gd name="f200" fmla="val 484"/>
                  <a:gd name="f201" fmla="val 1108"/>
                  <a:gd name="f202" fmla="val 486"/>
                  <a:gd name="f203" fmla="val 1102"/>
                  <a:gd name="f204" fmla="val 489"/>
                  <a:gd name="f205" fmla="val 1098"/>
                  <a:gd name="f206" fmla="val 494"/>
                  <a:gd name="f207" fmla="val 1093"/>
                  <a:gd name="f208" fmla="val 498"/>
                  <a:gd name="f209" fmla="val 501"/>
                  <a:gd name="f210" fmla="val 497"/>
                  <a:gd name="f211" fmla="val 1075"/>
                  <a:gd name="f212" fmla="val 491"/>
                  <a:gd name="f213" fmla="val 1069"/>
                  <a:gd name="f214" fmla="val 480"/>
                  <a:gd name="f215" fmla="val 1063"/>
                  <a:gd name="f216" fmla="val 468"/>
                  <a:gd name="f217" fmla="val 1051"/>
                  <a:gd name="f218" fmla="val 445"/>
                  <a:gd name="f219" fmla="val 1045"/>
                  <a:gd name="f220" fmla="val 1041"/>
                  <a:gd name="f221" fmla="val 432"/>
                  <a:gd name="f222" fmla="val 1037"/>
                  <a:gd name="f223" fmla="val 1030"/>
                  <a:gd name="f224" fmla="val 418"/>
                  <a:gd name="f225" fmla="val 1022"/>
                  <a:gd name="f226" fmla="val 412"/>
                  <a:gd name="f227" fmla="val 1015"/>
                  <a:gd name="f228" fmla="val 410"/>
                  <a:gd name="f229" fmla="val 1010"/>
                  <a:gd name="f230" fmla="val 1006"/>
                  <a:gd name="f231" fmla="val 414"/>
                  <a:gd name="f232" fmla="val 995"/>
                  <a:gd name="f233" fmla="val 420"/>
                  <a:gd name="f234" fmla="val 986"/>
                  <a:gd name="f235" fmla="val 423"/>
                  <a:gd name="f236" fmla="val 976"/>
                  <a:gd name="f237" fmla="val 962"/>
                  <a:gd name="f238" fmla="val 942"/>
                  <a:gd name="f239" fmla="val 422"/>
                  <a:gd name="f240" fmla="val 927"/>
                  <a:gd name="f241" fmla="val 913"/>
                  <a:gd name="f242" fmla="val 417"/>
                  <a:gd name="f243" fmla="val 901"/>
                  <a:gd name="f244" fmla="val 888"/>
                  <a:gd name="f245" fmla="val 406"/>
                  <a:gd name="f246" fmla="val 873"/>
                  <a:gd name="f247" fmla="val 397"/>
                  <a:gd name="f248" fmla="val 853"/>
                  <a:gd name="f249" fmla="val 387"/>
                  <a:gd name="f250" fmla="val 834"/>
                  <a:gd name="f251" fmla="val 378"/>
                  <a:gd name="f252" fmla="val 815"/>
                  <a:gd name="f253" fmla="val 792"/>
                  <a:gd name="f254" fmla="val 766"/>
                  <a:gd name="f255" fmla="val 749"/>
                  <a:gd name="f256" fmla="val 365"/>
                  <a:gd name="f257" fmla="val 732"/>
                  <a:gd name="f258" fmla="val 717"/>
                  <a:gd name="f259" fmla="val 703"/>
                  <a:gd name="f260" fmla="val 391"/>
                  <a:gd name="f261" fmla="val 690"/>
                  <a:gd name="f262" fmla="val 403"/>
                  <a:gd name="f263" fmla="val 679"/>
                  <a:gd name="f264" fmla="val 671"/>
                  <a:gd name="f265" fmla="val 419"/>
                  <a:gd name="f266" fmla="val 663"/>
                  <a:gd name="f267" fmla="val 651"/>
                  <a:gd name="f268" fmla="val 426"/>
                  <a:gd name="f269" fmla="val 639"/>
                  <a:gd name="f270" fmla="val 434"/>
                  <a:gd name="f271" fmla="val 627"/>
                  <a:gd name="f272" fmla="val 444"/>
                  <a:gd name="f273" fmla="val 616"/>
                  <a:gd name="f274" fmla="val 609"/>
                  <a:gd name="f275" fmla="val 454"/>
                  <a:gd name="f276" fmla="val 596"/>
                  <a:gd name="f277" fmla="val 578"/>
                  <a:gd name="f278" fmla="val 457"/>
                  <a:gd name="f279" fmla="val 557"/>
                  <a:gd name="f280" fmla="val 535"/>
                  <a:gd name="f281" fmla="val 492"/>
                  <a:gd name="f282" fmla="val 459"/>
                  <a:gd name="f283" fmla="val 461"/>
                  <a:gd name="f284" fmla="val 450"/>
                  <a:gd name="f285" fmla="val 463"/>
                  <a:gd name="f286" fmla="val 443"/>
                  <a:gd name="f287" fmla="val 465"/>
                  <a:gd name="f288" fmla="val 435"/>
                  <a:gd name="f289" fmla="val 433"/>
                  <a:gd name="f290" fmla="val 460"/>
                  <a:gd name="f291" fmla="val 428"/>
                  <a:gd name="f292" fmla="val 408"/>
                  <a:gd name="f293" fmla="val 462"/>
                  <a:gd name="f294" fmla="val 392"/>
                  <a:gd name="f295" fmla="val 482"/>
                  <a:gd name="f296" fmla="val 504"/>
                  <a:gd name="f297" fmla="val 363"/>
                  <a:gd name="f298" fmla="val 511"/>
                  <a:gd name="f299" fmla="val 346"/>
                  <a:gd name="f300" fmla="val 515"/>
                  <a:gd name="f301" fmla="val 315"/>
                  <a:gd name="f302" fmla="val 503"/>
                  <a:gd name="f303" fmla="val 303"/>
                  <a:gd name="f304" fmla="val 469"/>
                  <a:gd name="f305" fmla="val 233"/>
                  <a:gd name="f306" fmla="val 220"/>
                  <a:gd name="f307" fmla="val 209"/>
                  <a:gd name="f308" fmla="val 466"/>
                  <a:gd name="f309" fmla="val 198"/>
                  <a:gd name="f310" fmla="val 475"/>
                  <a:gd name="f311" fmla="val 186"/>
                  <a:gd name="f312" fmla="val 487"/>
                  <a:gd name="f313" fmla="val 175"/>
                  <a:gd name="f314" fmla="val 167"/>
                  <a:gd name="f315" fmla="val 159"/>
                  <a:gd name="f316" fmla="val 150"/>
                  <a:gd name="f317" fmla="val 139"/>
                  <a:gd name="f318" fmla="val 505"/>
                  <a:gd name="f319" fmla="val 126"/>
                  <a:gd name="f320" fmla="val 507"/>
                  <a:gd name="f321" fmla="val 112"/>
                  <a:gd name="f322" fmla="val 508"/>
                  <a:gd name="f323" fmla="val 102"/>
                  <a:gd name="f324" fmla="val 510"/>
                  <a:gd name="f325" fmla="val 90"/>
                  <a:gd name="f326" fmla="val 519"/>
                  <a:gd name="f327" fmla="val 65"/>
                  <a:gd name="f328" fmla="val 51"/>
                  <a:gd name="f329" fmla="val 520"/>
                  <a:gd name="f330" fmla="val 513"/>
                  <a:gd name="f331" fmla="val 22"/>
                  <a:gd name="f332" fmla="val 12"/>
                  <a:gd name="f333" fmla="val 483"/>
                  <a:gd name="f334" fmla="val 478"/>
                  <a:gd name="f335" fmla="val 10"/>
                  <a:gd name="f336" fmla="val 451"/>
                  <a:gd name="f337" fmla="val 47"/>
                  <a:gd name="f338" fmla="val 438"/>
                  <a:gd name="f339" fmla="val 39"/>
                  <a:gd name="f340" fmla="val 429"/>
                  <a:gd name="f341" fmla="val 415"/>
                  <a:gd name="f342" fmla="val 42"/>
                  <a:gd name="f343" fmla="val 405"/>
                  <a:gd name="f344" fmla="val 45"/>
                  <a:gd name="f345" fmla="val 396"/>
                  <a:gd name="f346" fmla="val 50"/>
                  <a:gd name="f347" fmla="val 55"/>
                  <a:gd name="f348" fmla="val 390"/>
                  <a:gd name="f349" fmla="val 60"/>
                  <a:gd name="f350" fmla="val 393"/>
                  <a:gd name="f351" fmla="val 67"/>
                  <a:gd name="f352" fmla="val 72"/>
                  <a:gd name="f353" fmla="val 401"/>
                  <a:gd name="f354" fmla="val 85"/>
                  <a:gd name="f355" fmla="val 395"/>
                  <a:gd name="f356" fmla="val 93"/>
                  <a:gd name="f357" fmla="val 100"/>
                  <a:gd name="f358" fmla="val 108"/>
                  <a:gd name="f359" fmla="val 116"/>
                  <a:gd name="f360" fmla="val 134"/>
                  <a:gd name="f361" fmla="val 377"/>
                  <a:gd name="f362" fmla="val 156"/>
                  <a:gd name="f363" fmla="val 361"/>
                  <a:gd name="f364" fmla="val 161"/>
                  <a:gd name="f365" fmla="val 163"/>
                  <a:gd name="f366" fmla="val 335"/>
                  <a:gd name="f367" fmla="val 162"/>
                  <a:gd name="f368" fmla="val 158"/>
                  <a:gd name="f369" fmla="val 312"/>
                  <a:gd name="f370" fmla="val 153"/>
                  <a:gd name="f371" fmla="val 306"/>
                  <a:gd name="f372" fmla="val 301"/>
                  <a:gd name="f373" fmla="val 140"/>
                  <a:gd name="f374" fmla="val 298"/>
                  <a:gd name="f375" fmla="val 141"/>
                  <a:gd name="f376" fmla="val 145"/>
                  <a:gd name="f377" fmla="val 291"/>
                  <a:gd name="f378" fmla="val 263"/>
                  <a:gd name="f379" fmla="val 170"/>
                  <a:gd name="f380" fmla="val 249"/>
                  <a:gd name="f381" fmla="val 178"/>
                  <a:gd name="f382" fmla="val 244"/>
                  <a:gd name="f383" fmla="val 236"/>
                  <a:gd name="f384" fmla="val 176"/>
                  <a:gd name="f385" fmla="val 229"/>
                  <a:gd name="f386" fmla="val 221"/>
                  <a:gd name="f387" fmla="val 177"/>
                  <a:gd name="f388" fmla="val 215"/>
                  <a:gd name="f389" fmla="val 208"/>
                  <a:gd name="f390" fmla="val 201"/>
                  <a:gd name="f391" fmla="val 182"/>
                  <a:gd name="f392" fmla="val 184"/>
                  <a:gd name="f393" fmla="val 188"/>
                  <a:gd name="f394" fmla="val 174"/>
                  <a:gd name="f395" fmla="val 211"/>
                  <a:gd name="f396" fmla="val 230"/>
                  <a:gd name="f397" fmla="val 245"/>
                  <a:gd name="f398" fmla="val 243"/>
                  <a:gd name="f399" fmla="val 143"/>
                  <a:gd name="f400" fmla="val 137"/>
                  <a:gd name="f401" fmla="val 235"/>
                  <a:gd name="f402" fmla="val 130"/>
                  <a:gd name="f403" fmla="val 109"/>
                  <a:gd name="f404" fmla="val 94"/>
                  <a:gd name="f405" fmla="val 92"/>
                  <a:gd name="f406" fmla="val 250"/>
                  <a:gd name="f407" fmla="val 271"/>
                  <a:gd name="f408" fmla="val 91"/>
                  <a:gd name="f409" fmla="val 299"/>
                  <a:gd name="f410" fmla="val 81"/>
                  <a:gd name="f411" fmla="val 307"/>
                  <a:gd name="f412" fmla="val 74"/>
                  <a:gd name="f413" fmla="val 311"/>
                  <a:gd name="f414" fmla="val 68"/>
                  <a:gd name="f415" fmla="val 309"/>
                  <a:gd name="f416" fmla="val 62"/>
                  <a:gd name="f417" fmla="val 48"/>
                  <a:gd name="f418" fmla="val 44"/>
                  <a:gd name="f419" fmla="val 319"/>
                  <a:gd name="f420" fmla="val 328"/>
                  <a:gd name="f421" fmla="val 26"/>
                  <a:gd name="f422" fmla="val 337"/>
                  <a:gd name="f423" fmla="val 18"/>
                  <a:gd name="f424" fmla="val 11"/>
                  <a:gd name="f425" fmla="val 356"/>
                  <a:gd name="f426" fmla="val 399"/>
                  <a:gd name="f427" fmla="val 409"/>
                  <a:gd name="f428" fmla="val 416"/>
                  <a:gd name="f429" fmla="val 63"/>
                  <a:gd name="f430" fmla="val 471"/>
                  <a:gd name="f431" fmla="val 479"/>
                  <a:gd name="f432" fmla="val 500"/>
                  <a:gd name="f433" fmla="val 69"/>
                  <a:gd name="f434" fmla="val 509"/>
                  <a:gd name="f435" fmla="val 522"/>
                  <a:gd name="f436" fmla="val 529"/>
                  <a:gd name="f437" fmla="val 534"/>
                  <a:gd name="f438" fmla="val 537"/>
                  <a:gd name="f439" fmla="val 540"/>
                  <a:gd name="f440" fmla="val 543"/>
                  <a:gd name="f441" fmla="val 547"/>
                  <a:gd name="f442" fmla="val 555"/>
                  <a:gd name="f443" fmla="val 560"/>
                  <a:gd name="f444" fmla="val 565"/>
                  <a:gd name="f445" fmla="val 575"/>
                  <a:gd name="f446" fmla="val 78"/>
                  <a:gd name="f447" fmla="val 580"/>
                  <a:gd name="f448" fmla="val 583"/>
                  <a:gd name="f449" fmla="val 586"/>
                  <a:gd name="f450" fmla="val 73"/>
                  <a:gd name="f451" fmla="val 589"/>
                  <a:gd name="f452" fmla="val 595"/>
                  <a:gd name="f453" fmla="val 66"/>
                  <a:gd name="f454" fmla="val 602"/>
                  <a:gd name="f455" fmla="val 612"/>
                  <a:gd name="f456" fmla="val 618"/>
                  <a:gd name="f457" fmla="val 624"/>
                  <a:gd name="f458" fmla="val 629"/>
                  <a:gd name="f459" fmla="val 634"/>
                  <a:gd name="f460" fmla="val 640"/>
                  <a:gd name="f461" fmla="val 80"/>
                  <a:gd name="f462" fmla="val 643"/>
                  <a:gd name="f463" fmla="val 647"/>
                  <a:gd name="f464" fmla="val 653"/>
                  <a:gd name="f465" fmla="val 660"/>
                  <a:gd name="f466" fmla="val 54"/>
                  <a:gd name="f467" fmla="val 672"/>
                  <a:gd name="f468" fmla="val 686"/>
                  <a:gd name="f469" fmla="val 700"/>
                  <a:gd name="f470" fmla="val 712"/>
                  <a:gd name="f471" fmla="val 720"/>
                  <a:gd name="f472" fmla="val 726"/>
                  <a:gd name="f473" fmla="val 729"/>
                  <a:gd name="f474" fmla="val 734"/>
                  <a:gd name="f475" fmla="val 58"/>
                  <a:gd name="f476" fmla="val 741"/>
                  <a:gd name="f477" fmla="val 746"/>
                  <a:gd name="f478" fmla="val 752"/>
                  <a:gd name="f479" fmla="val 760"/>
                  <a:gd name="f480" fmla="val 767"/>
                  <a:gd name="f481" fmla="val 46"/>
                  <a:gd name="f482" fmla="val 776"/>
                  <a:gd name="f483" fmla="val 784"/>
                  <a:gd name="f484" fmla="val 794"/>
                  <a:gd name="f485" fmla="val 34"/>
                  <a:gd name="f486" fmla="val 804"/>
                  <a:gd name="f487" fmla="val 29"/>
                  <a:gd name="f488" fmla="val 811"/>
                  <a:gd name="f489" fmla="val 25"/>
                  <a:gd name="f490" fmla="val 819"/>
                  <a:gd name="f491" fmla="val 24"/>
                  <a:gd name="f492" fmla="val 826"/>
                  <a:gd name="f493" fmla="val 844"/>
                  <a:gd name="f494" fmla="val 854"/>
                  <a:gd name="f495" fmla="val 52"/>
                  <a:gd name="f496" fmla="val 863"/>
                  <a:gd name="f497" fmla="val 53"/>
                  <a:gd name="f498" fmla="val 872"/>
                  <a:gd name="f499" fmla="val 887"/>
                  <a:gd name="f500" fmla="val 895"/>
                  <a:gd name="f501" fmla="val 928"/>
                  <a:gd name="f502" fmla="val 28"/>
                  <a:gd name="f503" fmla="val 935"/>
                  <a:gd name="f504" fmla="val 945"/>
                  <a:gd name="f505" fmla="val 21"/>
                  <a:gd name="f506" fmla="val 956"/>
                  <a:gd name="f507" fmla="val 967"/>
                  <a:gd name="f508" fmla="val 974"/>
                  <a:gd name="f509" fmla="val 15"/>
                  <a:gd name="f510" fmla="val 981"/>
                  <a:gd name="f511" fmla="val 987"/>
                  <a:gd name="f512" fmla="val 19"/>
                  <a:gd name="f513" fmla="val 1004"/>
                  <a:gd name="f514" fmla="val 1012"/>
                  <a:gd name="f515" fmla="val 1016"/>
                  <a:gd name="f516" fmla="val 1026"/>
                  <a:gd name="f517" fmla="val 1028"/>
                  <a:gd name="f518" fmla="val 1029"/>
                  <a:gd name="f519" fmla="val 31"/>
                  <a:gd name="f520" fmla="val 1033"/>
                  <a:gd name="f521" fmla="val 1035"/>
                  <a:gd name="f522" fmla="val 1044"/>
                  <a:gd name="f523" fmla="val 35"/>
                  <a:gd name="f524" fmla="val 1059"/>
                  <a:gd name="f525" fmla="val 1084"/>
                  <a:gd name="f526" fmla="val 14"/>
                  <a:gd name="f527" fmla="val 7"/>
                  <a:gd name="f528" fmla="val 2"/>
                  <a:gd name="f529" fmla="+- 0 0 -90"/>
                  <a:gd name="f530" fmla="*/ f4 1 1189"/>
                  <a:gd name="f531" fmla="*/ f5 1 521"/>
                  <a:gd name="f532" fmla="+- f8 0 f6"/>
                  <a:gd name="f533" fmla="+- f7 0 f6"/>
                  <a:gd name="f534" fmla="*/ f529 f0 1"/>
                  <a:gd name="f535" fmla="*/ f533 1 1189"/>
                  <a:gd name="f536" fmla="*/ f532 1 521"/>
                  <a:gd name="f537" fmla="*/ f534 1 f3"/>
                  <a:gd name="f538" fmla="*/ 338 1 f535"/>
                  <a:gd name="f539" fmla="*/ 240 1 f536"/>
                  <a:gd name="f540" fmla="*/ 290 1 f535"/>
                  <a:gd name="f541" fmla="*/ 326 1 f536"/>
                  <a:gd name="f542" fmla="*/ 374 1 f535"/>
                  <a:gd name="f543" fmla="*/ 360 1 f536"/>
                  <a:gd name="f544" fmla="*/ 467 1 f535"/>
                  <a:gd name="f545" fmla="*/ 362 1 f536"/>
                  <a:gd name="f546" fmla="*/ 488 1 f535"/>
                  <a:gd name="f547" fmla="*/ 265 1 f536"/>
                  <a:gd name="f548" fmla="*/ 425 1 f535"/>
                  <a:gd name="f549" fmla="*/ 194 1 f536"/>
                  <a:gd name="f550" fmla="*/ 1138 1 f535"/>
                  <a:gd name="f551" fmla="*/ 9 1 f536"/>
                  <a:gd name="f552" fmla="*/ 1133 1 f535"/>
                  <a:gd name="f553" fmla="*/ 38 1 f536"/>
                  <a:gd name="f554" fmla="*/ 1118 1 f535"/>
                  <a:gd name="f555" fmla="*/ 71 1 f536"/>
                  <a:gd name="f556" fmla="*/ 1086 1 f535"/>
                  <a:gd name="f557" fmla="*/ 97 1 f536"/>
                  <a:gd name="f558" fmla="*/ 1054 1 f535"/>
                  <a:gd name="f559" fmla="*/ 165 1 f536"/>
                  <a:gd name="f560" fmla="*/ 1117 1 f535"/>
                  <a:gd name="f561" fmla="*/ 191 1 f536"/>
                  <a:gd name="f562" fmla="*/ 1145 1 f535"/>
                  <a:gd name="f563" fmla="*/ 193 1 f536"/>
                  <a:gd name="f564" fmla="*/ 1187 1 f535"/>
                  <a:gd name="f565" fmla="*/ 231 1 f536"/>
                  <a:gd name="f566" fmla="*/ 1162 1 f535"/>
                  <a:gd name="f567" fmla="*/ 254 1 f536"/>
                  <a:gd name="f568" fmla="*/ 1142 1 f535"/>
                  <a:gd name="f569" fmla="*/ 329 1 f536"/>
                  <a:gd name="f570" fmla="*/ 1137 1 f535"/>
                  <a:gd name="f571" fmla="*/ 368 1 f536"/>
                  <a:gd name="f572" fmla="*/ 1112 1 f535"/>
                  <a:gd name="f573" fmla="*/ 436 1 f536"/>
                  <a:gd name="f574" fmla="*/ 1108 1 f535"/>
                  <a:gd name="f575" fmla="*/ 486 1 f536"/>
                  <a:gd name="f576" fmla="*/ 1069 1 f535"/>
                  <a:gd name="f577" fmla="*/ 480 1 f536"/>
                  <a:gd name="f578" fmla="*/ 1030 1 f535"/>
                  <a:gd name="f579" fmla="*/ 418 1 f536"/>
                  <a:gd name="f580" fmla="*/ 976 1 f535"/>
                  <a:gd name="f581" fmla="*/ 424 1 f536"/>
                  <a:gd name="f582" fmla="*/ 873 1 f535"/>
                  <a:gd name="f583" fmla="*/ 397 1 f536"/>
                  <a:gd name="f584" fmla="*/ 732 1 f535"/>
                  <a:gd name="f585" fmla="*/ 372 1 f536"/>
                  <a:gd name="f586" fmla="*/ 651 1 f535"/>
                  <a:gd name="f587" fmla="*/ 426 1 f536"/>
                  <a:gd name="f588" fmla="*/ 557 1 f535"/>
                  <a:gd name="f589" fmla="*/ 457 1 f536"/>
                  <a:gd name="f590" fmla="*/ 439 1 f535"/>
                  <a:gd name="f591" fmla="*/ 465 1 f536"/>
                  <a:gd name="f592" fmla="*/ 400 1 f535"/>
                  <a:gd name="f593" fmla="*/ 472 1 f536"/>
                  <a:gd name="f594" fmla="*/ 315 1 f535"/>
                  <a:gd name="f595" fmla="*/ 503 1 f536"/>
                  <a:gd name="f596" fmla="*/ 209 1 f535"/>
                  <a:gd name="f597" fmla="*/ 466 1 f536"/>
                  <a:gd name="f598" fmla="*/ 139 1 f535"/>
                  <a:gd name="f599" fmla="*/ 505 1 f536"/>
                  <a:gd name="f600" fmla="*/ 51 1 f535"/>
                  <a:gd name="f601" fmla="*/ 520 1 f536"/>
                  <a:gd name="f602" fmla="*/ 0 1 f535"/>
                  <a:gd name="f603" fmla="*/ 49 1 f535"/>
                  <a:gd name="f604" fmla="*/ 451 1 f536"/>
                  <a:gd name="f605" fmla="*/ 42 1 f535"/>
                  <a:gd name="f606" fmla="*/ 405 1 f536"/>
                  <a:gd name="f607" fmla="*/ 79 1 f535"/>
                  <a:gd name="f608" fmla="*/ 400 1 f536"/>
                  <a:gd name="f609" fmla="*/ 134 1 f535"/>
                  <a:gd name="f610" fmla="*/ 380 1 f536"/>
                  <a:gd name="f611" fmla="*/ 158 1 f535"/>
                  <a:gd name="f612" fmla="*/ 312 1 f536"/>
                  <a:gd name="f613" fmla="*/ 163 1 f535"/>
                  <a:gd name="f614" fmla="*/ 263 1 f536"/>
                  <a:gd name="f615" fmla="*/ 177 1 f535"/>
                  <a:gd name="f616" fmla="*/ 215 1 f536"/>
                  <a:gd name="f617" fmla="*/ 201 1 f535"/>
                  <a:gd name="f618" fmla="*/ 175 1 f536"/>
                  <a:gd name="f619" fmla="*/ 243 1 f535"/>
                  <a:gd name="f620" fmla="*/ 150 1 f536"/>
                  <a:gd name="f621" fmla="*/ 92 1 f536"/>
                  <a:gd name="f622" fmla="*/ 307 1 f535"/>
                  <a:gd name="f623" fmla="*/ 77 1 f536"/>
                  <a:gd name="f624" fmla="*/ 319 1 f535"/>
                  <a:gd name="f625" fmla="*/ 36 1 f536"/>
                  <a:gd name="f626" fmla="*/ 399 1 f535"/>
                  <a:gd name="f627" fmla="*/ 33 1 f536"/>
                  <a:gd name="f628" fmla="*/ 471 1 f535"/>
                  <a:gd name="f629" fmla="*/ 74 1 f536"/>
                  <a:gd name="f630" fmla="*/ 522 1 f535"/>
                  <a:gd name="f631" fmla="*/ 75 1 f536"/>
                  <a:gd name="f632" fmla="*/ 555 1 f535"/>
                  <a:gd name="f633" fmla="*/ 62 1 f536"/>
                  <a:gd name="f634" fmla="*/ 589 1 f535"/>
                  <a:gd name="f635" fmla="*/ 69 1 f536"/>
                  <a:gd name="f636" fmla="*/ 634 1 f535"/>
                  <a:gd name="f637" fmla="*/ 81 1 f536"/>
                  <a:gd name="f638" fmla="*/ 686 1 f535"/>
                  <a:gd name="f639" fmla="*/ 45 1 f536"/>
                  <a:gd name="f640" fmla="*/ 741 1 f535"/>
                  <a:gd name="f641" fmla="*/ 65 1 f536"/>
                  <a:gd name="f642" fmla="*/ 794 1 f535"/>
                  <a:gd name="f643" fmla="*/ 34 1 f536"/>
                  <a:gd name="f644" fmla="*/ 863 1 f535"/>
                  <a:gd name="f645" fmla="*/ 53 1 f536"/>
                  <a:gd name="f646" fmla="*/ 945 1 f535"/>
                  <a:gd name="f647" fmla="*/ 21 1 f536"/>
                  <a:gd name="f648" fmla="*/ 1012 1 f535"/>
                  <a:gd name="f649" fmla="*/ 23 1 f536"/>
                  <a:gd name="f650" fmla="*/ 1029 1 f535"/>
                  <a:gd name="f651" fmla="*/ 26 1 f536"/>
                  <a:gd name="f652" fmla="*/ 1078 1 f535"/>
                  <a:gd name="f653" fmla="*/ 1087 1 f535"/>
                  <a:gd name="f654" fmla="*/ 0 1 f536"/>
                  <a:gd name="f655" fmla="*/ f7 1 f535"/>
                  <a:gd name="f656" fmla="*/ f8 1 f536"/>
                  <a:gd name="f657" fmla="+- f537 0 f1"/>
                  <a:gd name="f658" fmla="*/ f602 f530 1"/>
                  <a:gd name="f659" fmla="*/ f655 f530 1"/>
                  <a:gd name="f660" fmla="*/ f656 f531 1"/>
                  <a:gd name="f661" fmla="*/ f654 f531 1"/>
                  <a:gd name="f662" fmla="*/ f538 f530 1"/>
                  <a:gd name="f663" fmla="*/ f539 f531 1"/>
                  <a:gd name="f664" fmla="*/ f540 f530 1"/>
                  <a:gd name="f665" fmla="*/ f541 f531 1"/>
                  <a:gd name="f666" fmla="*/ f542 f530 1"/>
                  <a:gd name="f667" fmla="*/ f543 f531 1"/>
                  <a:gd name="f668" fmla="*/ f544 f530 1"/>
                  <a:gd name="f669" fmla="*/ f545 f531 1"/>
                  <a:gd name="f670" fmla="*/ f546 f530 1"/>
                  <a:gd name="f671" fmla="*/ f547 f531 1"/>
                  <a:gd name="f672" fmla="*/ f548 f530 1"/>
                  <a:gd name="f673" fmla="*/ f549 f531 1"/>
                  <a:gd name="f674" fmla="*/ f550 f530 1"/>
                  <a:gd name="f675" fmla="*/ f551 f531 1"/>
                  <a:gd name="f676" fmla="*/ f552 f530 1"/>
                  <a:gd name="f677" fmla="*/ f553 f531 1"/>
                  <a:gd name="f678" fmla="*/ f554 f530 1"/>
                  <a:gd name="f679" fmla="*/ f555 f531 1"/>
                  <a:gd name="f680" fmla="*/ f556 f530 1"/>
                  <a:gd name="f681" fmla="*/ f557 f531 1"/>
                  <a:gd name="f682" fmla="*/ f558 f530 1"/>
                  <a:gd name="f683" fmla="*/ f559 f531 1"/>
                  <a:gd name="f684" fmla="*/ f560 f530 1"/>
                  <a:gd name="f685" fmla="*/ f561 f531 1"/>
                  <a:gd name="f686" fmla="*/ f562 f530 1"/>
                  <a:gd name="f687" fmla="*/ f563 f531 1"/>
                  <a:gd name="f688" fmla="*/ f564 f530 1"/>
                  <a:gd name="f689" fmla="*/ f565 f531 1"/>
                  <a:gd name="f690" fmla="*/ f566 f530 1"/>
                  <a:gd name="f691" fmla="*/ f567 f531 1"/>
                  <a:gd name="f692" fmla="*/ f568 f530 1"/>
                  <a:gd name="f693" fmla="*/ f569 f531 1"/>
                  <a:gd name="f694" fmla="*/ f570 f530 1"/>
                  <a:gd name="f695" fmla="*/ f571 f531 1"/>
                  <a:gd name="f696" fmla="*/ f572 f530 1"/>
                  <a:gd name="f697" fmla="*/ f573 f531 1"/>
                  <a:gd name="f698" fmla="*/ f574 f530 1"/>
                  <a:gd name="f699" fmla="*/ f575 f531 1"/>
                  <a:gd name="f700" fmla="*/ f576 f530 1"/>
                  <a:gd name="f701" fmla="*/ f577 f531 1"/>
                  <a:gd name="f702" fmla="*/ f578 f530 1"/>
                  <a:gd name="f703" fmla="*/ f579 f531 1"/>
                  <a:gd name="f704" fmla="*/ f580 f530 1"/>
                  <a:gd name="f705" fmla="*/ f581 f531 1"/>
                  <a:gd name="f706" fmla="*/ f582 f530 1"/>
                  <a:gd name="f707" fmla="*/ f583 f531 1"/>
                  <a:gd name="f708" fmla="*/ f584 f530 1"/>
                  <a:gd name="f709" fmla="*/ f585 f531 1"/>
                  <a:gd name="f710" fmla="*/ f586 f530 1"/>
                  <a:gd name="f711" fmla="*/ f587 f531 1"/>
                  <a:gd name="f712" fmla="*/ f588 f530 1"/>
                  <a:gd name="f713" fmla="*/ f589 f531 1"/>
                  <a:gd name="f714" fmla="*/ f590 f530 1"/>
                  <a:gd name="f715" fmla="*/ f591 f531 1"/>
                  <a:gd name="f716" fmla="*/ f592 f530 1"/>
                  <a:gd name="f717" fmla="*/ f593 f531 1"/>
                  <a:gd name="f718" fmla="*/ f594 f530 1"/>
                  <a:gd name="f719" fmla="*/ f595 f531 1"/>
                  <a:gd name="f720" fmla="*/ f596 f530 1"/>
                  <a:gd name="f721" fmla="*/ f597 f531 1"/>
                  <a:gd name="f722" fmla="*/ f598 f530 1"/>
                  <a:gd name="f723" fmla="*/ f599 f531 1"/>
                  <a:gd name="f724" fmla="*/ f600 f530 1"/>
                  <a:gd name="f725" fmla="*/ f601 f531 1"/>
                  <a:gd name="f726" fmla="*/ f603 f530 1"/>
                  <a:gd name="f727" fmla="*/ f604 f531 1"/>
                  <a:gd name="f728" fmla="*/ f605 f530 1"/>
                  <a:gd name="f729" fmla="*/ f606 f531 1"/>
                  <a:gd name="f730" fmla="*/ f607 f530 1"/>
                  <a:gd name="f731" fmla="*/ f608 f531 1"/>
                  <a:gd name="f732" fmla="*/ f609 f530 1"/>
                  <a:gd name="f733" fmla="*/ f610 f531 1"/>
                  <a:gd name="f734" fmla="*/ f611 f530 1"/>
                  <a:gd name="f735" fmla="*/ f612 f531 1"/>
                  <a:gd name="f736" fmla="*/ f613 f530 1"/>
                  <a:gd name="f737" fmla="*/ f614 f531 1"/>
                  <a:gd name="f738" fmla="*/ f615 f530 1"/>
                  <a:gd name="f739" fmla="*/ f616 f531 1"/>
                  <a:gd name="f740" fmla="*/ f617 f530 1"/>
                  <a:gd name="f741" fmla="*/ f618 f531 1"/>
                  <a:gd name="f742" fmla="*/ f619 f530 1"/>
                  <a:gd name="f743" fmla="*/ f620 f531 1"/>
                  <a:gd name="f744" fmla="*/ f621 f531 1"/>
                  <a:gd name="f745" fmla="*/ f622 f530 1"/>
                  <a:gd name="f746" fmla="*/ f623 f531 1"/>
                  <a:gd name="f747" fmla="*/ f624 f530 1"/>
                  <a:gd name="f748" fmla="*/ f625 f531 1"/>
                  <a:gd name="f749" fmla="*/ f626 f530 1"/>
                  <a:gd name="f750" fmla="*/ f627 f531 1"/>
                  <a:gd name="f751" fmla="*/ f628 f530 1"/>
                  <a:gd name="f752" fmla="*/ f629 f531 1"/>
                  <a:gd name="f753" fmla="*/ f630 f530 1"/>
                  <a:gd name="f754" fmla="*/ f631 f531 1"/>
                  <a:gd name="f755" fmla="*/ f632 f530 1"/>
                  <a:gd name="f756" fmla="*/ f633 f531 1"/>
                  <a:gd name="f757" fmla="*/ f634 f530 1"/>
                  <a:gd name="f758" fmla="*/ f635 f531 1"/>
                  <a:gd name="f759" fmla="*/ f636 f530 1"/>
                  <a:gd name="f760" fmla="*/ f637 f531 1"/>
                  <a:gd name="f761" fmla="*/ f638 f530 1"/>
                  <a:gd name="f762" fmla="*/ f639 f531 1"/>
                  <a:gd name="f763" fmla="*/ f640 f530 1"/>
                  <a:gd name="f764" fmla="*/ f641 f531 1"/>
                  <a:gd name="f765" fmla="*/ f642 f530 1"/>
                  <a:gd name="f766" fmla="*/ f643 f531 1"/>
                  <a:gd name="f767" fmla="*/ f644 f530 1"/>
                  <a:gd name="f768" fmla="*/ f645 f531 1"/>
                  <a:gd name="f769" fmla="*/ f646 f530 1"/>
                  <a:gd name="f770" fmla="*/ f647 f531 1"/>
                  <a:gd name="f771" fmla="*/ f648 f530 1"/>
                  <a:gd name="f772" fmla="*/ f649 f531 1"/>
                  <a:gd name="f773" fmla="*/ f650 f530 1"/>
                  <a:gd name="f774" fmla="*/ f651 f531 1"/>
                  <a:gd name="f775" fmla="*/ f652 f530 1"/>
                  <a:gd name="f776" fmla="*/ f653 f53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57">
                    <a:pos x="f662" y="f663"/>
                  </a:cxn>
                  <a:cxn ang="f657">
                    <a:pos x="f664" y="f665"/>
                  </a:cxn>
                  <a:cxn ang="f657">
                    <a:pos x="f666" y="f667"/>
                  </a:cxn>
                  <a:cxn ang="f657">
                    <a:pos x="f668" y="f669"/>
                  </a:cxn>
                  <a:cxn ang="f657">
                    <a:pos x="f670" y="f671"/>
                  </a:cxn>
                  <a:cxn ang="f657">
                    <a:pos x="f672" y="f673"/>
                  </a:cxn>
                  <a:cxn ang="f657">
                    <a:pos x="f674" y="f675"/>
                  </a:cxn>
                  <a:cxn ang="f657">
                    <a:pos x="f676" y="f677"/>
                  </a:cxn>
                  <a:cxn ang="f657">
                    <a:pos x="f678" y="f679"/>
                  </a:cxn>
                  <a:cxn ang="f657">
                    <a:pos x="f680" y="f681"/>
                  </a:cxn>
                  <a:cxn ang="f657">
                    <a:pos x="f682" y="f683"/>
                  </a:cxn>
                  <a:cxn ang="f657">
                    <a:pos x="f684" y="f685"/>
                  </a:cxn>
                  <a:cxn ang="f657">
                    <a:pos x="f686" y="f687"/>
                  </a:cxn>
                  <a:cxn ang="f657">
                    <a:pos x="f688" y="f689"/>
                  </a:cxn>
                  <a:cxn ang="f657">
                    <a:pos x="f690" y="f691"/>
                  </a:cxn>
                  <a:cxn ang="f657">
                    <a:pos x="f692" y="f693"/>
                  </a:cxn>
                  <a:cxn ang="f657">
                    <a:pos x="f694" y="f695"/>
                  </a:cxn>
                  <a:cxn ang="f657">
                    <a:pos x="f696" y="f697"/>
                  </a:cxn>
                  <a:cxn ang="f657">
                    <a:pos x="f698" y="f699"/>
                  </a:cxn>
                  <a:cxn ang="f657">
                    <a:pos x="f700" y="f701"/>
                  </a:cxn>
                  <a:cxn ang="f657">
                    <a:pos x="f702" y="f703"/>
                  </a:cxn>
                  <a:cxn ang="f657">
                    <a:pos x="f704" y="f705"/>
                  </a:cxn>
                  <a:cxn ang="f657">
                    <a:pos x="f706" y="f707"/>
                  </a:cxn>
                  <a:cxn ang="f657">
                    <a:pos x="f708" y="f709"/>
                  </a:cxn>
                  <a:cxn ang="f657">
                    <a:pos x="f710" y="f711"/>
                  </a:cxn>
                  <a:cxn ang="f657">
                    <a:pos x="f712" y="f713"/>
                  </a:cxn>
                  <a:cxn ang="f657">
                    <a:pos x="f714" y="f715"/>
                  </a:cxn>
                  <a:cxn ang="f657">
                    <a:pos x="f716" y="f717"/>
                  </a:cxn>
                  <a:cxn ang="f657">
                    <a:pos x="f718" y="f719"/>
                  </a:cxn>
                  <a:cxn ang="f657">
                    <a:pos x="f720" y="f721"/>
                  </a:cxn>
                  <a:cxn ang="f657">
                    <a:pos x="f722" y="f723"/>
                  </a:cxn>
                  <a:cxn ang="f657">
                    <a:pos x="f724" y="f725"/>
                  </a:cxn>
                  <a:cxn ang="f657">
                    <a:pos x="f658" y="f717"/>
                  </a:cxn>
                  <a:cxn ang="f657">
                    <a:pos x="f726" y="f727"/>
                  </a:cxn>
                  <a:cxn ang="f657">
                    <a:pos x="f728" y="f729"/>
                  </a:cxn>
                  <a:cxn ang="f657">
                    <a:pos x="f730" y="f731"/>
                  </a:cxn>
                  <a:cxn ang="f657">
                    <a:pos x="f732" y="f733"/>
                  </a:cxn>
                  <a:cxn ang="f657">
                    <a:pos x="f734" y="f735"/>
                  </a:cxn>
                  <a:cxn ang="f657">
                    <a:pos x="f736" y="f737"/>
                  </a:cxn>
                  <a:cxn ang="f657">
                    <a:pos x="f738" y="f739"/>
                  </a:cxn>
                  <a:cxn ang="f657">
                    <a:pos x="f740" y="f741"/>
                  </a:cxn>
                  <a:cxn ang="f657">
                    <a:pos x="f742" y="f743"/>
                  </a:cxn>
                  <a:cxn ang="f657">
                    <a:pos x="f742" y="f744"/>
                  </a:cxn>
                  <a:cxn ang="f657">
                    <a:pos x="f745" y="f746"/>
                  </a:cxn>
                  <a:cxn ang="f657">
                    <a:pos x="f747" y="f748"/>
                  </a:cxn>
                  <a:cxn ang="f657">
                    <a:pos x="f749" y="f750"/>
                  </a:cxn>
                  <a:cxn ang="f657">
                    <a:pos x="f751" y="f752"/>
                  </a:cxn>
                  <a:cxn ang="f657">
                    <a:pos x="f753" y="f754"/>
                  </a:cxn>
                  <a:cxn ang="f657">
                    <a:pos x="f755" y="f756"/>
                  </a:cxn>
                  <a:cxn ang="f657">
                    <a:pos x="f757" y="f758"/>
                  </a:cxn>
                  <a:cxn ang="f657">
                    <a:pos x="f759" y="f760"/>
                  </a:cxn>
                  <a:cxn ang="f657">
                    <a:pos x="f761" y="f762"/>
                  </a:cxn>
                  <a:cxn ang="f657">
                    <a:pos x="f763" y="f764"/>
                  </a:cxn>
                  <a:cxn ang="f657">
                    <a:pos x="f765" y="f766"/>
                  </a:cxn>
                  <a:cxn ang="f657">
                    <a:pos x="f767" y="f768"/>
                  </a:cxn>
                  <a:cxn ang="f657">
                    <a:pos x="f769" y="f770"/>
                  </a:cxn>
                  <a:cxn ang="f657">
                    <a:pos x="f771" y="f772"/>
                  </a:cxn>
                  <a:cxn ang="f657">
                    <a:pos x="f773" y="f774"/>
                  </a:cxn>
                  <a:cxn ang="f657">
                    <a:pos x="f775" y="f748"/>
                  </a:cxn>
                  <a:cxn ang="f657">
                    <a:pos x="f776" y="f661"/>
                  </a:cxn>
                </a:cxnLst>
                <a:rect l="f658" t="f661" r="f659" b="f660"/>
                <a:pathLst>
                  <a:path w="1189" h="521">
                    <a:moveTo>
                      <a:pt x="f9" y="f10"/>
                    </a:move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0" y="f37"/>
                    </a:lnTo>
                    <a:lnTo>
                      <a:pt x="f32" y="f38"/>
                    </a:lnTo>
                    <a:lnTo>
                      <a:pt x="f34" y="f39"/>
                    </a:lnTo>
                    <a:lnTo>
                      <a:pt x="f40" y="f41"/>
                    </a:lnTo>
                    <a:lnTo>
                      <a:pt x="f42" y="f42"/>
                    </a:lnTo>
                    <a:lnTo>
                      <a:pt x="f17" y="f43"/>
                    </a:lnTo>
                    <a:lnTo>
                      <a:pt x="f44" y="f2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9" y="f49"/>
                    </a:lnTo>
                    <a:lnTo>
                      <a:pt x="f50" y="f51"/>
                    </a:lnTo>
                    <a:lnTo>
                      <a:pt x="f52" y="f53"/>
                    </a:lnTo>
                    <a:lnTo>
                      <a:pt x="f54" y="f44"/>
                    </a:lnTo>
                    <a:lnTo>
                      <a:pt x="f55" y="f17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2" y="f31"/>
                    </a:lnTo>
                    <a:lnTo>
                      <a:pt x="f60" y="f64"/>
                    </a:lnTo>
                    <a:lnTo>
                      <a:pt x="f58" y="f65"/>
                    </a:lnTo>
                    <a:lnTo>
                      <a:pt x="f56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9" y="f10"/>
                    </a:lnTo>
                    <a:close/>
                    <a:moveTo>
                      <a:pt x="f79" y="f6"/>
                    </a:moveTo>
                    <a:lnTo>
                      <a:pt x="f80" y="f6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9" y="f90"/>
                    </a:lnTo>
                    <a:lnTo>
                      <a:pt x="f91" y="f92"/>
                    </a:lnTo>
                    <a:lnTo>
                      <a:pt x="f93" y="f94"/>
                    </a:lnTo>
                    <a:lnTo>
                      <a:pt x="f95" y="f96"/>
                    </a:lnTo>
                    <a:lnTo>
                      <a:pt x="f89" y="f97"/>
                    </a:lnTo>
                    <a:lnTo>
                      <a:pt x="f98" y="f97"/>
                    </a:lnTo>
                    <a:lnTo>
                      <a:pt x="f99" y="f96"/>
                    </a:lnTo>
                    <a:lnTo>
                      <a:pt x="f100" y="f101"/>
                    </a:lnTo>
                    <a:lnTo>
                      <a:pt x="f102" y="f103"/>
                    </a:lnTo>
                    <a:lnTo>
                      <a:pt x="f104" y="f105"/>
                    </a:lnTo>
                    <a:lnTo>
                      <a:pt x="f104" y="f106"/>
                    </a:lnTo>
                    <a:lnTo>
                      <a:pt x="f107" y="f108"/>
                    </a:lnTo>
                    <a:lnTo>
                      <a:pt x="f102" y="f109"/>
                    </a:lnTo>
                    <a:lnTo>
                      <a:pt x="f107" y="f110"/>
                    </a:lnTo>
                    <a:lnTo>
                      <a:pt x="f111" y="f112"/>
                    </a:lnTo>
                    <a:lnTo>
                      <a:pt x="f113" y="f114"/>
                    </a:lnTo>
                    <a:lnTo>
                      <a:pt x="f115" y="f114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20" y="f121"/>
                    </a:lnTo>
                    <a:lnTo>
                      <a:pt x="f120" y="f122"/>
                    </a:lnTo>
                    <a:lnTo>
                      <a:pt x="f79" y="f123"/>
                    </a:lnTo>
                    <a:lnTo>
                      <a:pt x="f120" y="f124"/>
                    </a:lnTo>
                    <a:lnTo>
                      <a:pt x="f125" y="f126"/>
                    </a:lnTo>
                    <a:lnTo>
                      <a:pt x="f127" y="f128"/>
                    </a:lnTo>
                    <a:lnTo>
                      <a:pt x="f129" y="f130"/>
                    </a:ln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1" y="f135"/>
                    </a:lnTo>
                    <a:lnTo>
                      <a:pt x="f136" y="f137"/>
                    </a:lnTo>
                    <a:lnTo>
                      <a:pt x="f138" y="f139"/>
                    </a:lnTo>
                    <a:lnTo>
                      <a:pt x="f140" y="f141"/>
                    </a:lnTo>
                    <a:lnTo>
                      <a:pt x="f80" y="f12"/>
                    </a:lnTo>
                    <a:lnTo>
                      <a:pt x="f113" y="f142"/>
                    </a:lnTo>
                    <a:lnTo>
                      <a:pt x="f143" y="f10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37"/>
                    </a:lnTo>
                    <a:lnTo>
                      <a:pt x="f149" y="f3"/>
                    </a:lnTo>
                    <a:lnTo>
                      <a:pt x="f150" y="f139"/>
                    </a:lnTo>
                    <a:lnTo>
                      <a:pt x="f151" y="f141"/>
                    </a:lnTo>
                    <a:lnTo>
                      <a:pt x="f152" y="f142"/>
                    </a:lnTo>
                    <a:lnTo>
                      <a:pt x="f91" y="f153"/>
                    </a:lnTo>
                    <a:lnTo>
                      <a:pt x="f154" y="f153"/>
                    </a:lnTo>
                    <a:lnTo>
                      <a:pt x="f155" y="f156"/>
                    </a:lnTo>
                    <a:lnTo>
                      <a:pt x="f157" y="f158"/>
                    </a:lnTo>
                    <a:lnTo>
                      <a:pt x="f7" y="f18"/>
                    </a:lnTo>
                    <a:lnTo>
                      <a:pt x="f7" y="f72"/>
                    </a:lnTo>
                    <a:lnTo>
                      <a:pt x="f159" y="f160"/>
                    </a:lnTo>
                    <a:lnTo>
                      <a:pt x="f161" y="f162"/>
                    </a:lnTo>
                    <a:lnTo>
                      <a:pt x="f155" y="f163"/>
                    </a:lnTo>
                    <a:lnTo>
                      <a:pt x="f164" y="f165"/>
                    </a:lnTo>
                    <a:lnTo>
                      <a:pt x="f166" y="f167"/>
                    </a:lnTo>
                    <a:lnTo>
                      <a:pt x="f168" y="f169"/>
                    </a:lnTo>
                    <a:lnTo>
                      <a:pt x="f170" y="f169"/>
                    </a:lnTo>
                    <a:lnTo>
                      <a:pt x="f171" y="f167"/>
                    </a:lnTo>
                    <a:lnTo>
                      <a:pt x="f172" y="f173"/>
                    </a:lnTo>
                    <a:lnTo>
                      <a:pt x="f174" y="f175"/>
                    </a:lnTo>
                    <a:lnTo>
                      <a:pt x="f176" y="f177"/>
                    </a:lnTo>
                    <a:lnTo>
                      <a:pt x="f95" y="f30"/>
                    </a:lnTo>
                    <a:lnTo>
                      <a:pt x="f152" y="f27"/>
                    </a:lnTo>
                    <a:lnTo>
                      <a:pt x="f89" y="f178"/>
                    </a:lnTo>
                    <a:lnTo>
                      <a:pt x="f150" y="f23"/>
                    </a:lnTo>
                    <a:lnTo>
                      <a:pt x="f179" y="f180"/>
                    </a:lnTo>
                    <a:lnTo>
                      <a:pt x="f181" y="f21"/>
                    </a:lnTo>
                    <a:lnTo>
                      <a:pt x="f93" y="f182"/>
                    </a:lnTo>
                    <a:lnTo>
                      <a:pt x="f176" y="f183"/>
                    </a:lnTo>
                    <a:lnTo>
                      <a:pt x="f91" y="f184"/>
                    </a:lnTo>
                    <a:lnTo>
                      <a:pt x="f89" y="f185"/>
                    </a:lnTo>
                    <a:lnTo>
                      <a:pt x="f148" y="f186"/>
                    </a:lnTo>
                    <a:lnTo>
                      <a:pt x="f187" y="f188"/>
                    </a:lnTo>
                    <a:lnTo>
                      <a:pt x="f100" y="f48"/>
                    </a:lnTo>
                    <a:lnTo>
                      <a:pt x="f107" y="f189"/>
                    </a:lnTo>
                    <a:lnTo>
                      <a:pt x="f104" y="f190"/>
                    </a:lnTo>
                    <a:lnTo>
                      <a:pt x="f104" y="f191"/>
                    </a:lnTo>
                    <a:lnTo>
                      <a:pt x="f192" y="f193"/>
                    </a:lnTo>
                    <a:lnTo>
                      <a:pt x="f194" y="f75"/>
                    </a:lnTo>
                    <a:lnTo>
                      <a:pt x="f107" y="f195"/>
                    </a:lnTo>
                    <a:lnTo>
                      <a:pt x="f196" y="f197"/>
                    </a:lnTo>
                    <a:lnTo>
                      <a:pt x="f196" y="f198"/>
                    </a:lnTo>
                    <a:lnTo>
                      <a:pt x="f102" y="f69"/>
                    </a:lnTo>
                    <a:lnTo>
                      <a:pt x="f143" y="f199"/>
                    </a:lnTo>
                    <a:lnTo>
                      <a:pt x="f111" y="f200"/>
                    </a:lnTo>
                    <a:lnTo>
                      <a:pt x="f201" y="f202"/>
                    </a:lnTo>
                    <a:lnTo>
                      <a:pt x="f203" y="f204"/>
                    </a:lnTo>
                    <a:lnTo>
                      <a:pt x="f205" y="f206"/>
                    </a:lnTo>
                    <a:lnTo>
                      <a:pt x="f207" y="f208"/>
                    </a:lnTo>
                    <a:lnTo>
                      <a:pt x="f79" y="f209"/>
                    </a:lnTo>
                    <a:lnTo>
                      <a:pt x="f125" y="f210"/>
                    </a:lnTo>
                    <a:lnTo>
                      <a:pt x="f211" y="f212"/>
                    </a:lnTo>
                    <a:lnTo>
                      <a:pt x="f213" y="f214"/>
                    </a:lnTo>
                    <a:lnTo>
                      <a:pt x="f215" y="f216"/>
                    </a:lnTo>
                    <a:lnTo>
                      <a:pt x="f131" y="f71"/>
                    </a:lnTo>
                    <a:lnTo>
                      <a:pt x="f217" y="f218"/>
                    </a:lnTo>
                    <a:lnTo>
                      <a:pt x="f219" y="f75"/>
                    </a:lnTo>
                    <a:lnTo>
                      <a:pt x="f220" y="f221"/>
                    </a:lnTo>
                    <a:lnTo>
                      <a:pt x="f222" y="f50"/>
                    </a:lnTo>
                    <a:lnTo>
                      <a:pt x="f223" y="f224"/>
                    </a:lnTo>
                    <a:lnTo>
                      <a:pt x="f225" y="f226"/>
                    </a:lnTo>
                    <a:lnTo>
                      <a:pt x="f227" y="f228"/>
                    </a:lnTo>
                    <a:lnTo>
                      <a:pt x="f229" y="f228"/>
                    </a:lnTo>
                    <a:lnTo>
                      <a:pt x="f230" y="f231"/>
                    </a:lnTo>
                    <a:lnTo>
                      <a:pt x="f232" y="f233"/>
                    </a:lnTo>
                    <a:lnTo>
                      <a:pt x="f234" y="f235"/>
                    </a:lnTo>
                    <a:lnTo>
                      <a:pt x="f236" y="f50"/>
                    </a:lnTo>
                    <a:lnTo>
                      <a:pt x="f237" y="f50"/>
                    </a:lnTo>
                    <a:lnTo>
                      <a:pt x="f238" y="f239"/>
                    </a:lnTo>
                    <a:lnTo>
                      <a:pt x="f240" y="f233"/>
                    </a:lnTo>
                    <a:lnTo>
                      <a:pt x="f241" y="f242"/>
                    </a:lnTo>
                    <a:lnTo>
                      <a:pt x="f243" y="f226"/>
                    </a:lnTo>
                    <a:lnTo>
                      <a:pt x="f244" y="f245"/>
                    </a:lnTo>
                    <a:lnTo>
                      <a:pt x="f246" y="f247"/>
                    </a:lnTo>
                    <a:lnTo>
                      <a:pt x="f248" y="f249"/>
                    </a:lnTo>
                    <a:lnTo>
                      <a:pt x="f250" y="f251"/>
                    </a:lnTo>
                    <a:lnTo>
                      <a:pt x="f252" y="f188"/>
                    </a:lnTo>
                    <a:lnTo>
                      <a:pt x="f253" y="f46"/>
                    </a:lnTo>
                    <a:lnTo>
                      <a:pt x="f254" y="f185"/>
                    </a:lnTo>
                    <a:lnTo>
                      <a:pt x="f255" y="f256"/>
                    </a:lnTo>
                    <a:lnTo>
                      <a:pt x="f257" y="f188"/>
                    </a:lnTo>
                    <a:lnTo>
                      <a:pt x="f258" y="f53"/>
                    </a:lnTo>
                    <a:lnTo>
                      <a:pt x="f259" y="f260"/>
                    </a:lnTo>
                    <a:lnTo>
                      <a:pt x="f261" y="f262"/>
                    </a:lnTo>
                    <a:lnTo>
                      <a:pt x="f263" y="f226"/>
                    </a:lnTo>
                    <a:lnTo>
                      <a:pt x="f264" y="f265"/>
                    </a:lnTo>
                    <a:lnTo>
                      <a:pt x="f266" y="f239"/>
                    </a:lnTo>
                    <a:lnTo>
                      <a:pt x="f267" y="f268"/>
                    </a:lnTo>
                    <a:lnTo>
                      <a:pt x="f269" y="f270"/>
                    </a:lnTo>
                    <a:lnTo>
                      <a:pt x="f271" y="f272"/>
                    </a:lnTo>
                    <a:lnTo>
                      <a:pt x="f273" y="f197"/>
                    </a:lnTo>
                    <a:lnTo>
                      <a:pt x="f274" y="f275"/>
                    </a:lnTo>
                    <a:lnTo>
                      <a:pt x="f276" y="f71"/>
                    </a:lnTo>
                    <a:lnTo>
                      <a:pt x="f277" y="f278"/>
                    </a:lnTo>
                    <a:lnTo>
                      <a:pt x="f279" y="f278"/>
                    </a:lnTo>
                    <a:lnTo>
                      <a:pt x="f280" y="f198"/>
                    </a:lnTo>
                    <a:lnTo>
                      <a:pt x="f281" y="f198"/>
                    </a:lnTo>
                    <a:lnTo>
                      <a:pt x="f67" y="f282"/>
                    </a:lnTo>
                    <a:lnTo>
                      <a:pt x="f198" y="f283"/>
                    </a:lnTo>
                    <a:lnTo>
                      <a:pt x="f284" y="f285"/>
                    </a:lnTo>
                    <a:lnTo>
                      <a:pt x="f286" y="f287"/>
                    </a:lnTo>
                    <a:lnTo>
                      <a:pt x="f52" y="f287"/>
                    </a:lnTo>
                    <a:lnTo>
                      <a:pt x="f288" y="f285"/>
                    </a:lnTo>
                    <a:lnTo>
                      <a:pt x="f289" y="f290"/>
                    </a:lnTo>
                    <a:lnTo>
                      <a:pt x="f291" y="f278"/>
                    </a:lnTo>
                    <a:lnTo>
                      <a:pt x="f50" y="f71"/>
                    </a:lnTo>
                    <a:lnTo>
                      <a:pt x="f224" y="f278"/>
                    </a:lnTo>
                    <a:lnTo>
                      <a:pt x="f292" y="f293"/>
                    </a:lnTo>
                    <a:lnTo>
                      <a:pt x="f47" y="f67"/>
                    </a:lnTo>
                    <a:lnTo>
                      <a:pt x="f294" y="f295"/>
                    </a:lnTo>
                    <a:lnTo>
                      <a:pt x="f51" y="f206"/>
                    </a:lnTo>
                    <a:lnTo>
                      <a:pt x="f44" y="f296"/>
                    </a:lnTo>
                    <a:lnTo>
                      <a:pt x="f297" y="f298"/>
                    </a:lnTo>
                    <a:lnTo>
                      <a:pt x="f299" y="f300"/>
                    </a:lnTo>
                    <a:lnTo>
                      <a:pt x="f23" y="f298"/>
                    </a:lnTo>
                    <a:lnTo>
                      <a:pt x="f301" y="f302"/>
                    </a:lnTo>
                    <a:lnTo>
                      <a:pt x="f303" y="f281"/>
                    </a:lnTo>
                    <a:lnTo>
                      <a:pt x="f35" y="f214"/>
                    </a:lnTo>
                    <a:lnTo>
                      <a:pt x="f26" y="f304"/>
                    </a:lnTo>
                    <a:lnTo>
                      <a:pt x="f165" y="f293"/>
                    </a:lnTo>
                    <a:lnTo>
                      <a:pt x="f305" y="f290"/>
                    </a:lnTo>
                    <a:lnTo>
                      <a:pt x="f306" y="f283"/>
                    </a:lnTo>
                    <a:lnTo>
                      <a:pt x="f307" y="f308"/>
                    </a:lnTo>
                    <a:lnTo>
                      <a:pt x="f309" y="f310"/>
                    </a:lnTo>
                    <a:lnTo>
                      <a:pt x="f311" y="f312"/>
                    </a:lnTo>
                    <a:lnTo>
                      <a:pt x="f313" y="f58"/>
                    </a:lnTo>
                    <a:lnTo>
                      <a:pt x="f314" y="f281"/>
                    </a:lnTo>
                    <a:lnTo>
                      <a:pt x="f315" y="f208"/>
                    </a:lnTo>
                    <a:lnTo>
                      <a:pt x="f316" y="f302"/>
                    </a:lnTo>
                    <a:lnTo>
                      <a:pt x="f317" y="f318"/>
                    </a:lnTo>
                    <a:lnTo>
                      <a:pt x="f319" y="f320"/>
                    </a:lnTo>
                    <a:lnTo>
                      <a:pt x="f321" y="f322"/>
                    </a:lnTo>
                    <a:lnTo>
                      <a:pt x="f323" y="f324"/>
                    </a:lnTo>
                    <a:lnTo>
                      <a:pt x="f325" y="f300"/>
                    </a:lnTo>
                    <a:lnTo>
                      <a:pt x="f117" y="f326"/>
                    </a:lnTo>
                    <a:lnTo>
                      <a:pt x="f327" y="f8"/>
                    </a:lnTo>
                    <a:lnTo>
                      <a:pt x="f328" y="f329"/>
                    </a:lnTo>
                    <a:lnTo>
                      <a:pt x="f103" y="f330"/>
                    </a:lnTo>
                    <a:lnTo>
                      <a:pt x="f331" y="f302"/>
                    </a:lnTo>
                    <a:lnTo>
                      <a:pt x="f332" y="f62"/>
                    </a:lnTo>
                    <a:lnTo>
                      <a:pt x="f86" y="f204"/>
                    </a:lnTo>
                    <a:lnTo>
                      <a:pt x="f82" y="f333"/>
                    </a:lnTo>
                    <a:lnTo>
                      <a:pt x="f6" y="f334"/>
                    </a:lnTo>
                    <a:lnTo>
                      <a:pt x="f6" y="f67"/>
                    </a:lnTo>
                    <a:lnTo>
                      <a:pt x="f82" y="f290"/>
                    </a:lnTo>
                    <a:lnTo>
                      <a:pt x="f82" y="f272"/>
                    </a:lnTo>
                    <a:lnTo>
                      <a:pt x="f335" y="f284"/>
                    </a:lnTo>
                    <a:lnTo>
                      <a:pt x="f331" y="f275"/>
                    </a:lnTo>
                    <a:lnTo>
                      <a:pt x="f94" y="f71"/>
                    </a:lnTo>
                    <a:lnTo>
                      <a:pt x="f105" y="f275"/>
                    </a:lnTo>
                    <a:lnTo>
                      <a:pt x="f106" y="f336"/>
                    </a:lnTo>
                    <a:lnTo>
                      <a:pt x="f328" y="f218"/>
                    </a:lnTo>
                    <a:lnTo>
                      <a:pt x="f337" y="f338"/>
                    </a:lnTo>
                    <a:lnTo>
                      <a:pt x="f105" y="f289"/>
                    </a:lnTo>
                    <a:lnTo>
                      <a:pt x="f339" y="f340"/>
                    </a:lnTo>
                    <a:lnTo>
                      <a:pt x="f339" y="f235"/>
                    </a:lnTo>
                    <a:lnTo>
                      <a:pt x="f97" y="f341"/>
                    </a:lnTo>
                    <a:lnTo>
                      <a:pt x="f342" y="f343"/>
                    </a:lnTo>
                    <a:lnTo>
                      <a:pt x="f344" y="f345"/>
                    </a:lnTo>
                    <a:lnTo>
                      <a:pt x="f346" y="f260"/>
                    </a:lnTo>
                    <a:lnTo>
                      <a:pt x="f347" y="f348"/>
                    </a:lnTo>
                    <a:lnTo>
                      <a:pt x="f349" y="f350"/>
                    </a:lnTo>
                    <a:lnTo>
                      <a:pt x="f351" y="f247"/>
                    </a:lnTo>
                    <a:lnTo>
                      <a:pt x="f352" y="f353"/>
                    </a:lnTo>
                    <a:lnTo>
                      <a:pt x="f119" y="f47"/>
                    </a:lnTo>
                    <a:lnTo>
                      <a:pt x="f354" y="f355"/>
                    </a:lnTo>
                    <a:lnTo>
                      <a:pt x="f356" y="f260"/>
                    </a:lnTo>
                    <a:lnTo>
                      <a:pt x="f357" y="f348"/>
                    </a:lnTo>
                    <a:lnTo>
                      <a:pt x="f358" y="f260"/>
                    </a:lnTo>
                    <a:lnTo>
                      <a:pt x="f359" y="f13"/>
                    </a:lnTo>
                    <a:lnTo>
                      <a:pt x="f319" y="f190"/>
                    </a:lnTo>
                    <a:lnTo>
                      <a:pt x="f360" y="f49"/>
                    </a:lnTo>
                    <a:lnTo>
                      <a:pt x="f128" y="f361"/>
                    </a:lnTo>
                    <a:lnTo>
                      <a:pt x="f130" y="f188"/>
                    </a:lnTo>
                    <a:lnTo>
                      <a:pt x="f362" y="f363"/>
                    </a:lnTo>
                    <a:lnTo>
                      <a:pt x="f364" y="f19"/>
                    </a:lnTo>
                    <a:lnTo>
                      <a:pt x="f365" y="f366"/>
                    </a:lnTo>
                    <a:lnTo>
                      <a:pt x="f367" y="f178"/>
                    </a:lnTo>
                    <a:lnTo>
                      <a:pt x="f368" y="f369"/>
                    </a:lnTo>
                    <a:lnTo>
                      <a:pt x="f370" y="f371"/>
                    </a:lnTo>
                    <a:lnTo>
                      <a:pt x="f128" y="f372"/>
                    </a:lnTo>
                    <a:lnTo>
                      <a:pt x="f373" y="f374"/>
                    </a:lnTo>
                    <a:lnTo>
                      <a:pt x="f375" y="f30"/>
                    </a:lnTo>
                    <a:lnTo>
                      <a:pt x="f376" y="f377"/>
                    </a:lnTo>
                    <a:lnTo>
                      <a:pt x="f316" y="f177"/>
                    </a:lnTo>
                    <a:lnTo>
                      <a:pt x="f365" y="f378"/>
                    </a:lnTo>
                    <a:lnTo>
                      <a:pt x="f379" y="f167"/>
                    </a:lnTo>
                    <a:lnTo>
                      <a:pt x="f313" y="f380"/>
                    </a:lnTo>
                    <a:lnTo>
                      <a:pt x="f381" y="f382"/>
                    </a:lnTo>
                    <a:lnTo>
                      <a:pt x="f381" y="f383"/>
                    </a:lnTo>
                    <a:lnTo>
                      <a:pt x="f384" y="f385"/>
                    </a:lnTo>
                    <a:lnTo>
                      <a:pt x="f384" y="f386"/>
                    </a:lnTo>
                    <a:lnTo>
                      <a:pt x="f387" y="f388"/>
                    </a:lnTo>
                    <a:lnTo>
                      <a:pt x="f137" y="f389"/>
                    </a:lnTo>
                    <a:lnTo>
                      <a:pt x="f3" y="f390"/>
                    </a:lnTo>
                    <a:lnTo>
                      <a:pt x="f391" y="f10"/>
                    </a:lnTo>
                    <a:lnTo>
                      <a:pt x="f392" y="f391"/>
                    </a:lnTo>
                    <a:lnTo>
                      <a:pt x="f393" y="f384"/>
                    </a:lnTo>
                    <a:lnTo>
                      <a:pt x="f142" y="f394"/>
                    </a:lnTo>
                    <a:lnTo>
                      <a:pt x="f390" y="f313"/>
                    </a:lnTo>
                    <a:lnTo>
                      <a:pt x="f395" y="f381"/>
                    </a:lnTo>
                    <a:lnTo>
                      <a:pt x="f306" y="f3"/>
                    </a:lnTo>
                    <a:lnTo>
                      <a:pt x="f396" y="f3"/>
                    </a:lnTo>
                    <a:lnTo>
                      <a:pt x="f162" y="f384"/>
                    </a:lnTo>
                    <a:lnTo>
                      <a:pt x="f382" y="f314"/>
                    </a:lnTo>
                    <a:lnTo>
                      <a:pt x="f397" y="f315"/>
                    </a:lnTo>
                    <a:lnTo>
                      <a:pt x="f398" y="f316"/>
                    </a:lnTo>
                    <a:lnTo>
                      <a:pt x="f22" y="f399"/>
                    </a:lnTo>
                    <a:lnTo>
                      <a:pt x="f383" y="f400"/>
                    </a:lnTo>
                    <a:lnTo>
                      <a:pt x="f401" y="f402"/>
                    </a:lnTo>
                    <a:lnTo>
                      <a:pt x="f401" y="f403"/>
                    </a:lnTo>
                    <a:lnTo>
                      <a:pt x="f383" y="f357"/>
                    </a:lnTo>
                    <a:lnTo>
                      <a:pt x="f162" y="f404"/>
                    </a:lnTo>
                    <a:lnTo>
                      <a:pt x="f398" y="f405"/>
                    </a:lnTo>
                    <a:lnTo>
                      <a:pt x="f406" y="f405"/>
                    </a:lnTo>
                    <a:lnTo>
                      <a:pt x="f173" y="f356"/>
                    </a:lnTo>
                    <a:lnTo>
                      <a:pt x="f407" y="f356"/>
                    </a:lnTo>
                    <a:lnTo>
                      <a:pt x="f28" y="f408"/>
                    </a:lnTo>
                    <a:lnTo>
                      <a:pt x="f35" y="f121"/>
                    </a:lnTo>
                    <a:lnTo>
                      <a:pt x="f409" y="f410"/>
                    </a:lnTo>
                    <a:lnTo>
                      <a:pt x="f411" y="f117"/>
                    </a:lnTo>
                    <a:lnTo>
                      <a:pt x="f27" y="f412"/>
                    </a:lnTo>
                    <a:lnTo>
                      <a:pt x="f413" y="f414"/>
                    </a:lnTo>
                    <a:lnTo>
                      <a:pt x="f415" y="f416"/>
                    </a:lnTo>
                    <a:lnTo>
                      <a:pt x="f411" y="f328"/>
                    </a:lnTo>
                    <a:lnTo>
                      <a:pt x="f63" y="f417"/>
                    </a:lnTo>
                    <a:lnTo>
                      <a:pt x="f369" y="f418"/>
                    </a:lnTo>
                    <a:lnTo>
                      <a:pt x="f419" y="f101"/>
                    </a:lnTo>
                    <a:lnTo>
                      <a:pt x="f420" y="f421"/>
                    </a:lnTo>
                    <a:lnTo>
                      <a:pt x="f422" y="f423"/>
                    </a:lnTo>
                    <a:lnTo>
                      <a:pt x="f57" y="f424"/>
                    </a:lnTo>
                    <a:lnTo>
                      <a:pt x="f425" y="f88"/>
                    </a:lnTo>
                    <a:lnTo>
                      <a:pt x="f46" y="f424"/>
                    </a:lnTo>
                    <a:lnTo>
                      <a:pt x="f251" y="f423"/>
                    </a:lnTo>
                    <a:lnTo>
                      <a:pt x="f426" y="f94"/>
                    </a:lnTo>
                    <a:lnTo>
                      <a:pt x="f427" y="f339"/>
                    </a:lnTo>
                    <a:lnTo>
                      <a:pt x="f428" y="f342"/>
                    </a:lnTo>
                    <a:lnTo>
                      <a:pt x="f235" y="f418"/>
                    </a:lnTo>
                    <a:lnTo>
                      <a:pt x="f289" y="f106"/>
                    </a:lnTo>
                    <a:lnTo>
                      <a:pt x="f272" y="f347"/>
                    </a:lnTo>
                    <a:lnTo>
                      <a:pt x="f71" y="f429"/>
                    </a:lnTo>
                    <a:lnTo>
                      <a:pt x="f430" y="f412"/>
                    </a:lnTo>
                    <a:lnTo>
                      <a:pt x="f431" y="f114"/>
                    </a:lnTo>
                    <a:lnTo>
                      <a:pt x="f206" y="f412"/>
                    </a:lnTo>
                    <a:lnTo>
                      <a:pt x="f432" y="f110"/>
                    </a:lnTo>
                    <a:lnTo>
                      <a:pt x="f318" y="f433"/>
                    </a:lnTo>
                    <a:lnTo>
                      <a:pt x="f434" y="f433"/>
                    </a:lnTo>
                    <a:lnTo>
                      <a:pt x="f300" y="f352"/>
                    </a:lnTo>
                    <a:lnTo>
                      <a:pt x="f435" y="f112"/>
                    </a:lnTo>
                    <a:lnTo>
                      <a:pt x="f436" y="f117"/>
                    </a:lnTo>
                    <a:lnTo>
                      <a:pt x="f437" y="f117"/>
                    </a:lnTo>
                    <a:lnTo>
                      <a:pt x="f438" y="f112"/>
                    </a:lnTo>
                    <a:lnTo>
                      <a:pt x="f439" y="f352"/>
                    </a:lnTo>
                    <a:lnTo>
                      <a:pt x="f440" y="f351"/>
                    </a:lnTo>
                    <a:lnTo>
                      <a:pt x="f441" y="f429"/>
                    </a:lnTo>
                    <a:lnTo>
                      <a:pt x="f442" y="f416"/>
                    </a:lnTo>
                    <a:lnTo>
                      <a:pt x="f443" y="f109"/>
                    </a:lnTo>
                    <a:lnTo>
                      <a:pt x="f444" y="f433"/>
                    </a:lnTo>
                    <a:lnTo>
                      <a:pt x="f445" y="f446"/>
                    </a:lnTo>
                    <a:lnTo>
                      <a:pt x="f447" y="f119"/>
                    </a:lnTo>
                    <a:lnTo>
                      <a:pt x="f448" y="f117"/>
                    </a:lnTo>
                    <a:lnTo>
                      <a:pt x="f449" y="f450"/>
                    </a:lnTo>
                    <a:lnTo>
                      <a:pt x="f451" y="f433"/>
                    </a:lnTo>
                    <a:lnTo>
                      <a:pt x="f452" y="f453"/>
                    </a:lnTo>
                    <a:lnTo>
                      <a:pt x="f454" y="f327"/>
                    </a:lnTo>
                    <a:lnTo>
                      <a:pt x="f455" y="f351"/>
                    </a:lnTo>
                    <a:lnTo>
                      <a:pt x="f456" y="f352"/>
                    </a:lnTo>
                    <a:lnTo>
                      <a:pt x="f457" y="f114"/>
                    </a:lnTo>
                    <a:lnTo>
                      <a:pt x="f458" y="f119"/>
                    </a:lnTo>
                    <a:lnTo>
                      <a:pt x="f459" y="f410"/>
                    </a:lnTo>
                    <a:lnTo>
                      <a:pt x="f460" y="f461"/>
                    </a:lnTo>
                    <a:lnTo>
                      <a:pt x="f462" y="f114"/>
                    </a:lnTo>
                    <a:lnTo>
                      <a:pt x="f463" y="f433"/>
                    </a:lnTo>
                    <a:lnTo>
                      <a:pt x="f464" y="f416"/>
                    </a:lnTo>
                    <a:lnTo>
                      <a:pt x="f465" y="f466"/>
                    </a:lnTo>
                    <a:lnTo>
                      <a:pt x="f467" y="f106"/>
                    </a:lnTo>
                    <a:lnTo>
                      <a:pt x="f468" y="f344"/>
                    </a:lnTo>
                    <a:lnTo>
                      <a:pt x="f469" y="f342"/>
                    </a:lnTo>
                    <a:lnTo>
                      <a:pt x="f470" y="f97"/>
                    </a:lnTo>
                    <a:lnTo>
                      <a:pt x="f471" y="f97"/>
                    </a:lnTo>
                    <a:lnTo>
                      <a:pt x="f472" y="f418"/>
                    </a:lnTo>
                    <a:lnTo>
                      <a:pt x="f473" y="f106"/>
                    </a:lnTo>
                    <a:lnTo>
                      <a:pt x="f474" y="f475"/>
                    </a:lnTo>
                    <a:lnTo>
                      <a:pt x="f476" y="f327"/>
                    </a:lnTo>
                    <a:lnTo>
                      <a:pt x="f477" y="f453"/>
                    </a:lnTo>
                    <a:lnTo>
                      <a:pt x="f478" y="f416"/>
                    </a:lnTo>
                    <a:lnTo>
                      <a:pt x="f479" y="f466"/>
                    </a:lnTo>
                    <a:lnTo>
                      <a:pt x="f480" y="f481"/>
                    </a:lnTo>
                    <a:lnTo>
                      <a:pt x="f482" y="f339"/>
                    </a:lnTo>
                    <a:lnTo>
                      <a:pt x="f483" y="f101"/>
                    </a:lnTo>
                    <a:lnTo>
                      <a:pt x="f484" y="f485"/>
                    </a:lnTo>
                    <a:lnTo>
                      <a:pt x="f486" y="f487"/>
                    </a:lnTo>
                    <a:lnTo>
                      <a:pt x="f488" y="f489"/>
                    </a:lnTo>
                    <a:lnTo>
                      <a:pt x="f490" y="f491"/>
                    </a:lnTo>
                    <a:lnTo>
                      <a:pt x="f492" y="f487"/>
                    </a:lnTo>
                    <a:lnTo>
                      <a:pt x="f493" y="f481"/>
                    </a:lnTo>
                    <a:lnTo>
                      <a:pt x="f494" y="f495"/>
                    </a:lnTo>
                    <a:lnTo>
                      <a:pt x="f496" y="f497"/>
                    </a:lnTo>
                    <a:lnTo>
                      <a:pt x="f498" y="f346"/>
                    </a:lnTo>
                    <a:lnTo>
                      <a:pt x="f499" y="f339"/>
                    </a:lnTo>
                    <a:lnTo>
                      <a:pt x="f500" y="f103"/>
                    </a:lnTo>
                    <a:lnTo>
                      <a:pt x="f241" y="f485"/>
                    </a:lnTo>
                    <a:lnTo>
                      <a:pt x="f501" y="f502"/>
                    </a:lnTo>
                    <a:lnTo>
                      <a:pt x="f503" y="f491"/>
                    </a:lnTo>
                    <a:lnTo>
                      <a:pt x="f504" y="f505"/>
                    </a:lnTo>
                    <a:lnTo>
                      <a:pt x="f506" y="f423"/>
                    </a:lnTo>
                    <a:lnTo>
                      <a:pt x="f507" y="f90"/>
                    </a:lnTo>
                    <a:lnTo>
                      <a:pt x="f508" y="f509"/>
                    </a:lnTo>
                    <a:lnTo>
                      <a:pt x="f510" y="f90"/>
                    </a:lnTo>
                    <a:lnTo>
                      <a:pt x="f511" y="f512"/>
                    </a:lnTo>
                    <a:lnTo>
                      <a:pt x="f513" y="f489"/>
                    </a:lnTo>
                    <a:lnTo>
                      <a:pt x="f514" y="f92"/>
                    </a:lnTo>
                    <a:lnTo>
                      <a:pt x="f515" y="f505"/>
                    </a:lnTo>
                    <a:lnTo>
                      <a:pt x="f225" y="f512"/>
                    </a:lnTo>
                    <a:lnTo>
                      <a:pt x="f516" y="f512"/>
                    </a:lnTo>
                    <a:lnTo>
                      <a:pt x="f517" y="f505"/>
                    </a:lnTo>
                    <a:lnTo>
                      <a:pt x="f517" y="f331"/>
                    </a:lnTo>
                    <a:lnTo>
                      <a:pt x="f518" y="f491"/>
                    </a:lnTo>
                    <a:lnTo>
                      <a:pt x="f518" y="f421"/>
                    </a:lnTo>
                    <a:lnTo>
                      <a:pt x="f223" y="f487"/>
                    </a:lnTo>
                    <a:lnTo>
                      <a:pt x="f223" y="f519"/>
                    </a:lnTo>
                    <a:lnTo>
                      <a:pt x="f520" y="f94"/>
                    </a:lnTo>
                    <a:lnTo>
                      <a:pt x="f521" y="f485"/>
                    </a:lnTo>
                    <a:lnTo>
                      <a:pt x="f522" y="f523"/>
                    </a:lnTo>
                    <a:lnTo>
                      <a:pt x="f524" y="f101"/>
                    </a:lnTo>
                    <a:lnTo>
                      <a:pt x="f138" y="f101"/>
                    </a:lnTo>
                    <a:lnTo>
                      <a:pt x="f525" y="f485"/>
                    </a:lnTo>
                    <a:lnTo>
                      <a:pt x="f79" y="f487"/>
                    </a:lnTo>
                    <a:lnTo>
                      <a:pt x="f118" y="f331"/>
                    </a:lnTo>
                    <a:lnTo>
                      <a:pt x="f79" y="f526"/>
                    </a:lnTo>
                    <a:lnTo>
                      <a:pt x="f120" y="f527"/>
                    </a:lnTo>
                    <a:lnTo>
                      <a:pt x="f120" y="f528"/>
                    </a:lnTo>
                    <a:lnTo>
                      <a:pt x="f7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98" name="Freeform 18">
                <a:extLst>
                  <a:ext uri="{FF2B5EF4-FFF2-40B4-BE49-F238E27FC236}">
                    <a16:creationId xmlns:a16="http://schemas.microsoft.com/office/drawing/2014/main" id="{9A3AEAE9-77ED-4D04-91E1-5B76B6DCB53F}"/>
                  </a:ext>
                </a:extLst>
              </p:cNvPr>
              <p:cNvSpPr/>
              <p:nvPr/>
            </p:nvSpPr>
            <p:spPr>
              <a:xfrm>
                <a:off x="3828071" y="1850581"/>
                <a:ext cx="44778" cy="3730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06"/>
                  <a:gd name="f7" fmla="val 192"/>
                  <a:gd name="f8" fmla="val 124"/>
                  <a:gd name="f9" fmla="val 136"/>
                  <a:gd name="f10" fmla="val 3"/>
                  <a:gd name="f11" fmla="val 147"/>
                  <a:gd name="f12" fmla="val 11"/>
                  <a:gd name="f13" fmla="val 157"/>
                  <a:gd name="f14" fmla="val 21"/>
                  <a:gd name="f15" fmla="val 166"/>
                  <a:gd name="f16" fmla="val 33"/>
                  <a:gd name="f17" fmla="val 175"/>
                  <a:gd name="f18" fmla="val 46"/>
                  <a:gd name="f19" fmla="val 183"/>
                  <a:gd name="f20" fmla="val 57"/>
                  <a:gd name="f21" fmla="val 66"/>
                  <a:gd name="f22" fmla="val 199"/>
                  <a:gd name="f23" fmla="val 74"/>
                  <a:gd name="f24" fmla="val 204"/>
                  <a:gd name="f25" fmla="val 87"/>
                  <a:gd name="f26" fmla="val 101"/>
                  <a:gd name="f27" fmla="val 117"/>
                  <a:gd name="f28" fmla="val 132"/>
                  <a:gd name="f29" fmla="val 145"/>
                  <a:gd name="f30" fmla="val 156"/>
                  <a:gd name="f31" fmla="val 178"/>
                  <a:gd name="f32" fmla="val 171"/>
                  <a:gd name="f33" fmla="val 164"/>
                  <a:gd name="f34" fmla="val 150"/>
                  <a:gd name="f35" fmla="val 190"/>
                  <a:gd name="f36" fmla="val 135"/>
                  <a:gd name="f37" fmla="val 189"/>
                  <a:gd name="f38" fmla="val 111"/>
                  <a:gd name="f39" fmla="val 184"/>
                  <a:gd name="f40" fmla="val 99"/>
                  <a:gd name="f41" fmla="val 176"/>
                  <a:gd name="f42" fmla="val 85"/>
                  <a:gd name="f43" fmla="val 169"/>
                  <a:gd name="f44" fmla="val 73"/>
                  <a:gd name="f45" fmla="val 64"/>
                  <a:gd name="f46" fmla="val 162"/>
                  <a:gd name="f47" fmla="val 54"/>
                  <a:gd name="f48" fmla="val 160"/>
                  <a:gd name="f49" fmla="val 28"/>
                  <a:gd name="f50" fmla="val 154"/>
                  <a:gd name="f51" fmla="val 16"/>
                  <a:gd name="f52" fmla="val 148"/>
                  <a:gd name="f53" fmla="val 7"/>
                  <a:gd name="f54" fmla="val 143"/>
                  <a:gd name="f55" fmla="val 1"/>
                  <a:gd name="f56" fmla="val 126"/>
                  <a:gd name="f57" fmla="val 114"/>
                  <a:gd name="f58" fmla="val 8"/>
                  <a:gd name="f59" fmla="val 105"/>
                  <a:gd name="f60" fmla="val 90"/>
                  <a:gd name="f61" fmla="val 29"/>
                  <a:gd name="f62" fmla="val 82"/>
                  <a:gd name="f63" fmla="val 40"/>
                  <a:gd name="f64" fmla="val 60"/>
                  <a:gd name="f65" fmla="val 49"/>
                  <a:gd name="f66" fmla="val 37"/>
                  <a:gd name="f67" fmla="val 26"/>
                  <a:gd name="f68" fmla="val 15"/>
                  <a:gd name="f69" fmla="val 100"/>
                  <a:gd name="f70" fmla="val 6"/>
                  <a:gd name="f71" fmla="val 113"/>
                  <a:gd name="f72" fmla="+- 0 0 -90"/>
                  <a:gd name="f73" fmla="*/ f3 1 206"/>
                  <a:gd name="f74" fmla="*/ f4 1 192"/>
                  <a:gd name="f75" fmla="+- f7 0 f5"/>
                  <a:gd name="f76" fmla="+- f6 0 f5"/>
                  <a:gd name="f77" fmla="*/ f72 f0 1"/>
                  <a:gd name="f78" fmla="*/ f76 1 206"/>
                  <a:gd name="f79" fmla="*/ f75 1 192"/>
                  <a:gd name="f80" fmla="*/ f77 1 f2"/>
                  <a:gd name="f81" fmla="*/ 124 1 f78"/>
                  <a:gd name="f82" fmla="*/ 0 1 f79"/>
                  <a:gd name="f83" fmla="*/ 136 1 f78"/>
                  <a:gd name="f84" fmla="*/ 3 1 f79"/>
                  <a:gd name="f85" fmla="*/ 147 1 f78"/>
                  <a:gd name="f86" fmla="*/ 11 1 f79"/>
                  <a:gd name="f87" fmla="*/ 157 1 f78"/>
                  <a:gd name="f88" fmla="*/ 21 1 f79"/>
                  <a:gd name="f89" fmla="*/ 166 1 f78"/>
                  <a:gd name="f90" fmla="*/ 33 1 f79"/>
                  <a:gd name="f91" fmla="*/ 175 1 f78"/>
                  <a:gd name="f92" fmla="*/ 46 1 f79"/>
                  <a:gd name="f93" fmla="*/ 183 1 f78"/>
                  <a:gd name="f94" fmla="*/ 57 1 f79"/>
                  <a:gd name="f95" fmla="*/ 192 1 f78"/>
                  <a:gd name="f96" fmla="*/ 66 1 f79"/>
                  <a:gd name="f97" fmla="*/ 199 1 f78"/>
                  <a:gd name="f98" fmla="*/ 74 1 f79"/>
                  <a:gd name="f99" fmla="*/ 204 1 f78"/>
                  <a:gd name="f100" fmla="*/ 87 1 f79"/>
                  <a:gd name="f101" fmla="*/ 206 1 f78"/>
                  <a:gd name="f102" fmla="*/ 101 1 f79"/>
                  <a:gd name="f103" fmla="*/ 117 1 f79"/>
                  <a:gd name="f104" fmla="*/ 132 1 f79"/>
                  <a:gd name="f105" fmla="*/ 145 1 f79"/>
                  <a:gd name="f106" fmla="*/ 156 1 f79"/>
                  <a:gd name="f107" fmla="*/ 178 1 f78"/>
                  <a:gd name="f108" fmla="*/ 171 1 f79"/>
                  <a:gd name="f109" fmla="*/ 164 1 f78"/>
                  <a:gd name="f110" fmla="*/ 183 1 f79"/>
                  <a:gd name="f111" fmla="*/ 150 1 f78"/>
                  <a:gd name="f112" fmla="*/ 190 1 f79"/>
                  <a:gd name="f113" fmla="*/ 135 1 f78"/>
                  <a:gd name="f114" fmla="*/ 192 1 f79"/>
                  <a:gd name="f115" fmla="*/ 189 1 f79"/>
                  <a:gd name="f116" fmla="*/ 111 1 f78"/>
                  <a:gd name="f117" fmla="*/ 184 1 f79"/>
                  <a:gd name="f118" fmla="*/ 99 1 f78"/>
                  <a:gd name="f119" fmla="*/ 176 1 f79"/>
                  <a:gd name="f120" fmla="*/ 85 1 f78"/>
                  <a:gd name="f121" fmla="*/ 169 1 f79"/>
                  <a:gd name="f122" fmla="*/ 73 1 f78"/>
                  <a:gd name="f123" fmla="*/ 164 1 f79"/>
                  <a:gd name="f124" fmla="*/ 64 1 f78"/>
                  <a:gd name="f125" fmla="*/ 162 1 f79"/>
                  <a:gd name="f126" fmla="*/ 54 1 f78"/>
                  <a:gd name="f127" fmla="*/ 160 1 f79"/>
                  <a:gd name="f128" fmla="*/ 28 1 f78"/>
                  <a:gd name="f129" fmla="*/ 154 1 f79"/>
                  <a:gd name="f130" fmla="*/ 16 1 f78"/>
                  <a:gd name="f131" fmla="*/ 148 1 f79"/>
                  <a:gd name="f132" fmla="*/ 7 1 f78"/>
                  <a:gd name="f133" fmla="*/ 143 1 f79"/>
                  <a:gd name="f134" fmla="*/ 1 1 f78"/>
                  <a:gd name="f135" fmla="*/ 135 1 f79"/>
                  <a:gd name="f136" fmla="*/ 0 1 f78"/>
                  <a:gd name="f137" fmla="*/ 126 1 f79"/>
                  <a:gd name="f138" fmla="*/ 3 1 f78"/>
                  <a:gd name="f139" fmla="*/ 114 1 f79"/>
                  <a:gd name="f140" fmla="*/ 8 1 f78"/>
                  <a:gd name="f141" fmla="*/ 105 1 f79"/>
                  <a:gd name="f142" fmla="*/ 21 1 f78"/>
                  <a:gd name="f143" fmla="*/ 90 1 f79"/>
                  <a:gd name="f144" fmla="*/ 29 1 f78"/>
                  <a:gd name="f145" fmla="*/ 82 1 f79"/>
                  <a:gd name="f146" fmla="*/ 40 1 f78"/>
                  <a:gd name="f147" fmla="*/ 60 1 f79"/>
                  <a:gd name="f148" fmla="*/ 49 1 f78"/>
                  <a:gd name="f149" fmla="*/ 49 1 f79"/>
                  <a:gd name="f150" fmla="*/ 60 1 f78"/>
                  <a:gd name="f151" fmla="*/ 37 1 f79"/>
                  <a:gd name="f152" fmla="*/ 26 1 f79"/>
                  <a:gd name="f153" fmla="*/ 87 1 f78"/>
                  <a:gd name="f154" fmla="*/ 15 1 f79"/>
                  <a:gd name="f155" fmla="*/ 100 1 f78"/>
                  <a:gd name="f156" fmla="*/ 6 1 f79"/>
                  <a:gd name="f157" fmla="*/ 113 1 f78"/>
                  <a:gd name="f158" fmla="*/ 1 1 f79"/>
                  <a:gd name="f159" fmla="*/ f6 1 f78"/>
                  <a:gd name="f160" fmla="*/ f7 1 f79"/>
                  <a:gd name="f161" fmla="+- f80 0 f1"/>
                  <a:gd name="f162" fmla="*/ f136 f73 1"/>
                  <a:gd name="f163" fmla="*/ f159 f73 1"/>
                  <a:gd name="f164" fmla="*/ f160 f74 1"/>
                  <a:gd name="f165" fmla="*/ f82 f74 1"/>
                  <a:gd name="f166" fmla="*/ f81 f73 1"/>
                  <a:gd name="f167" fmla="*/ f83 f73 1"/>
                  <a:gd name="f168" fmla="*/ f84 f74 1"/>
                  <a:gd name="f169" fmla="*/ f85 f73 1"/>
                  <a:gd name="f170" fmla="*/ f86 f74 1"/>
                  <a:gd name="f171" fmla="*/ f87 f73 1"/>
                  <a:gd name="f172" fmla="*/ f88 f74 1"/>
                  <a:gd name="f173" fmla="*/ f89 f73 1"/>
                  <a:gd name="f174" fmla="*/ f90 f74 1"/>
                  <a:gd name="f175" fmla="*/ f91 f73 1"/>
                  <a:gd name="f176" fmla="*/ f92 f74 1"/>
                  <a:gd name="f177" fmla="*/ f93 f73 1"/>
                  <a:gd name="f178" fmla="*/ f94 f74 1"/>
                  <a:gd name="f179" fmla="*/ f95 f73 1"/>
                  <a:gd name="f180" fmla="*/ f96 f74 1"/>
                  <a:gd name="f181" fmla="*/ f97 f73 1"/>
                  <a:gd name="f182" fmla="*/ f98 f74 1"/>
                  <a:gd name="f183" fmla="*/ f99 f73 1"/>
                  <a:gd name="f184" fmla="*/ f100 f74 1"/>
                  <a:gd name="f185" fmla="*/ f101 f73 1"/>
                  <a:gd name="f186" fmla="*/ f102 f74 1"/>
                  <a:gd name="f187" fmla="*/ f103 f74 1"/>
                  <a:gd name="f188" fmla="*/ f104 f74 1"/>
                  <a:gd name="f189" fmla="*/ f105 f74 1"/>
                  <a:gd name="f190" fmla="*/ f106 f74 1"/>
                  <a:gd name="f191" fmla="*/ f107 f73 1"/>
                  <a:gd name="f192" fmla="*/ f108 f74 1"/>
                  <a:gd name="f193" fmla="*/ f109 f73 1"/>
                  <a:gd name="f194" fmla="*/ f110 f74 1"/>
                  <a:gd name="f195" fmla="*/ f111 f73 1"/>
                  <a:gd name="f196" fmla="*/ f112 f74 1"/>
                  <a:gd name="f197" fmla="*/ f113 f73 1"/>
                  <a:gd name="f198" fmla="*/ f114 f74 1"/>
                  <a:gd name="f199" fmla="*/ f115 f74 1"/>
                  <a:gd name="f200" fmla="*/ f116 f73 1"/>
                  <a:gd name="f201" fmla="*/ f117 f74 1"/>
                  <a:gd name="f202" fmla="*/ f118 f73 1"/>
                  <a:gd name="f203" fmla="*/ f119 f74 1"/>
                  <a:gd name="f204" fmla="*/ f120 f73 1"/>
                  <a:gd name="f205" fmla="*/ f121 f74 1"/>
                  <a:gd name="f206" fmla="*/ f122 f73 1"/>
                  <a:gd name="f207" fmla="*/ f123 f74 1"/>
                  <a:gd name="f208" fmla="*/ f124 f73 1"/>
                  <a:gd name="f209" fmla="*/ f125 f74 1"/>
                  <a:gd name="f210" fmla="*/ f126 f73 1"/>
                  <a:gd name="f211" fmla="*/ f127 f74 1"/>
                  <a:gd name="f212" fmla="*/ f128 f73 1"/>
                  <a:gd name="f213" fmla="*/ f129 f74 1"/>
                  <a:gd name="f214" fmla="*/ f130 f73 1"/>
                  <a:gd name="f215" fmla="*/ f131 f74 1"/>
                  <a:gd name="f216" fmla="*/ f132 f73 1"/>
                  <a:gd name="f217" fmla="*/ f133 f74 1"/>
                  <a:gd name="f218" fmla="*/ f134 f73 1"/>
                  <a:gd name="f219" fmla="*/ f135 f74 1"/>
                  <a:gd name="f220" fmla="*/ f137 f74 1"/>
                  <a:gd name="f221" fmla="*/ f138 f73 1"/>
                  <a:gd name="f222" fmla="*/ f139 f74 1"/>
                  <a:gd name="f223" fmla="*/ f140 f73 1"/>
                  <a:gd name="f224" fmla="*/ f141 f74 1"/>
                  <a:gd name="f225" fmla="*/ f142 f73 1"/>
                  <a:gd name="f226" fmla="*/ f143 f74 1"/>
                  <a:gd name="f227" fmla="*/ f144 f73 1"/>
                  <a:gd name="f228" fmla="*/ f145 f74 1"/>
                  <a:gd name="f229" fmla="*/ f146 f73 1"/>
                  <a:gd name="f230" fmla="*/ f147 f74 1"/>
                  <a:gd name="f231" fmla="*/ f148 f73 1"/>
                  <a:gd name="f232" fmla="*/ f149 f74 1"/>
                  <a:gd name="f233" fmla="*/ f150 f73 1"/>
                  <a:gd name="f234" fmla="*/ f151 f74 1"/>
                  <a:gd name="f235" fmla="*/ f152 f74 1"/>
                  <a:gd name="f236" fmla="*/ f153 f73 1"/>
                  <a:gd name="f237" fmla="*/ f154 f74 1"/>
                  <a:gd name="f238" fmla="*/ f155 f73 1"/>
                  <a:gd name="f239" fmla="*/ f156 f74 1"/>
                  <a:gd name="f240" fmla="*/ f157 f73 1"/>
                  <a:gd name="f241" fmla="*/ f158 f7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61">
                    <a:pos x="f166" y="f165"/>
                  </a:cxn>
                  <a:cxn ang="f161">
                    <a:pos x="f167" y="f168"/>
                  </a:cxn>
                  <a:cxn ang="f161">
                    <a:pos x="f169" y="f170"/>
                  </a:cxn>
                  <a:cxn ang="f161">
                    <a:pos x="f171" y="f172"/>
                  </a:cxn>
                  <a:cxn ang="f161">
                    <a:pos x="f173" y="f174"/>
                  </a:cxn>
                  <a:cxn ang="f161">
                    <a:pos x="f175" y="f176"/>
                  </a:cxn>
                  <a:cxn ang="f161">
                    <a:pos x="f177" y="f178"/>
                  </a:cxn>
                  <a:cxn ang="f161">
                    <a:pos x="f179" y="f180"/>
                  </a:cxn>
                  <a:cxn ang="f161">
                    <a:pos x="f181" y="f182"/>
                  </a:cxn>
                  <a:cxn ang="f161">
                    <a:pos x="f183" y="f184"/>
                  </a:cxn>
                  <a:cxn ang="f161">
                    <a:pos x="f185" y="f186"/>
                  </a:cxn>
                  <a:cxn ang="f161">
                    <a:pos x="f185" y="f187"/>
                  </a:cxn>
                  <a:cxn ang="f161">
                    <a:pos x="f183" y="f188"/>
                  </a:cxn>
                  <a:cxn ang="f161">
                    <a:pos x="f181" y="f189"/>
                  </a:cxn>
                  <a:cxn ang="f161">
                    <a:pos x="f179" y="f190"/>
                  </a:cxn>
                  <a:cxn ang="f161">
                    <a:pos x="f191" y="f192"/>
                  </a:cxn>
                  <a:cxn ang="f161">
                    <a:pos x="f193" y="f194"/>
                  </a:cxn>
                  <a:cxn ang="f161">
                    <a:pos x="f195" y="f196"/>
                  </a:cxn>
                  <a:cxn ang="f161">
                    <a:pos x="f197" y="f198"/>
                  </a:cxn>
                  <a:cxn ang="f161">
                    <a:pos x="f166" y="f199"/>
                  </a:cxn>
                  <a:cxn ang="f161">
                    <a:pos x="f200" y="f201"/>
                  </a:cxn>
                  <a:cxn ang="f161">
                    <a:pos x="f202" y="f203"/>
                  </a:cxn>
                  <a:cxn ang="f161">
                    <a:pos x="f204" y="f205"/>
                  </a:cxn>
                  <a:cxn ang="f161">
                    <a:pos x="f206" y="f207"/>
                  </a:cxn>
                  <a:cxn ang="f161">
                    <a:pos x="f208" y="f209"/>
                  </a:cxn>
                  <a:cxn ang="f161">
                    <a:pos x="f210" y="f211"/>
                  </a:cxn>
                  <a:cxn ang="f161">
                    <a:pos x="f212" y="f213"/>
                  </a:cxn>
                  <a:cxn ang="f161">
                    <a:pos x="f214" y="f215"/>
                  </a:cxn>
                  <a:cxn ang="f161">
                    <a:pos x="f216" y="f217"/>
                  </a:cxn>
                  <a:cxn ang="f161">
                    <a:pos x="f218" y="f219"/>
                  </a:cxn>
                  <a:cxn ang="f161">
                    <a:pos x="f162" y="f220"/>
                  </a:cxn>
                  <a:cxn ang="f161">
                    <a:pos x="f221" y="f222"/>
                  </a:cxn>
                  <a:cxn ang="f161">
                    <a:pos x="f223" y="f224"/>
                  </a:cxn>
                  <a:cxn ang="f161">
                    <a:pos x="f225" y="f226"/>
                  </a:cxn>
                  <a:cxn ang="f161">
                    <a:pos x="f227" y="f228"/>
                  </a:cxn>
                  <a:cxn ang="f161">
                    <a:pos x="f229" y="f230"/>
                  </a:cxn>
                  <a:cxn ang="f161">
                    <a:pos x="f231" y="f232"/>
                  </a:cxn>
                  <a:cxn ang="f161">
                    <a:pos x="f233" y="f234"/>
                  </a:cxn>
                  <a:cxn ang="f161">
                    <a:pos x="f206" y="f235"/>
                  </a:cxn>
                  <a:cxn ang="f161">
                    <a:pos x="f236" y="f237"/>
                  </a:cxn>
                  <a:cxn ang="f161">
                    <a:pos x="f238" y="f239"/>
                  </a:cxn>
                  <a:cxn ang="f161">
                    <a:pos x="f240" y="f241"/>
                  </a:cxn>
                  <a:cxn ang="f161">
                    <a:pos x="f166" y="f165"/>
                  </a:cxn>
                </a:cxnLst>
                <a:rect l="f162" t="f165" r="f163" b="f164"/>
                <a:pathLst>
                  <a:path w="206" h="192">
                    <a:moveTo>
                      <a:pt x="f8" y="f5"/>
                    </a:moveTo>
                    <a:lnTo>
                      <a:pt x="f9" y="f10"/>
                    </a:lnTo>
                    <a:lnTo>
                      <a:pt x="f11" y="f12"/>
                    </a:lnTo>
                    <a:lnTo>
                      <a:pt x="f13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7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6" y="f26"/>
                    </a:lnTo>
                    <a:lnTo>
                      <a:pt x="f6" y="f27"/>
                    </a:lnTo>
                    <a:lnTo>
                      <a:pt x="f24" y="f28"/>
                    </a:lnTo>
                    <a:lnTo>
                      <a:pt x="f22" y="f29"/>
                    </a:lnTo>
                    <a:lnTo>
                      <a:pt x="f7" y="f30"/>
                    </a:lnTo>
                    <a:lnTo>
                      <a:pt x="f31" y="f32"/>
                    </a:lnTo>
                    <a:lnTo>
                      <a:pt x="f33" y="f19"/>
                    </a:lnTo>
                    <a:lnTo>
                      <a:pt x="f34" y="f35"/>
                    </a:lnTo>
                    <a:lnTo>
                      <a:pt x="f36" y="f7"/>
                    </a:lnTo>
                    <a:lnTo>
                      <a:pt x="f8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33"/>
                    </a:lnTo>
                    <a:lnTo>
                      <a:pt x="f45" y="f46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4"/>
                    </a:lnTo>
                    <a:lnTo>
                      <a:pt x="f55" y="f36"/>
                    </a:lnTo>
                    <a:lnTo>
                      <a:pt x="f5" y="f56"/>
                    </a:lnTo>
                    <a:lnTo>
                      <a:pt x="f10" y="f57"/>
                    </a:lnTo>
                    <a:lnTo>
                      <a:pt x="f58" y="f59"/>
                    </a:lnTo>
                    <a:lnTo>
                      <a:pt x="f14" y="f60"/>
                    </a:lnTo>
                    <a:lnTo>
                      <a:pt x="f61" y="f62"/>
                    </a:lnTo>
                    <a:lnTo>
                      <a:pt x="f63" y="f64"/>
                    </a:lnTo>
                    <a:lnTo>
                      <a:pt x="f65" y="f65"/>
                    </a:lnTo>
                    <a:lnTo>
                      <a:pt x="f64" y="f66"/>
                    </a:lnTo>
                    <a:lnTo>
                      <a:pt x="f44" y="f67"/>
                    </a:lnTo>
                    <a:lnTo>
                      <a:pt x="f25" y="f68"/>
                    </a:lnTo>
                    <a:lnTo>
                      <a:pt x="f69" y="f70"/>
                    </a:lnTo>
                    <a:lnTo>
                      <a:pt x="f71" y="f55"/>
                    </a:lnTo>
                    <a:lnTo>
                      <a:pt x="f8" y="f5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l="50000" t="-80000" r="50000" b="180000"/>
                </a:path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</p:grpSp>
        <p:grpSp>
          <p:nvGrpSpPr>
            <p:cNvPr id="99" name="Group 111">
              <a:extLst>
                <a:ext uri="{FF2B5EF4-FFF2-40B4-BE49-F238E27FC236}">
                  <a16:creationId xmlns:a16="http://schemas.microsoft.com/office/drawing/2014/main" id="{481D86D4-921C-404A-92A5-D7895EC3B0D5}"/>
                </a:ext>
              </a:extLst>
            </p:cNvPr>
            <p:cNvGrpSpPr/>
            <p:nvPr/>
          </p:nvGrpSpPr>
          <p:grpSpPr>
            <a:xfrm>
              <a:off x="4112193" y="2050852"/>
              <a:ext cx="169320" cy="187817"/>
              <a:chOff x="4112193" y="2050852"/>
              <a:chExt cx="169320" cy="187817"/>
            </a:xfrm>
          </p:grpSpPr>
          <p:sp>
            <p:nvSpPr>
              <p:cNvPr id="100" name="5-Point Star 192">
                <a:extLst>
                  <a:ext uri="{FF2B5EF4-FFF2-40B4-BE49-F238E27FC236}">
                    <a16:creationId xmlns:a16="http://schemas.microsoft.com/office/drawing/2014/main" id="{B2DFD7B1-7F82-4621-A3DB-6ADA5BBFE1BA}"/>
                  </a:ext>
                </a:extLst>
              </p:cNvPr>
              <p:cNvSpPr/>
              <p:nvPr/>
            </p:nvSpPr>
            <p:spPr>
              <a:xfrm>
                <a:off x="4239194" y="2141881"/>
                <a:ext cx="14008" cy="1078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ss"/>
                  <a:gd name="f6" fmla="val 0"/>
                  <a:gd name="f7" fmla="*/ 5419351 1 1725033"/>
                  <a:gd name="f8" fmla="val 105146"/>
                  <a:gd name="f9" fmla="val 110557"/>
                  <a:gd name="f10" fmla="val 19098"/>
                  <a:gd name="f11" fmla="+- 0 0 -270"/>
                  <a:gd name="f12" fmla="+- 0 0 -180"/>
                  <a:gd name="f13" fmla="+- 0 0 -90"/>
                  <a:gd name="f14" fmla="abs f3"/>
                  <a:gd name="f15" fmla="abs f4"/>
                  <a:gd name="f16" fmla="abs f5"/>
                  <a:gd name="f17" fmla="+- 1080000 f1 0"/>
                  <a:gd name="f18" fmla="+- 18360000 f1 0"/>
                  <a:gd name="f19" fmla="+- 20520000 f1 0"/>
                  <a:gd name="f20" fmla="+- 3240000 f1 0"/>
                  <a:gd name="f21" fmla="*/ f11 f0 1"/>
                  <a:gd name="f22" fmla="*/ f12 f0 1"/>
                  <a:gd name="f23" fmla="*/ f13 f0 1"/>
                  <a:gd name="f24" fmla="?: f14 f3 1"/>
                  <a:gd name="f25" fmla="?: f15 f4 1"/>
                  <a:gd name="f26" fmla="?: f16 f5 1"/>
                  <a:gd name="f27" fmla="+- f17 0 f1"/>
                  <a:gd name="f28" fmla="+- f18 0 f1"/>
                  <a:gd name="f29" fmla="+- f19 0 f1"/>
                  <a:gd name="f30" fmla="+- f20 0 f1"/>
                  <a:gd name="f31" fmla="*/ f21 1 f2"/>
                  <a:gd name="f32" fmla="*/ f22 1 f2"/>
                  <a:gd name="f33" fmla="*/ f23 1 f2"/>
                  <a:gd name="f34" fmla="*/ f24 1 21600"/>
                  <a:gd name="f35" fmla="*/ f25 1 21600"/>
                  <a:gd name="f36" fmla="*/ 21600 f24 1"/>
                  <a:gd name="f37" fmla="*/ 21600 f25 1"/>
                  <a:gd name="f38" fmla="+- f27 f1 0"/>
                  <a:gd name="f39" fmla="+- f28 f1 0"/>
                  <a:gd name="f40" fmla="+- f29 f1 0"/>
                  <a:gd name="f41" fmla="+- f30 f1 0"/>
                  <a:gd name="f42" fmla="+- f31 0 f1"/>
                  <a:gd name="f43" fmla="+- f32 0 f1"/>
                  <a:gd name="f44" fmla="+- f33 0 f1"/>
                  <a:gd name="f45" fmla="min f35 f34"/>
                  <a:gd name="f46" fmla="*/ f36 1 f26"/>
                  <a:gd name="f47" fmla="*/ f37 1 f26"/>
                  <a:gd name="f48" fmla="*/ f38 f7 1"/>
                  <a:gd name="f49" fmla="*/ f39 f7 1"/>
                  <a:gd name="f50" fmla="*/ f40 f7 1"/>
                  <a:gd name="f51" fmla="*/ f41 f7 1"/>
                  <a:gd name="f52" fmla="val f46"/>
                  <a:gd name="f53" fmla="val f47"/>
                  <a:gd name="f54" fmla="*/ f48 1 f0"/>
                  <a:gd name="f55" fmla="*/ f49 1 f0"/>
                  <a:gd name="f56" fmla="*/ f50 1 f0"/>
                  <a:gd name="f57" fmla="*/ f51 1 f0"/>
                  <a:gd name="f58" fmla="*/ f6 f45 1"/>
                  <a:gd name="f59" fmla="+- f53 0 f6"/>
                  <a:gd name="f60" fmla="+- f52 0 f6"/>
                  <a:gd name="f61" fmla="+- 0 0 f54"/>
                  <a:gd name="f62" fmla="+- 0 0 f55"/>
                  <a:gd name="f63" fmla="+- 0 0 f56"/>
                  <a:gd name="f64" fmla="+- 0 0 f57"/>
                  <a:gd name="f65" fmla="*/ f59 1 2"/>
                  <a:gd name="f66" fmla="*/ f60 1 2"/>
                  <a:gd name="f67" fmla="+- 0 0 f61"/>
                  <a:gd name="f68" fmla="+- 0 0 f62"/>
                  <a:gd name="f69" fmla="+- 0 0 f63"/>
                  <a:gd name="f70" fmla="+- 0 0 f64"/>
                  <a:gd name="f71" fmla="+- f6 f65 0"/>
                  <a:gd name="f72" fmla="+- f6 f66 0"/>
                  <a:gd name="f73" fmla="*/ f66 f8 1"/>
                  <a:gd name="f74" fmla="*/ f65 f9 1"/>
                  <a:gd name="f75" fmla="*/ f67 f0 1"/>
                  <a:gd name="f76" fmla="*/ f68 f0 1"/>
                  <a:gd name="f77" fmla="*/ f69 f0 1"/>
                  <a:gd name="f78" fmla="*/ f70 f0 1"/>
                  <a:gd name="f79" fmla="*/ f73 1 100000"/>
                  <a:gd name="f80" fmla="*/ f74 1 100000"/>
                  <a:gd name="f81" fmla="*/ f71 f9 1"/>
                  <a:gd name="f82" fmla="*/ f75 1 f7"/>
                  <a:gd name="f83" fmla="*/ f76 1 f7"/>
                  <a:gd name="f84" fmla="*/ f77 1 f7"/>
                  <a:gd name="f85" fmla="*/ f78 1 f7"/>
                  <a:gd name="f86" fmla="*/ f72 f45 1"/>
                  <a:gd name="f87" fmla="*/ f81 1 100000"/>
                  <a:gd name="f88" fmla="*/ f79 f10 1"/>
                  <a:gd name="f89" fmla="*/ f80 f10 1"/>
                  <a:gd name="f90" fmla="+- f82 0 f1"/>
                  <a:gd name="f91" fmla="+- f83 0 f1"/>
                  <a:gd name="f92" fmla="+- f84 0 f1"/>
                  <a:gd name="f93" fmla="+- f85 0 f1"/>
                  <a:gd name="f94" fmla="cos 1 f90"/>
                  <a:gd name="f95" fmla="cos 1 f91"/>
                  <a:gd name="f96" fmla="sin 1 f90"/>
                  <a:gd name="f97" fmla="sin 1 f91"/>
                  <a:gd name="f98" fmla="cos 1 f92"/>
                  <a:gd name="f99" fmla="cos 1 f93"/>
                  <a:gd name="f100" fmla="sin 1 f93"/>
                  <a:gd name="f101" fmla="sin 1 f92"/>
                  <a:gd name="f102" fmla="*/ f88 1 50000"/>
                  <a:gd name="f103" fmla="*/ f89 1 50000"/>
                  <a:gd name="f104" fmla="+- 0 0 f94"/>
                  <a:gd name="f105" fmla="+- 0 0 f95"/>
                  <a:gd name="f106" fmla="+- 0 0 f96"/>
                  <a:gd name="f107" fmla="+- 0 0 f97"/>
                  <a:gd name="f108" fmla="+- 0 0 f98"/>
                  <a:gd name="f109" fmla="+- 0 0 f99"/>
                  <a:gd name="f110" fmla="+- 0 0 f100"/>
                  <a:gd name="f111" fmla="+- 0 0 f101"/>
                  <a:gd name="f112" fmla="+- f87 f103 0"/>
                  <a:gd name="f113" fmla="+- 0 0 f104"/>
                  <a:gd name="f114" fmla="+- 0 0 f105"/>
                  <a:gd name="f115" fmla="+- 0 0 f106"/>
                  <a:gd name="f116" fmla="+- 0 0 f107"/>
                  <a:gd name="f117" fmla="+- 0 0 f108"/>
                  <a:gd name="f118" fmla="+- 0 0 f109"/>
                  <a:gd name="f119" fmla="+- 0 0 f110"/>
                  <a:gd name="f120" fmla="+- 0 0 f111"/>
                  <a:gd name="f121" fmla="*/ f112 f45 1"/>
                  <a:gd name="f122" fmla="val f113"/>
                  <a:gd name="f123" fmla="val f114"/>
                  <a:gd name="f124" fmla="val f115"/>
                  <a:gd name="f125" fmla="val f116"/>
                  <a:gd name="f126" fmla="val f117"/>
                  <a:gd name="f127" fmla="val f118"/>
                  <a:gd name="f128" fmla="val f119"/>
                  <a:gd name="f129" fmla="val f120"/>
                  <a:gd name="f130" fmla="*/ f122 f79 1"/>
                  <a:gd name="f131" fmla="*/ f123 f79 1"/>
                  <a:gd name="f132" fmla="*/ f124 f80 1"/>
                  <a:gd name="f133" fmla="*/ f125 f80 1"/>
                  <a:gd name="f134" fmla="*/ f126 f102 1"/>
                  <a:gd name="f135" fmla="*/ f127 f102 1"/>
                  <a:gd name="f136" fmla="*/ f128 f103 1"/>
                  <a:gd name="f137" fmla="*/ f129 f103 1"/>
                  <a:gd name="f138" fmla="+- f72 0 f130"/>
                  <a:gd name="f139" fmla="+- f72 0 f131"/>
                  <a:gd name="f140" fmla="+- f72 f131 0"/>
                  <a:gd name="f141" fmla="+- f72 f130 0"/>
                  <a:gd name="f142" fmla="+- f87 0 f132"/>
                  <a:gd name="f143" fmla="+- f87 0 f133"/>
                  <a:gd name="f144" fmla="+- f72 0 f134"/>
                  <a:gd name="f145" fmla="+- f72 0 f135"/>
                  <a:gd name="f146" fmla="+- f72 f135 0"/>
                  <a:gd name="f147" fmla="+- f72 f134 0"/>
                  <a:gd name="f148" fmla="+- f87 0 f136"/>
                  <a:gd name="f149" fmla="+- f87 0 f137"/>
                  <a:gd name="f150" fmla="*/ f144 f45 1"/>
                  <a:gd name="f151" fmla="*/ f148 f45 1"/>
                  <a:gd name="f152" fmla="*/ f147 f45 1"/>
                  <a:gd name="f153" fmla="*/ f138 f45 1"/>
                  <a:gd name="f154" fmla="*/ f142 f45 1"/>
                  <a:gd name="f155" fmla="*/ f145 f45 1"/>
                  <a:gd name="f156" fmla="*/ f146 f45 1"/>
                  <a:gd name="f157" fmla="*/ f141 f45 1"/>
                  <a:gd name="f158" fmla="*/ f149 f45 1"/>
                  <a:gd name="f159" fmla="*/ f140 f45 1"/>
                  <a:gd name="f160" fmla="*/ f143 f45 1"/>
                  <a:gd name="f161" fmla="*/ f139 f4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2">
                    <a:pos x="f153" y="f154"/>
                  </a:cxn>
                  <a:cxn ang="f43">
                    <a:pos x="f161" y="f160"/>
                  </a:cxn>
                  <a:cxn ang="f43">
                    <a:pos x="f159" y="f160"/>
                  </a:cxn>
                  <a:cxn ang="f44">
                    <a:pos x="f157" y="f154"/>
                  </a:cxn>
                </a:cxnLst>
                <a:rect l="f150" t="f151" r="f152" b="f121"/>
                <a:pathLst>
                  <a:path>
                    <a:moveTo>
                      <a:pt x="f153" y="f154"/>
                    </a:moveTo>
                    <a:lnTo>
                      <a:pt x="f155" y="f151"/>
                    </a:lnTo>
                    <a:lnTo>
                      <a:pt x="f86" y="f58"/>
                    </a:lnTo>
                    <a:lnTo>
                      <a:pt x="f156" y="f151"/>
                    </a:lnTo>
                    <a:lnTo>
                      <a:pt x="f157" y="f154"/>
                    </a:lnTo>
                    <a:lnTo>
                      <a:pt x="f152" y="f158"/>
                    </a:lnTo>
                    <a:lnTo>
                      <a:pt x="f159" y="f160"/>
                    </a:lnTo>
                    <a:lnTo>
                      <a:pt x="f86" y="f121"/>
                    </a:lnTo>
                    <a:lnTo>
                      <a:pt x="f161" y="f160"/>
                    </a:lnTo>
                    <a:lnTo>
                      <a:pt x="f150" y="f158"/>
                    </a:lnTo>
                    <a:close/>
                  </a:path>
                </a:pathLst>
              </a:custGeom>
              <a:gradFill>
                <a:gsLst>
                  <a:gs pos="0">
                    <a:srgbClr val="00A5D5"/>
                  </a:gs>
                  <a:gs pos="100000">
                    <a:srgbClr val="4DD7FF"/>
                  </a:gs>
                </a:gsLst>
                <a:lin ang="5400000"/>
              </a:gradFill>
              <a:ln w="12701" cap="flat">
                <a:solidFill>
                  <a:srgbClr val="666666"/>
                </a:solidFill>
                <a:prstDash val="solid"/>
                <a:miter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ctr" anchorCtr="1" compatLnSpc="1">
                <a:noAutofit/>
              </a:bodyPr>
              <a:lstStyle/>
              <a:p>
                <a:pPr algn="ctr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FFFFFF"/>
                  </a:solidFill>
                  <a:latin typeface="Ubuntu"/>
                </a:endParaRPr>
              </a:p>
            </p:txBody>
          </p:sp>
          <p:sp>
            <p:nvSpPr>
              <p:cNvPr id="101" name="Freeform 6">
                <a:extLst>
                  <a:ext uri="{FF2B5EF4-FFF2-40B4-BE49-F238E27FC236}">
                    <a16:creationId xmlns:a16="http://schemas.microsoft.com/office/drawing/2014/main" id="{744181D4-AA7D-43C8-8C85-04A44FB32146}"/>
                  </a:ext>
                </a:extLst>
              </p:cNvPr>
              <p:cNvSpPr/>
              <p:nvPr/>
            </p:nvSpPr>
            <p:spPr>
              <a:xfrm>
                <a:off x="4205682" y="2133542"/>
                <a:ext cx="75831" cy="102815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1009"/>
                  <a:gd name="f8" fmla="val 1777"/>
                  <a:gd name="f9" fmla="val 399"/>
                  <a:gd name="f10" fmla="val 403"/>
                  <a:gd name="f11" fmla="val 8"/>
                  <a:gd name="f12" fmla="val 408"/>
                  <a:gd name="f13" fmla="val 18"/>
                  <a:gd name="f14" fmla="val 412"/>
                  <a:gd name="f15" fmla="val 27"/>
                  <a:gd name="f16" fmla="val 419"/>
                  <a:gd name="f17" fmla="val 41"/>
                  <a:gd name="f18" fmla="val 420"/>
                  <a:gd name="f19" fmla="val 45"/>
                  <a:gd name="f20" fmla="val 49"/>
                  <a:gd name="f21" fmla="val 56"/>
                  <a:gd name="f22" fmla="val 418"/>
                  <a:gd name="f23" fmla="val 66"/>
                  <a:gd name="f24" fmla="val 76"/>
                  <a:gd name="f25" fmla="val 86"/>
                  <a:gd name="f26" fmla="val 423"/>
                  <a:gd name="f27" fmla="val 94"/>
                  <a:gd name="f28" fmla="val 428"/>
                  <a:gd name="f29" fmla="val 99"/>
                  <a:gd name="f30" fmla="val 438"/>
                  <a:gd name="f31" fmla="val 102"/>
                  <a:gd name="f32" fmla="val 448"/>
                  <a:gd name="f33" fmla="val 100"/>
                  <a:gd name="f34" fmla="val 455"/>
                  <a:gd name="f35" fmla="val 96"/>
                  <a:gd name="f36" fmla="val 458"/>
                  <a:gd name="f37" fmla="val 91"/>
                  <a:gd name="f38" fmla="val 459"/>
                  <a:gd name="f39" fmla="val 462"/>
                  <a:gd name="f40" fmla="val 79"/>
                  <a:gd name="f41" fmla="val 465"/>
                  <a:gd name="f42" fmla="val 70"/>
                  <a:gd name="f43" fmla="val 470"/>
                  <a:gd name="f44" fmla="val 61"/>
                  <a:gd name="f45" fmla="val 480"/>
                  <a:gd name="f46" fmla="val 484"/>
                  <a:gd name="f47" fmla="val 490"/>
                  <a:gd name="f48" fmla="val 38"/>
                  <a:gd name="f49" fmla="val 499"/>
                  <a:gd name="f50" fmla="val 35"/>
                  <a:gd name="f51" fmla="val 509"/>
                  <a:gd name="f52" fmla="val 33"/>
                  <a:gd name="f53" fmla="val 520"/>
                  <a:gd name="f54" fmla="val 530"/>
                  <a:gd name="f55" fmla="val 539"/>
                  <a:gd name="f56" fmla="val 40"/>
                  <a:gd name="f57" fmla="val 546"/>
                  <a:gd name="f58" fmla="val 552"/>
                  <a:gd name="f59" fmla="val 59"/>
                  <a:gd name="f60" fmla="val 556"/>
                  <a:gd name="f61" fmla="val 68"/>
                  <a:gd name="f62" fmla="val 559"/>
                  <a:gd name="f63" fmla="val 73"/>
                  <a:gd name="f64" fmla="val 563"/>
                  <a:gd name="f65" fmla="val 77"/>
                  <a:gd name="f66" fmla="val 567"/>
                  <a:gd name="f67" fmla="val 80"/>
                  <a:gd name="f68" fmla="val 573"/>
                  <a:gd name="f69" fmla="val 581"/>
                  <a:gd name="f70" fmla="val 95"/>
                  <a:gd name="f71" fmla="val 599"/>
                  <a:gd name="f72" fmla="val 117"/>
                  <a:gd name="f73" fmla="val 609"/>
                  <a:gd name="f74" fmla="val 129"/>
                  <a:gd name="f75" fmla="val 618"/>
                  <a:gd name="f76" fmla="val 139"/>
                  <a:gd name="f77" fmla="val 625"/>
                  <a:gd name="f78" fmla="val 148"/>
                  <a:gd name="f79" fmla="val 631"/>
                  <a:gd name="f80" fmla="val 156"/>
                  <a:gd name="f81" fmla="val 636"/>
                  <a:gd name="f82" fmla="val 160"/>
                  <a:gd name="f83" fmla="val 648"/>
                  <a:gd name="f84" fmla="val 167"/>
                  <a:gd name="f85" fmla="val 665"/>
                  <a:gd name="f86" fmla="val 173"/>
                  <a:gd name="f87" fmla="val 682"/>
                  <a:gd name="f88" fmla="val 178"/>
                  <a:gd name="f89" fmla="val 699"/>
                  <a:gd name="f90" fmla="val 706"/>
                  <a:gd name="f91" fmla="val 181"/>
                  <a:gd name="f92" fmla="val 711"/>
                  <a:gd name="f93" fmla="val 185"/>
                  <a:gd name="f94" fmla="val 713"/>
                  <a:gd name="f95" fmla="val 190"/>
                  <a:gd name="f96" fmla="val 715"/>
                  <a:gd name="f97" fmla="val 196"/>
                  <a:gd name="f98" fmla="val 717"/>
                  <a:gd name="f99" fmla="val 200"/>
                  <a:gd name="f100" fmla="val 720"/>
                  <a:gd name="f101" fmla="val 204"/>
                  <a:gd name="f102" fmla="val 725"/>
                  <a:gd name="f103" fmla="val 205"/>
                  <a:gd name="f104" fmla="val 735"/>
                  <a:gd name="f105" fmla="val 743"/>
                  <a:gd name="f106" fmla="val 202"/>
                  <a:gd name="f107" fmla="val 749"/>
                  <a:gd name="f108" fmla="val 199"/>
                  <a:gd name="f109" fmla="val 755"/>
                  <a:gd name="f110" fmla="val 198"/>
                  <a:gd name="f111" fmla="val 761"/>
                  <a:gd name="f112" fmla="val 767"/>
                  <a:gd name="f113" fmla="val 773"/>
                  <a:gd name="f114" fmla="val 781"/>
                  <a:gd name="f115" fmla="val 787"/>
                  <a:gd name="f116" fmla="val 201"/>
                  <a:gd name="f117" fmla="val 795"/>
                  <a:gd name="f118" fmla="val 195"/>
                  <a:gd name="f119" fmla="val 804"/>
                  <a:gd name="f120" fmla="val 187"/>
                  <a:gd name="f121" fmla="val 812"/>
                  <a:gd name="f122" fmla="val 177"/>
                  <a:gd name="f123" fmla="val 827"/>
                  <a:gd name="f124" fmla="val 162"/>
                  <a:gd name="f125" fmla="val 832"/>
                  <a:gd name="f126" fmla="val 159"/>
                  <a:gd name="f127" fmla="val 838"/>
                  <a:gd name="f128" fmla="val 846"/>
                  <a:gd name="f129" fmla="val 854"/>
                  <a:gd name="f130" fmla="val 862"/>
                  <a:gd name="f131" fmla="val 174"/>
                  <a:gd name="f132" fmla="val 869"/>
                  <a:gd name="f133" fmla="val 182"/>
                  <a:gd name="f134" fmla="val 877"/>
                  <a:gd name="f135" fmla="val 192"/>
                  <a:gd name="f136" fmla="val 886"/>
                  <a:gd name="f137" fmla="val 894"/>
                  <a:gd name="f138" fmla="val 902"/>
                  <a:gd name="f139" fmla="val 909"/>
                  <a:gd name="f140" fmla="val 918"/>
                  <a:gd name="f141" fmla="val 944"/>
                  <a:gd name="f142" fmla="val 214"/>
                  <a:gd name="f143" fmla="val 949"/>
                  <a:gd name="f144" fmla="val 218"/>
                  <a:gd name="f145" fmla="val 953"/>
                  <a:gd name="f146" fmla="val 224"/>
                  <a:gd name="f147" fmla="val 956"/>
                  <a:gd name="f148" fmla="val 231"/>
                  <a:gd name="f149" fmla="val 958"/>
                  <a:gd name="f150" fmla="val 237"/>
                  <a:gd name="f151" fmla="val 961"/>
                  <a:gd name="f152" fmla="val 242"/>
                  <a:gd name="f153" fmla="val 965"/>
                  <a:gd name="f154" fmla="val 244"/>
                  <a:gd name="f155" fmla="val 971"/>
                  <a:gd name="f156" fmla="val 243"/>
                  <a:gd name="f157" fmla="val 974"/>
                  <a:gd name="f158" fmla="val 241"/>
                  <a:gd name="f159" fmla="val 976"/>
                  <a:gd name="f160" fmla="val 236"/>
                  <a:gd name="f161" fmla="val 212"/>
                  <a:gd name="f162" fmla="val 977"/>
                  <a:gd name="f163" fmla="val 206"/>
                  <a:gd name="f164" fmla="val 980"/>
                  <a:gd name="f165" fmla="val 984"/>
                  <a:gd name="f166" fmla="val 989"/>
                  <a:gd name="f167" fmla="val 996"/>
                  <a:gd name="f168" fmla="val 1002"/>
                  <a:gd name="f169" fmla="val 209"/>
                  <a:gd name="f170" fmla="val 1007"/>
                  <a:gd name="f171" fmla="val 215"/>
                  <a:gd name="f172" fmla="val 222"/>
                  <a:gd name="f173" fmla="val 1008"/>
                  <a:gd name="f174" fmla="val 230"/>
                  <a:gd name="f175" fmla="val 1005"/>
                  <a:gd name="f176" fmla="val 240"/>
                  <a:gd name="f177" fmla="val 1000"/>
                  <a:gd name="f178" fmla="val 250"/>
                  <a:gd name="f179" fmla="val 995"/>
                  <a:gd name="f180" fmla="val 258"/>
                  <a:gd name="f181" fmla="val 990"/>
                  <a:gd name="f182" fmla="val 261"/>
                  <a:gd name="f183" fmla="val 987"/>
                  <a:gd name="f184" fmla="val 264"/>
                  <a:gd name="f185" fmla="val 981"/>
                  <a:gd name="f186" fmla="val 269"/>
                  <a:gd name="f187" fmla="val 973"/>
                  <a:gd name="f188" fmla="val 274"/>
                  <a:gd name="f189" fmla="val 960"/>
                  <a:gd name="f190" fmla="val 287"/>
                  <a:gd name="f191" fmla="val 292"/>
                  <a:gd name="f192" fmla="val 954"/>
                  <a:gd name="f193" fmla="val 295"/>
                  <a:gd name="f194" fmla="val 299"/>
                  <a:gd name="f195" fmla="val 311"/>
                  <a:gd name="f196" fmla="val 317"/>
                  <a:gd name="f197" fmla="val 963"/>
                  <a:gd name="f198" fmla="val 322"/>
                  <a:gd name="f199" fmla="val 327"/>
                  <a:gd name="f200" fmla="val 975"/>
                  <a:gd name="f201" fmla="val 335"/>
                  <a:gd name="f202" fmla="val 343"/>
                  <a:gd name="f203" fmla="val 351"/>
                  <a:gd name="f204" fmla="val 972"/>
                  <a:gd name="f205" fmla="val 357"/>
                  <a:gd name="f206" fmla="val 968"/>
                  <a:gd name="f207" fmla="val 363"/>
                  <a:gd name="f208" fmla="val 370"/>
                  <a:gd name="f209" fmla="val 964"/>
                  <a:gd name="f210" fmla="val 378"/>
                  <a:gd name="f211" fmla="val 966"/>
                  <a:gd name="f212" fmla="val 385"/>
                  <a:gd name="f213" fmla="val 969"/>
                  <a:gd name="f214" fmla="val 390"/>
                  <a:gd name="f215" fmla="val 410"/>
                  <a:gd name="f216" fmla="val 431"/>
                  <a:gd name="f217" fmla="val 445"/>
                  <a:gd name="f218" fmla="val 955"/>
                  <a:gd name="f219" fmla="val 452"/>
                  <a:gd name="f220" fmla="val 947"/>
                  <a:gd name="f221" fmla="val 941"/>
                  <a:gd name="f222" fmla="val 464"/>
                  <a:gd name="f223" fmla="val 938"/>
                  <a:gd name="f224" fmla="val 469"/>
                  <a:gd name="f225" fmla="val 485"/>
                  <a:gd name="f226" fmla="val 939"/>
                  <a:gd name="f227" fmla="val 498"/>
                  <a:gd name="f228" fmla="val 940"/>
                  <a:gd name="f229" fmla="val 513"/>
                  <a:gd name="f230" fmla="val 942"/>
                  <a:gd name="f231" fmla="val 527"/>
                  <a:gd name="f232" fmla="val 943"/>
                  <a:gd name="f233" fmla="val 540"/>
                  <a:gd name="f234" fmla="val 551"/>
                  <a:gd name="f235" fmla="val 945"/>
                  <a:gd name="f236" fmla="val 557"/>
                  <a:gd name="f237" fmla="val 948"/>
                  <a:gd name="f238" fmla="val 561"/>
                  <a:gd name="f239" fmla="val 572"/>
                  <a:gd name="f240" fmla="val 578"/>
                  <a:gd name="f241" fmla="val 584"/>
                  <a:gd name="f242" fmla="val 591"/>
                  <a:gd name="f243" fmla="val 596"/>
                  <a:gd name="f244" fmla="val 983"/>
                  <a:gd name="f245" fmla="val 600"/>
                  <a:gd name="f246" fmla="val 982"/>
                  <a:gd name="f247" fmla="val 603"/>
                  <a:gd name="f248" fmla="val 605"/>
                  <a:gd name="f249" fmla="val 979"/>
                  <a:gd name="f250" fmla="val 606"/>
                  <a:gd name="f251" fmla="val 598"/>
                  <a:gd name="f252" fmla="val 594"/>
                  <a:gd name="f253" fmla="val 592"/>
                  <a:gd name="f254" fmla="val 934"/>
                  <a:gd name="f255" fmla="val 931"/>
                  <a:gd name="f256" fmla="val 932"/>
                  <a:gd name="f257" fmla="val 607"/>
                  <a:gd name="f258" fmla="val 616"/>
                  <a:gd name="f259" fmla="val 623"/>
                  <a:gd name="f260" fmla="val 959"/>
                  <a:gd name="f261" fmla="val 639"/>
                  <a:gd name="f262" fmla="val 644"/>
                  <a:gd name="f263" fmla="val 647"/>
                  <a:gd name="f264" fmla="val 649"/>
                  <a:gd name="f265" fmla="val 951"/>
                  <a:gd name="f266" fmla="val 653"/>
                  <a:gd name="f267" fmla="val 657"/>
                  <a:gd name="f268" fmla="val 659"/>
                  <a:gd name="f269" fmla="val 937"/>
                  <a:gd name="f270" fmla="val 661"/>
                  <a:gd name="f271" fmla="val 926"/>
                  <a:gd name="f272" fmla="val 670"/>
                  <a:gd name="f273" fmla="val 880"/>
                  <a:gd name="f274" fmla="val 872"/>
                  <a:gd name="f275" fmla="val 722"/>
                  <a:gd name="f276" fmla="val 866"/>
                  <a:gd name="f277" fmla="val 727"/>
                  <a:gd name="f278" fmla="val 863"/>
                  <a:gd name="f279" fmla="val 730"/>
                  <a:gd name="f280" fmla="val 858"/>
                  <a:gd name="f281" fmla="val 732"/>
                  <a:gd name="f282" fmla="val 849"/>
                  <a:gd name="f283" fmla="val 736"/>
                  <a:gd name="f284" fmla="val 829"/>
                  <a:gd name="f285" fmla="val 746"/>
                  <a:gd name="f286" fmla="val 820"/>
                  <a:gd name="f287" fmla="val 752"/>
                  <a:gd name="f288" fmla="val 814"/>
                  <a:gd name="f289" fmla="val 757"/>
                  <a:gd name="f290" fmla="val 810"/>
                  <a:gd name="f291" fmla="val 762"/>
                  <a:gd name="f292" fmla="val 805"/>
                  <a:gd name="f293" fmla="val 771"/>
                  <a:gd name="f294" fmla="val 797"/>
                  <a:gd name="f295" fmla="val 780"/>
                  <a:gd name="f296" fmla="val 789"/>
                  <a:gd name="f297" fmla="val 792"/>
                  <a:gd name="f298" fmla="val 772"/>
                  <a:gd name="f299" fmla="val 815"/>
                  <a:gd name="f300" fmla="val 764"/>
                  <a:gd name="f301" fmla="val 824"/>
                  <a:gd name="f302" fmla="val 759"/>
                  <a:gd name="f303" fmla="val 831"/>
                  <a:gd name="f304" fmla="val 747"/>
                  <a:gd name="f305" fmla="val 839"/>
                  <a:gd name="f306" fmla="val 733"/>
                  <a:gd name="f307" fmla="val 731"/>
                  <a:gd name="f308" fmla="val 728"/>
                  <a:gd name="f309" fmla="val 726"/>
                  <a:gd name="f310" fmla="val 874"/>
                  <a:gd name="f311" fmla="val 878"/>
                  <a:gd name="f312" fmla="val 737"/>
                  <a:gd name="f313" fmla="val 745"/>
                  <a:gd name="f314" fmla="val 882"/>
                  <a:gd name="f315" fmla="val 753"/>
                  <a:gd name="f316" fmla="val 884"/>
                  <a:gd name="f317" fmla="val 887"/>
                  <a:gd name="f318" fmla="val 892"/>
                  <a:gd name="f319" fmla="val 900"/>
                  <a:gd name="f320" fmla="val 910"/>
                  <a:gd name="f321" fmla="val 921"/>
                  <a:gd name="f322" fmla="val 750"/>
                  <a:gd name="f323" fmla="val 950"/>
                  <a:gd name="f324" fmla="val 962"/>
                  <a:gd name="f325" fmla="val 740"/>
                  <a:gd name="f326" fmla="val 988"/>
                  <a:gd name="f327" fmla="val 729"/>
                  <a:gd name="f328" fmla="val 1018"/>
                  <a:gd name="f329" fmla="val 723"/>
                  <a:gd name="f330" fmla="val 1030"/>
                  <a:gd name="f331" fmla="val 1042"/>
                  <a:gd name="f332" fmla="val 1051"/>
                  <a:gd name="f333" fmla="val 714"/>
                  <a:gd name="f334" fmla="val 1057"/>
                  <a:gd name="f335" fmla="val 710"/>
                  <a:gd name="f336" fmla="val 1062"/>
                  <a:gd name="f337" fmla="val 703"/>
                  <a:gd name="f338" fmla="val 1068"/>
                  <a:gd name="f339" fmla="val 695"/>
                  <a:gd name="f340" fmla="val 1075"/>
                  <a:gd name="f341" fmla="val 688"/>
                  <a:gd name="f342" fmla="val 1082"/>
                  <a:gd name="f343" fmla="val 1087"/>
                  <a:gd name="f344" fmla="val 679"/>
                  <a:gd name="f345" fmla="val 1090"/>
                  <a:gd name="f346" fmla="val 676"/>
                  <a:gd name="f347" fmla="val 1094"/>
                  <a:gd name="f348" fmla="val 671"/>
                  <a:gd name="f349" fmla="val 1102"/>
                  <a:gd name="f350" fmla="val 666"/>
                  <a:gd name="f351" fmla="val 1111"/>
                  <a:gd name="f352" fmla="val 660"/>
                  <a:gd name="f353" fmla="val 1121"/>
                  <a:gd name="f354" fmla="val 654"/>
                  <a:gd name="f355" fmla="val 1130"/>
                  <a:gd name="f356" fmla="val 1138"/>
                  <a:gd name="f357" fmla="val 1142"/>
                  <a:gd name="f358" fmla="val 637"/>
                  <a:gd name="f359" fmla="val 1146"/>
                  <a:gd name="f360" fmla="val 1155"/>
                  <a:gd name="f361" fmla="val 1160"/>
                  <a:gd name="f362" fmla="val 1166"/>
                  <a:gd name="f363" fmla="val 1171"/>
                  <a:gd name="f364" fmla="val 590"/>
                  <a:gd name="f365" fmla="val 1176"/>
                  <a:gd name="f366" fmla="val 586"/>
                  <a:gd name="f367" fmla="val 1180"/>
                  <a:gd name="f368" fmla="val 1186"/>
                  <a:gd name="f369" fmla="val 1193"/>
                  <a:gd name="f370" fmla="val 1217"/>
                  <a:gd name="f371" fmla="val 1226"/>
                  <a:gd name="f372" fmla="val 1236"/>
                  <a:gd name="f373" fmla="val 1244"/>
                  <a:gd name="f374" fmla="val 1250"/>
                  <a:gd name="f375" fmla="val 597"/>
                  <a:gd name="f376" fmla="val 1253"/>
                  <a:gd name="f377" fmla="val 580"/>
                  <a:gd name="f378" fmla="val 1251"/>
                  <a:gd name="f379" fmla="val 570"/>
                  <a:gd name="f380" fmla="val 1248"/>
                  <a:gd name="f381" fmla="val 1246"/>
                  <a:gd name="f382" fmla="val 554"/>
                  <a:gd name="f383" fmla="val 547"/>
                  <a:gd name="f384" fmla="val 1249"/>
                  <a:gd name="f385" fmla="val 1252"/>
                  <a:gd name="f386" fmla="val 532"/>
                  <a:gd name="f387" fmla="val 1256"/>
                  <a:gd name="f388" fmla="val 528"/>
                  <a:gd name="f389" fmla="val 1262"/>
                  <a:gd name="f390" fmla="val 1269"/>
                  <a:gd name="f391" fmla="val 1276"/>
                  <a:gd name="f392" fmla="val 1281"/>
                  <a:gd name="f393" fmla="val 533"/>
                  <a:gd name="f394" fmla="val 1285"/>
                  <a:gd name="f395" fmla="val 538"/>
                  <a:gd name="f396" fmla="val 1290"/>
                  <a:gd name="f397" fmla="val 1295"/>
                  <a:gd name="f398" fmla="val 1300"/>
                  <a:gd name="f399" fmla="val 1305"/>
                  <a:gd name="f400" fmla="val 579"/>
                  <a:gd name="f401" fmla="val 1312"/>
                  <a:gd name="f402" fmla="val 588"/>
                  <a:gd name="f403" fmla="val 1319"/>
                  <a:gd name="f404" fmla="val 1327"/>
                  <a:gd name="f405" fmla="val 1335"/>
                  <a:gd name="f406" fmla="val 1346"/>
                  <a:gd name="f407" fmla="val 589"/>
                  <a:gd name="f408" fmla="val 1359"/>
                  <a:gd name="f409" fmla="val 583"/>
                  <a:gd name="f410" fmla="val 1371"/>
                  <a:gd name="f411" fmla="val 577"/>
                  <a:gd name="f412" fmla="val 1382"/>
                  <a:gd name="f413" fmla="val 565"/>
                  <a:gd name="f414" fmla="val 1394"/>
                  <a:gd name="f415" fmla="val 1404"/>
                  <a:gd name="f416" fmla="val 1414"/>
                  <a:gd name="f417" fmla="val 545"/>
                  <a:gd name="f418" fmla="val 1424"/>
                  <a:gd name="f419" fmla="val 1432"/>
                  <a:gd name="f420" fmla="val 1439"/>
                  <a:gd name="f421" fmla="val 1450"/>
                  <a:gd name="f422" fmla="val 523"/>
                  <a:gd name="f423" fmla="val 1462"/>
                  <a:gd name="f424" fmla="val 1472"/>
                  <a:gd name="f425" fmla="val 519"/>
                  <a:gd name="f426" fmla="val 1480"/>
                  <a:gd name="f427" fmla="val 521"/>
                  <a:gd name="f428" fmla="val 1486"/>
                  <a:gd name="f429" fmla="val 525"/>
                  <a:gd name="f430" fmla="val 1495"/>
                  <a:gd name="f431" fmla="val 1504"/>
                  <a:gd name="f432" fmla="val 537"/>
                  <a:gd name="f433" fmla="val 1515"/>
                  <a:gd name="f434" fmla="val 542"/>
                  <a:gd name="f435" fmla="val 1527"/>
                  <a:gd name="f436" fmla="val 1538"/>
                  <a:gd name="f437" fmla="val 548"/>
                  <a:gd name="f438" fmla="val 1549"/>
                  <a:gd name="f439" fmla="val 1562"/>
                  <a:gd name="f440" fmla="val 549"/>
                  <a:gd name="f441" fmla="val 1579"/>
                  <a:gd name="f442" fmla="val 550"/>
                  <a:gd name="f443" fmla="val 1598"/>
                  <a:gd name="f444" fmla="val 1616"/>
                  <a:gd name="f445" fmla="val 553"/>
                  <a:gd name="f446" fmla="val 1634"/>
                  <a:gd name="f447" fmla="val 1648"/>
                  <a:gd name="f448" fmla="val 1665"/>
                  <a:gd name="f449" fmla="val 1679"/>
                  <a:gd name="f450" fmla="val 1698"/>
                  <a:gd name="f451" fmla="val 1721"/>
                  <a:gd name="f452" fmla="val 1746"/>
                  <a:gd name="f453" fmla="val 1774"/>
                  <a:gd name="f454" fmla="val 1776"/>
                  <a:gd name="f455" fmla="val 544"/>
                  <a:gd name="f456" fmla="val 541"/>
                  <a:gd name="f457" fmla="val 1775"/>
                  <a:gd name="f458" fmla="val 529"/>
                  <a:gd name="f459" fmla="val 1767"/>
                  <a:gd name="f460" fmla="val 1757"/>
                  <a:gd name="f461" fmla="val 1748"/>
                  <a:gd name="f462" fmla="val 507"/>
                  <a:gd name="f463" fmla="val 1741"/>
                  <a:gd name="f464" fmla="val 504"/>
                  <a:gd name="f465" fmla="val 1740"/>
                  <a:gd name="f466" fmla="val 501"/>
                  <a:gd name="f467" fmla="val 1745"/>
                  <a:gd name="f468" fmla="val 495"/>
                  <a:gd name="f469" fmla="val 1749"/>
                  <a:gd name="f470" fmla="val 491"/>
                  <a:gd name="f471" fmla="val 1735"/>
                  <a:gd name="f472" fmla="val 476"/>
                  <a:gd name="f473" fmla="val 1731"/>
                  <a:gd name="f474" fmla="val 472"/>
                  <a:gd name="f475" fmla="val 1732"/>
                  <a:gd name="f476" fmla="val 467"/>
                  <a:gd name="f477" fmla="val 461"/>
                  <a:gd name="f478" fmla="val 1739"/>
                  <a:gd name="f479" fmla="val 450"/>
                  <a:gd name="f480" fmla="val 443"/>
                  <a:gd name="f481" fmla="val 436"/>
                  <a:gd name="f482" fmla="val 1729"/>
                  <a:gd name="f483" fmla="val 429"/>
                  <a:gd name="f484" fmla="val 1724"/>
                  <a:gd name="f485" fmla="val 1718"/>
                  <a:gd name="f486" fmla="val 1712"/>
                  <a:gd name="f487" fmla="val 1706"/>
                  <a:gd name="f488" fmla="val 415"/>
                  <a:gd name="f489" fmla="val 1701"/>
                  <a:gd name="f490" fmla="val 411"/>
                  <a:gd name="f491" fmla="val 1699"/>
                  <a:gd name="f492" fmla="val 404"/>
                  <a:gd name="f493" fmla="val 1700"/>
                  <a:gd name="f494" fmla="val 395"/>
                  <a:gd name="f495" fmla="val 393"/>
                  <a:gd name="f496" fmla="val 1695"/>
                  <a:gd name="f497" fmla="val 1693"/>
                  <a:gd name="f498" fmla="val 392"/>
                  <a:gd name="f499" fmla="val 1691"/>
                  <a:gd name="f500" fmla="val 1689"/>
                  <a:gd name="f501" fmla="val 391"/>
                  <a:gd name="f502" fmla="val 1688"/>
                  <a:gd name="f503" fmla="val 386"/>
                  <a:gd name="f504" fmla="val 382"/>
                  <a:gd name="f505" fmla="val 1692"/>
                  <a:gd name="f506" fmla="val 377"/>
                  <a:gd name="f507" fmla="val 372"/>
                  <a:gd name="f508" fmla="val 366"/>
                  <a:gd name="f509" fmla="val 352"/>
                  <a:gd name="f510" fmla="val 1682"/>
                  <a:gd name="f511" fmla="val 347"/>
                  <a:gd name="f512" fmla="val 1678"/>
                  <a:gd name="f513" fmla="val 345"/>
                  <a:gd name="f514" fmla="val 1674"/>
                  <a:gd name="f515" fmla="val 1669"/>
                  <a:gd name="f516" fmla="val 350"/>
                  <a:gd name="f517" fmla="val 1664"/>
                  <a:gd name="f518" fmla="val 354"/>
                  <a:gd name="f519" fmla="val 1660"/>
                  <a:gd name="f520" fmla="val 1654"/>
                  <a:gd name="f521" fmla="val 358"/>
                  <a:gd name="f522" fmla="val 1649"/>
                  <a:gd name="f523" fmla="val 1644"/>
                  <a:gd name="f524" fmla="val 348"/>
                  <a:gd name="f525" fmla="val 1642"/>
                  <a:gd name="f526" fmla="val 341"/>
                  <a:gd name="f527" fmla="val 329"/>
                  <a:gd name="f528" fmla="val 1647"/>
                  <a:gd name="f529" fmla="val 325"/>
                  <a:gd name="f530" fmla="val 320"/>
                  <a:gd name="f531" fmla="val 1643"/>
                  <a:gd name="f532" fmla="val 1636"/>
                  <a:gd name="f533" fmla="val 316"/>
                  <a:gd name="f534" fmla="val 1628"/>
                  <a:gd name="f535" fmla="val 1621"/>
                  <a:gd name="f536" fmla="val 318"/>
                  <a:gd name="f537" fmla="val 1619"/>
                  <a:gd name="f538" fmla="val 1618"/>
                  <a:gd name="f539" fmla="val 1617"/>
                  <a:gd name="f540" fmla="val 307"/>
                  <a:gd name="f541" fmla="val 1615"/>
                  <a:gd name="f542" fmla="val 305"/>
                  <a:gd name="f543" fmla="val 1613"/>
                  <a:gd name="f544" fmla="val 304"/>
                  <a:gd name="f545" fmla="val 1610"/>
                  <a:gd name="f546" fmla="val 302"/>
                  <a:gd name="f547" fmla="val 1601"/>
                  <a:gd name="f548" fmla="val 300"/>
                  <a:gd name="f549" fmla="val 1595"/>
                  <a:gd name="f550" fmla="val 297"/>
                  <a:gd name="f551" fmla="val 1588"/>
                  <a:gd name="f552" fmla="val 291"/>
                  <a:gd name="f553" fmla="val 1581"/>
                  <a:gd name="f554" fmla="val 284"/>
                  <a:gd name="f555" fmla="val 1577"/>
                  <a:gd name="f556" fmla="val 275"/>
                  <a:gd name="f557" fmla="val 1575"/>
                  <a:gd name="f558" fmla="val 266"/>
                  <a:gd name="f559" fmla="val 1574"/>
                  <a:gd name="f560" fmla="val 256"/>
                  <a:gd name="f561" fmla="val 1573"/>
                  <a:gd name="f562" fmla="val 248"/>
                  <a:gd name="f563" fmla="val 1571"/>
                  <a:gd name="f564" fmla="val 1568"/>
                  <a:gd name="f565" fmla="val 1563"/>
                  <a:gd name="f566" fmla="val 235"/>
                  <a:gd name="f567" fmla="val 1561"/>
                  <a:gd name="f568" fmla="val 1559"/>
                  <a:gd name="f569" fmla="val 234"/>
                  <a:gd name="f570" fmla="val 1557"/>
                  <a:gd name="f571" fmla="val 1556"/>
                  <a:gd name="f572" fmla="val 232"/>
                  <a:gd name="f573" fmla="val 1554"/>
                  <a:gd name="f574" fmla="val 1553"/>
                  <a:gd name="f575" fmla="val 227"/>
                  <a:gd name="f576" fmla="val 217"/>
                  <a:gd name="f577" fmla="val 1555"/>
                  <a:gd name="f578" fmla="val 197"/>
                  <a:gd name="f579" fmla="val 1551"/>
                  <a:gd name="f580" fmla="val 193"/>
                  <a:gd name="f581" fmla="val 1546"/>
                  <a:gd name="f582" fmla="val 1543"/>
                  <a:gd name="f583" fmla="val 1537"/>
                  <a:gd name="f584" fmla="val 1530"/>
                  <a:gd name="f585" fmla="val 1525"/>
                  <a:gd name="f586" fmla="val 171"/>
                  <a:gd name="f587" fmla="val 1519"/>
                  <a:gd name="f588" fmla="val 166"/>
                  <a:gd name="f589" fmla="val 163"/>
                  <a:gd name="f590" fmla="val 1511"/>
                  <a:gd name="f591" fmla="val 1505"/>
                  <a:gd name="f592" fmla="val 165"/>
                  <a:gd name="f593" fmla="val 1494"/>
                  <a:gd name="f594" fmla="val 1482"/>
                  <a:gd name="f595" fmla="val 1471"/>
                  <a:gd name="f596" fmla="val 1461"/>
                  <a:gd name="f597" fmla="val 1454"/>
                  <a:gd name="f598" fmla="val 153"/>
                  <a:gd name="f599" fmla="val 1442"/>
                  <a:gd name="f600" fmla="val 149"/>
                  <a:gd name="f601" fmla="val 1435"/>
                  <a:gd name="f602" fmla="val 147"/>
                  <a:gd name="f603" fmla="val 1427"/>
                  <a:gd name="f604" fmla="val 146"/>
                  <a:gd name="f605" fmla="val 1417"/>
                  <a:gd name="f606" fmla="val 144"/>
                  <a:gd name="f607" fmla="val 1406"/>
                  <a:gd name="f608" fmla="val 138"/>
                  <a:gd name="f609" fmla="val 1378"/>
                  <a:gd name="f610" fmla="val 134"/>
                  <a:gd name="f611" fmla="val 1367"/>
                  <a:gd name="f612" fmla="val 132"/>
                  <a:gd name="f613" fmla="val 130"/>
                  <a:gd name="f614" fmla="val 1356"/>
                  <a:gd name="f615" fmla="val 1353"/>
                  <a:gd name="f616" fmla="val 131"/>
                  <a:gd name="f617" fmla="val 1345"/>
                  <a:gd name="f618" fmla="val 1344"/>
                  <a:gd name="f619" fmla="val 137"/>
                  <a:gd name="f620" fmla="val 140"/>
                  <a:gd name="f621" fmla="val 1349"/>
                  <a:gd name="f622" fmla="val 1354"/>
                  <a:gd name="f623" fmla="val 1358"/>
                  <a:gd name="f624" fmla="val 1350"/>
                  <a:gd name="f625" fmla="val 157"/>
                  <a:gd name="f626" fmla="val 1342"/>
                  <a:gd name="f627" fmla="val 155"/>
                  <a:gd name="f628" fmla="val 1334"/>
                  <a:gd name="f629" fmla="val 1326"/>
                  <a:gd name="f630" fmla="val 1317"/>
                  <a:gd name="f631" fmla="val 1306"/>
                  <a:gd name="f632" fmla="val 154"/>
                  <a:gd name="f633" fmla="val 1287"/>
                  <a:gd name="f634" fmla="val 1286"/>
                  <a:gd name="f635" fmla="val 208"/>
                  <a:gd name="f636" fmla="val 213"/>
                  <a:gd name="f637" fmla="val 1303"/>
                  <a:gd name="f638" fmla="val 1298"/>
                  <a:gd name="f639" fmla="val 220"/>
                  <a:gd name="f640" fmla="val 1272"/>
                  <a:gd name="f641" fmla="val 233"/>
                  <a:gd name="f642" fmla="val 1265"/>
                  <a:gd name="f643" fmla="val 1260"/>
                  <a:gd name="f644" fmla="val 249"/>
                  <a:gd name="f645" fmla="val 1254"/>
                  <a:gd name="f646" fmla="val 257"/>
                  <a:gd name="f647" fmla="val 1233"/>
                  <a:gd name="f648" fmla="val 272"/>
                  <a:gd name="f649" fmla="val 1222"/>
                  <a:gd name="f650" fmla="val 277"/>
                  <a:gd name="f651" fmla="val 286"/>
                  <a:gd name="f652" fmla="val 1215"/>
                  <a:gd name="f653" fmla="val 1212"/>
                  <a:gd name="f654" fmla="val 1210"/>
                  <a:gd name="f655" fmla="val 333"/>
                  <a:gd name="f656" fmla="val 337"/>
                  <a:gd name="f657" fmla="val 342"/>
                  <a:gd name="f658" fmla="val 1216"/>
                  <a:gd name="f659" fmla="val 1219"/>
                  <a:gd name="f660" fmla="val 1221"/>
                  <a:gd name="f661" fmla="val 1218"/>
                  <a:gd name="f662" fmla="val 355"/>
                  <a:gd name="f663" fmla="val 1213"/>
                  <a:gd name="f664" fmla="val 1204"/>
                  <a:gd name="f665" fmla="val 1181"/>
                  <a:gd name="f666" fmla="val 339"/>
                  <a:gd name="f667" fmla="val 1170"/>
                  <a:gd name="f668" fmla="val 332"/>
                  <a:gd name="f669" fmla="val 1154"/>
                  <a:gd name="f670" fmla="val 1152"/>
                  <a:gd name="f671" fmla="val 1151"/>
                  <a:gd name="f672" fmla="val 1149"/>
                  <a:gd name="f673" fmla="val 1145"/>
                  <a:gd name="f674" fmla="val 288"/>
                  <a:gd name="f675" fmla="val 1140"/>
                  <a:gd name="f676" fmla="val 293"/>
                  <a:gd name="f677" fmla="val 1133"/>
                  <a:gd name="f678" fmla="val 1122"/>
                  <a:gd name="f679" fmla="val 310"/>
                  <a:gd name="f680" fmla="val 1097"/>
                  <a:gd name="f681" fmla="val 1085"/>
                  <a:gd name="f682" fmla="val 1071"/>
                  <a:gd name="f683" fmla="val 1058"/>
                  <a:gd name="f684" fmla="val 365"/>
                  <a:gd name="f685" fmla="val 1047"/>
                  <a:gd name="f686" fmla="val 373"/>
                  <a:gd name="f687" fmla="val 1037"/>
                  <a:gd name="f688" fmla="val 381"/>
                  <a:gd name="f689" fmla="val 1026"/>
                  <a:gd name="f690" fmla="val 1022"/>
                  <a:gd name="f691" fmla="val 379"/>
                  <a:gd name="f692" fmla="val 1015"/>
                  <a:gd name="f693" fmla="val 376"/>
                  <a:gd name="f694" fmla="val 1001"/>
                  <a:gd name="f695" fmla="val 992"/>
                  <a:gd name="f696" fmla="val 344"/>
                  <a:gd name="f697" fmla="val 985"/>
                  <a:gd name="f698" fmla="val 336"/>
                  <a:gd name="f699" fmla="val 330"/>
                  <a:gd name="f700" fmla="val 328"/>
                  <a:gd name="f701" fmla="val 308"/>
                  <a:gd name="f702" fmla="val 301"/>
                  <a:gd name="f703" fmla="val 298"/>
                  <a:gd name="f704" fmla="val 903"/>
                  <a:gd name="f705" fmla="val 898"/>
                  <a:gd name="f706" fmla="val 303"/>
                  <a:gd name="f707" fmla="val 891"/>
                  <a:gd name="f708" fmla="val 885"/>
                  <a:gd name="f709" fmla="val 879"/>
                  <a:gd name="f710" fmla="val 312"/>
                  <a:gd name="f711" fmla="val 873"/>
                  <a:gd name="f712" fmla="val 309"/>
                  <a:gd name="f713" fmla="val 868"/>
                  <a:gd name="f714" fmla="val 294"/>
                  <a:gd name="f715" fmla="val 850"/>
                  <a:gd name="f716" fmla="val 841"/>
                  <a:gd name="f717" fmla="val 830"/>
                  <a:gd name="f718" fmla="val 819"/>
                  <a:gd name="f719" fmla="val 289"/>
                  <a:gd name="f720" fmla="val 809"/>
                  <a:gd name="f721" fmla="val 283"/>
                  <a:gd name="f722" fmla="val 278"/>
                  <a:gd name="f723" fmla="val 813"/>
                  <a:gd name="f724" fmla="val 816"/>
                  <a:gd name="f725" fmla="val 818"/>
                  <a:gd name="f726" fmla="val 265"/>
                  <a:gd name="f727" fmla="val 262"/>
                  <a:gd name="f728" fmla="val 817"/>
                  <a:gd name="f729" fmla="val 260"/>
                  <a:gd name="f730" fmla="val 799"/>
                  <a:gd name="f731" fmla="val 254"/>
                  <a:gd name="f732" fmla="val 775"/>
                  <a:gd name="f733" fmla="val 238"/>
                  <a:gd name="f734" fmla="val 774"/>
                  <a:gd name="f735" fmla="val 776"/>
                  <a:gd name="f736" fmla="val 179"/>
                  <a:gd name="f737" fmla="val 778"/>
                  <a:gd name="f738" fmla="val 145"/>
                  <a:gd name="f739" fmla="val 123"/>
                  <a:gd name="f740" fmla="val 118"/>
                  <a:gd name="f741" fmla="val 115"/>
                  <a:gd name="f742" fmla="val 111"/>
                  <a:gd name="f743" fmla="val 769"/>
                  <a:gd name="f744" fmla="val 108"/>
                  <a:gd name="f745" fmla="val 765"/>
                  <a:gd name="f746" fmla="val 101"/>
                  <a:gd name="f747" fmla="val 88"/>
                  <a:gd name="f748" fmla="val 760"/>
                  <a:gd name="f749" fmla="val 758"/>
                  <a:gd name="f750" fmla="val 69"/>
                  <a:gd name="f751" fmla="val 65"/>
                  <a:gd name="f752" fmla="val 64"/>
                  <a:gd name="f753" fmla="val 63"/>
                  <a:gd name="f754" fmla="val 62"/>
                  <a:gd name="f755" fmla="val 777"/>
                  <a:gd name="f756" fmla="val 54"/>
                  <a:gd name="f757" fmla="val 782"/>
                  <a:gd name="f758" fmla="val 36"/>
                  <a:gd name="f759" fmla="val 784"/>
                  <a:gd name="f760" fmla="val 28"/>
                  <a:gd name="f761" fmla="val 785"/>
                  <a:gd name="f762" fmla="val 21"/>
                  <a:gd name="f763" fmla="val 16"/>
                  <a:gd name="f764" fmla="val 11"/>
                  <a:gd name="f765" fmla="val 6"/>
                  <a:gd name="f766" fmla="val 1"/>
                  <a:gd name="f767" fmla="val 770"/>
                  <a:gd name="f768" fmla="val 766"/>
                  <a:gd name="f769" fmla="val 2"/>
                  <a:gd name="f770" fmla="val 756"/>
                  <a:gd name="f771" fmla="val 748"/>
                  <a:gd name="f772" fmla="val 739"/>
                  <a:gd name="f773" fmla="val 26"/>
                  <a:gd name="f774" fmla="val 719"/>
                  <a:gd name="f775" fmla="val 42"/>
                  <a:gd name="f776" fmla="val 702"/>
                  <a:gd name="f777" fmla="val 44"/>
                  <a:gd name="f778" fmla="val 696"/>
                  <a:gd name="f779" fmla="val 43"/>
                  <a:gd name="f780" fmla="val 677"/>
                  <a:gd name="f781" fmla="val 39"/>
                  <a:gd name="f782" fmla="val 643"/>
                  <a:gd name="f783" fmla="val 633"/>
                  <a:gd name="f784" fmla="val 627"/>
                  <a:gd name="f785" fmla="val 47"/>
                  <a:gd name="f786" fmla="val 112"/>
                  <a:gd name="f787" fmla="val 122"/>
                  <a:gd name="f788" fmla="val 564"/>
                  <a:gd name="f789" fmla="val 531"/>
                  <a:gd name="f790" fmla="val 150"/>
                  <a:gd name="f791" fmla="val 500"/>
                  <a:gd name="f792" fmla="val 494"/>
                  <a:gd name="f793" fmla="val 164"/>
                  <a:gd name="f794" fmla="val 489"/>
                  <a:gd name="f795" fmla="val 486"/>
                  <a:gd name="f796" fmla="val 488"/>
                  <a:gd name="f797" fmla="val 228"/>
                  <a:gd name="f798" fmla="val 493"/>
                  <a:gd name="f799" fmla="val 239"/>
                  <a:gd name="f800" fmla="val 483"/>
                  <a:gd name="f801" fmla="val 473"/>
                  <a:gd name="f802" fmla="val 271"/>
                  <a:gd name="f803" fmla="val 273"/>
                  <a:gd name="f804" fmla="val 427"/>
                  <a:gd name="f805" fmla="val 409"/>
                  <a:gd name="f806" fmla="val 389"/>
                  <a:gd name="f807" fmla="val 281"/>
                  <a:gd name="f808" fmla="val 388"/>
                  <a:gd name="f809" fmla="val 276"/>
                  <a:gd name="f810" fmla="val 397"/>
                  <a:gd name="f811" fmla="val 251"/>
                  <a:gd name="f812" fmla="val 400"/>
                  <a:gd name="f813" fmla="val 398"/>
                  <a:gd name="f814" fmla="val 369"/>
                  <a:gd name="f815" fmla="val 246"/>
                  <a:gd name="f816" fmla="val 361"/>
                  <a:gd name="f817" fmla="val 225"/>
                  <a:gd name="f818" fmla="val 359"/>
                  <a:gd name="f819" fmla="val 216"/>
                  <a:gd name="f820" fmla="val 353"/>
                  <a:gd name="f821" fmla="val 349"/>
                  <a:gd name="f822" fmla="val 210"/>
                  <a:gd name="f823" fmla="val 207"/>
                  <a:gd name="f824" fmla="val 203"/>
                  <a:gd name="f825" fmla="val 188"/>
                  <a:gd name="f826" fmla="val 346"/>
                  <a:gd name="f827" fmla="val 183"/>
                  <a:gd name="f828" fmla="val 338"/>
                  <a:gd name="f829" fmla="val 184"/>
                  <a:gd name="f830" fmla="val 323"/>
                  <a:gd name="f831" fmla="val 189"/>
                  <a:gd name="f832" fmla="val 315"/>
                  <a:gd name="f833" fmla="val 306"/>
                  <a:gd name="f834" fmla="val 279"/>
                  <a:gd name="f835" fmla="val 219"/>
                  <a:gd name="f836" fmla="val 229"/>
                  <a:gd name="f837" fmla="val 223"/>
                  <a:gd name="f838" fmla="val 226"/>
                  <a:gd name="f839" fmla="val 247"/>
                  <a:gd name="f840" fmla="val 252"/>
                  <a:gd name="f841" fmla="val 194"/>
                  <a:gd name="f842" fmla="val 268"/>
                  <a:gd name="f843" fmla="val 186"/>
                  <a:gd name="f844" fmla="val 270"/>
                  <a:gd name="f845" fmla="val 267"/>
                  <a:gd name="f846" fmla="val 170"/>
                  <a:gd name="f847" fmla="val 253"/>
                  <a:gd name="f848" fmla="val 142"/>
                  <a:gd name="f849" fmla="val 133"/>
                  <a:gd name="f850" fmla="val 121"/>
                  <a:gd name="f851" fmla="val 110"/>
                  <a:gd name="f852" fmla="val 93"/>
                  <a:gd name="f853" fmla="val 84"/>
                  <a:gd name="f854" fmla="val 71"/>
                  <a:gd name="f855" fmla="val 58"/>
                  <a:gd name="f856" fmla="val 263"/>
                  <a:gd name="f857" fmla="val 57"/>
                  <a:gd name="f858" fmla="val 321"/>
                  <a:gd name="f859" fmla="val 380"/>
                  <a:gd name="f860" fmla="val 12"/>
                  <a:gd name="f861" fmla="val 383"/>
                  <a:gd name="f862" fmla="val 9"/>
                  <a:gd name="f863" fmla="val 5"/>
                  <a:gd name="f864" fmla="+- 0 0 -90"/>
                  <a:gd name="f865" fmla="*/ f4 1 1009"/>
                  <a:gd name="f866" fmla="*/ f5 1 1777"/>
                  <a:gd name="f867" fmla="+- f8 0 f6"/>
                  <a:gd name="f868" fmla="+- f7 0 f6"/>
                  <a:gd name="f869" fmla="*/ f864 f0 1"/>
                  <a:gd name="f870" fmla="*/ f868 1 1009"/>
                  <a:gd name="f871" fmla="*/ f867 1 1777"/>
                  <a:gd name="f872" fmla="*/ f869 1 f3"/>
                  <a:gd name="f873" fmla="*/ 423 1 f870"/>
                  <a:gd name="f874" fmla="*/ 94 1 f871"/>
                  <a:gd name="f875" fmla="*/ 490 1 f870"/>
                  <a:gd name="f876" fmla="*/ 38 1 f871"/>
                  <a:gd name="f877" fmla="*/ 573 1 f870"/>
                  <a:gd name="f878" fmla="*/ 86 1 f871"/>
                  <a:gd name="f879" fmla="*/ 706 1 f870"/>
                  <a:gd name="f880" fmla="*/ 181 1 f871"/>
                  <a:gd name="f881" fmla="*/ 767 1 f870"/>
                  <a:gd name="f882" fmla="*/ 202 1 f871"/>
                  <a:gd name="f883" fmla="*/ 862 1 f870"/>
                  <a:gd name="f884" fmla="*/ 174 1 f871"/>
                  <a:gd name="f885" fmla="*/ 958 1 f870"/>
                  <a:gd name="f886" fmla="*/ 237 1 f871"/>
                  <a:gd name="f887" fmla="*/ 1002 1 f870"/>
                  <a:gd name="f888" fmla="*/ 209 1 f871"/>
                  <a:gd name="f889" fmla="*/ 956 1 f870"/>
                  <a:gd name="f890" fmla="*/ 292 1 f871"/>
                  <a:gd name="f891" fmla="*/ 965 1 f870"/>
                  <a:gd name="f892" fmla="*/ 370 1 f871"/>
                  <a:gd name="f893" fmla="*/ 938 1 f870"/>
                  <a:gd name="f894" fmla="*/ 485 1 f871"/>
                  <a:gd name="f895" fmla="*/ 984 1 f870"/>
                  <a:gd name="f896" fmla="*/ 591 1 f871"/>
                  <a:gd name="f897" fmla="*/ 934 1 f870"/>
                  <a:gd name="f898" fmla="*/ 594 1 f871"/>
                  <a:gd name="f899" fmla="*/ 943 1 f870"/>
                  <a:gd name="f900" fmla="*/ 659 1 f871"/>
                  <a:gd name="f901" fmla="*/ 814 1 f870"/>
                  <a:gd name="f902" fmla="*/ 757 1 f871"/>
                  <a:gd name="f903" fmla="*/ 728 1 f870"/>
                  <a:gd name="f904" fmla="*/ 863 1 f871"/>
                  <a:gd name="f905" fmla="*/ 759 1 f870"/>
                  <a:gd name="f906" fmla="*/ 921 1 f871"/>
                  <a:gd name="f907" fmla="*/ 720 1 f870"/>
                  <a:gd name="f908" fmla="*/ 1042 1 f871"/>
                  <a:gd name="f909" fmla="*/ 660 1 f870"/>
                  <a:gd name="f910" fmla="*/ 1121 1 f871"/>
                  <a:gd name="f911" fmla="*/ 584 1 f870"/>
                  <a:gd name="f912" fmla="*/ 1193 1 f871"/>
                  <a:gd name="f913" fmla="*/ 547 1 f870"/>
                  <a:gd name="f914" fmla="*/ 1249 1 f871"/>
                  <a:gd name="f915" fmla="*/ 579 1 f870"/>
                  <a:gd name="f916" fmla="*/ 1312 1 f871"/>
                  <a:gd name="f917" fmla="*/ 539 1 f870"/>
                  <a:gd name="f918" fmla="*/ 1432 1 f871"/>
                  <a:gd name="f919" fmla="*/ 548 1 f870"/>
                  <a:gd name="f920" fmla="*/ 1549 1 f871"/>
                  <a:gd name="f921" fmla="*/ 551 1 f870"/>
                  <a:gd name="f922" fmla="*/ 1774 1 f871"/>
                  <a:gd name="f923" fmla="*/ 498 1 f870"/>
                  <a:gd name="f924" fmla="*/ 1748 1 f871"/>
                  <a:gd name="f925" fmla="*/ 436 1 f870"/>
                  <a:gd name="f926" fmla="*/ 1729 1 f871"/>
                  <a:gd name="f927" fmla="*/ 392 1 f870"/>
                  <a:gd name="f928" fmla="*/ 1691 1 f871"/>
                  <a:gd name="f929" fmla="*/ 347 1 f870"/>
                  <a:gd name="f930" fmla="*/ 1669 1 f871"/>
                  <a:gd name="f931" fmla="*/ 320 1 f870"/>
                  <a:gd name="f932" fmla="*/ 1643 1 f871"/>
                  <a:gd name="f933" fmla="*/ 300 1 f870"/>
                  <a:gd name="f934" fmla="*/ 1595 1 f871"/>
                  <a:gd name="f935" fmla="*/ 234 1 f870"/>
                  <a:gd name="f936" fmla="*/ 1557 1 f871"/>
                  <a:gd name="f937" fmla="*/ 187 1 f870"/>
                  <a:gd name="f938" fmla="*/ 1537 1 f871"/>
                  <a:gd name="f939" fmla="*/ 153 1 f870"/>
                  <a:gd name="f940" fmla="*/ 1442 1 f871"/>
                  <a:gd name="f941" fmla="*/ 132 1 f870"/>
                  <a:gd name="f942" fmla="*/ 1344 1 f871"/>
                  <a:gd name="f943" fmla="*/ 162 1 f870"/>
                  <a:gd name="f944" fmla="*/ 208 1 f870"/>
                  <a:gd name="f945" fmla="*/ 1306 1 f871"/>
                  <a:gd name="f946" fmla="*/ 277 1 f870"/>
                  <a:gd name="f947" fmla="*/ 1217 1 f871"/>
                  <a:gd name="f948" fmla="*/ 351 1 f870"/>
                  <a:gd name="f949" fmla="*/ 1122 1 f871"/>
                  <a:gd name="f950" fmla="*/ 376 1 f870"/>
                  <a:gd name="f951" fmla="*/ 1008 1 f871"/>
                  <a:gd name="f952" fmla="*/ 931 1 f871"/>
                  <a:gd name="f953" fmla="*/ 294 1 f870"/>
                  <a:gd name="f954" fmla="*/ 850 1 f871"/>
                  <a:gd name="f955" fmla="*/ 260 1 f870"/>
                  <a:gd name="f956" fmla="*/ 810 1 f871"/>
                  <a:gd name="f957" fmla="*/ 123 1 f870"/>
                  <a:gd name="f958" fmla="*/ 781 1 f871"/>
                  <a:gd name="f959" fmla="*/ 63 1 f870"/>
                  <a:gd name="f960" fmla="*/ 772 1 f871"/>
                  <a:gd name="f961" fmla="*/ 2 1 f870"/>
                  <a:gd name="f962" fmla="*/ 762 1 f871"/>
                  <a:gd name="f963" fmla="*/ 38 1 f870"/>
                  <a:gd name="f964" fmla="*/ 643 1 f871"/>
                  <a:gd name="f965" fmla="*/ 144 1 f870"/>
                  <a:gd name="f966" fmla="*/ 531 1 f871"/>
                  <a:gd name="f967" fmla="*/ 239 1 f870"/>
                  <a:gd name="f968" fmla="*/ 494 1 f871"/>
                  <a:gd name="f969" fmla="*/ 399 1 f871"/>
                  <a:gd name="f970" fmla="*/ 246 1 f870"/>
                  <a:gd name="f971" fmla="*/ 361 1 f871"/>
                  <a:gd name="f972" fmla="*/ 205 1 f870"/>
                  <a:gd name="f973" fmla="*/ 347 1 f871"/>
                  <a:gd name="f974" fmla="*/ 180 1 f870"/>
                  <a:gd name="f975" fmla="*/ 335 1 f871"/>
                  <a:gd name="f976" fmla="*/ 219 1 f870"/>
                  <a:gd name="f977" fmla="*/ 266 1 f871"/>
                  <a:gd name="f978" fmla="*/ 250 1 f870"/>
                  <a:gd name="f979" fmla="*/ 205 1 f871"/>
                  <a:gd name="f980" fmla="*/ 235 1 f870"/>
                  <a:gd name="f981" fmla="*/ 154 1 f871"/>
                  <a:gd name="f982" fmla="*/ 247 1 f870"/>
                  <a:gd name="f983" fmla="*/ 71 1 f871"/>
                  <a:gd name="f984" fmla="*/ 27 1 f871"/>
                  <a:gd name="f985" fmla="*/ 0 1 f870"/>
                  <a:gd name="f986" fmla="*/ f7 1 f870"/>
                  <a:gd name="f987" fmla="*/ 0 1 f871"/>
                  <a:gd name="f988" fmla="*/ f8 1 f871"/>
                  <a:gd name="f989" fmla="+- f872 0 f1"/>
                  <a:gd name="f990" fmla="*/ f985 f865 1"/>
                  <a:gd name="f991" fmla="*/ f986 f865 1"/>
                  <a:gd name="f992" fmla="*/ f988 f866 1"/>
                  <a:gd name="f993" fmla="*/ f987 f866 1"/>
                  <a:gd name="f994" fmla="*/ f873 f865 1"/>
                  <a:gd name="f995" fmla="*/ f874 f866 1"/>
                  <a:gd name="f996" fmla="*/ f875 f865 1"/>
                  <a:gd name="f997" fmla="*/ f876 f866 1"/>
                  <a:gd name="f998" fmla="*/ f877 f865 1"/>
                  <a:gd name="f999" fmla="*/ f878 f866 1"/>
                  <a:gd name="f1000" fmla="*/ f879 f865 1"/>
                  <a:gd name="f1001" fmla="*/ f880 f866 1"/>
                  <a:gd name="f1002" fmla="*/ f881 f865 1"/>
                  <a:gd name="f1003" fmla="*/ f882 f866 1"/>
                  <a:gd name="f1004" fmla="*/ f883 f865 1"/>
                  <a:gd name="f1005" fmla="*/ f884 f866 1"/>
                  <a:gd name="f1006" fmla="*/ f885 f865 1"/>
                  <a:gd name="f1007" fmla="*/ f886 f866 1"/>
                  <a:gd name="f1008" fmla="*/ f887 f865 1"/>
                  <a:gd name="f1009" fmla="*/ f888 f866 1"/>
                  <a:gd name="f1010" fmla="*/ f889 f865 1"/>
                  <a:gd name="f1011" fmla="*/ f890 f866 1"/>
                  <a:gd name="f1012" fmla="*/ f891 f865 1"/>
                  <a:gd name="f1013" fmla="*/ f892 f866 1"/>
                  <a:gd name="f1014" fmla="*/ f893 f865 1"/>
                  <a:gd name="f1015" fmla="*/ f894 f866 1"/>
                  <a:gd name="f1016" fmla="*/ f895 f865 1"/>
                  <a:gd name="f1017" fmla="*/ f896 f866 1"/>
                  <a:gd name="f1018" fmla="*/ f897 f865 1"/>
                  <a:gd name="f1019" fmla="*/ f898 f866 1"/>
                  <a:gd name="f1020" fmla="*/ f899 f865 1"/>
                  <a:gd name="f1021" fmla="*/ f900 f866 1"/>
                  <a:gd name="f1022" fmla="*/ f901 f865 1"/>
                  <a:gd name="f1023" fmla="*/ f902 f866 1"/>
                  <a:gd name="f1024" fmla="*/ f903 f865 1"/>
                  <a:gd name="f1025" fmla="*/ f904 f866 1"/>
                  <a:gd name="f1026" fmla="*/ f905 f865 1"/>
                  <a:gd name="f1027" fmla="*/ f906 f866 1"/>
                  <a:gd name="f1028" fmla="*/ f907 f865 1"/>
                  <a:gd name="f1029" fmla="*/ f908 f866 1"/>
                  <a:gd name="f1030" fmla="*/ f909 f865 1"/>
                  <a:gd name="f1031" fmla="*/ f910 f866 1"/>
                  <a:gd name="f1032" fmla="*/ f911 f865 1"/>
                  <a:gd name="f1033" fmla="*/ f912 f866 1"/>
                  <a:gd name="f1034" fmla="*/ f913 f865 1"/>
                  <a:gd name="f1035" fmla="*/ f914 f866 1"/>
                  <a:gd name="f1036" fmla="*/ f915 f865 1"/>
                  <a:gd name="f1037" fmla="*/ f916 f866 1"/>
                  <a:gd name="f1038" fmla="*/ f917 f865 1"/>
                  <a:gd name="f1039" fmla="*/ f918 f866 1"/>
                  <a:gd name="f1040" fmla="*/ f919 f865 1"/>
                  <a:gd name="f1041" fmla="*/ f920 f866 1"/>
                  <a:gd name="f1042" fmla="*/ f921 f865 1"/>
                  <a:gd name="f1043" fmla="*/ f922 f866 1"/>
                  <a:gd name="f1044" fmla="*/ f923 f865 1"/>
                  <a:gd name="f1045" fmla="*/ f924 f866 1"/>
                  <a:gd name="f1046" fmla="*/ f925 f865 1"/>
                  <a:gd name="f1047" fmla="*/ f926 f866 1"/>
                  <a:gd name="f1048" fmla="*/ f927 f865 1"/>
                  <a:gd name="f1049" fmla="*/ f928 f866 1"/>
                  <a:gd name="f1050" fmla="*/ f929 f865 1"/>
                  <a:gd name="f1051" fmla="*/ f930 f866 1"/>
                  <a:gd name="f1052" fmla="*/ f931 f865 1"/>
                  <a:gd name="f1053" fmla="*/ f932 f866 1"/>
                  <a:gd name="f1054" fmla="*/ f933 f865 1"/>
                  <a:gd name="f1055" fmla="*/ f934 f866 1"/>
                  <a:gd name="f1056" fmla="*/ f935 f865 1"/>
                  <a:gd name="f1057" fmla="*/ f936 f866 1"/>
                  <a:gd name="f1058" fmla="*/ f937 f865 1"/>
                  <a:gd name="f1059" fmla="*/ f938 f866 1"/>
                  <a:gd name="f1060" fmla="*/ f939 f865 1"/>
                  <a:gd name="f1061" fmla="*/ f940 f866 1"/>
                  <a:gd name="f1062" fmla="*/ f941 f865 1"/>
                  <a:gd name="f1063" fmla="*/ f942 f866 1"/>
                  <a:gd name="f1064" fmla="*/ f943 f865 1"/>
                  <a:gd name="f1065" fmla="*/ f944 f865 1"/>
                  <a:gd name="f1066" fmla="*/ f945 f866 1"/>
                  <a:gd name="f1067" fmla="*/ f946 f865 1"/>
                  <a:gd name="f1068" fmla="*/ f947 f866 1"/>
                  <a:gd name="f1069" fmla="*/ f948 f865 1"/>
                  <a:gd name="f1070" fmla="*/ f949 f866 1"/>
                  <a:gd name="f1071" fmla="*/ f950 f865 1"/>
                  <a:gd name="f1072" fmla="*/ f951 f866 1"/>
                  <a:gd name="f1073" fmla="*/ f952 f866 1"/>
                  <a:gd name="f1074" fmla="*/ f953 f865 1"/>
                  <a:gd name="f1075" fmla="*/ f954 f866 1"/>
                  <a:gd name="f1076" fmla="*/ f955 f865 1"/>
                  <a:gd name="f1077" fmla="*/ f956 f866 1"/>
                  <a:gd name="f1078" fmla="*/ f957 f865 1"/>
                  <a:gd name="f1079" fmla="*/ f958 f866 1"/>
                  <a:gd name="f1080" fmla="*/ f959 f865 1"/>
                  <a:gd name="f1081" fmla="*/ f960 f866 1"/>
                  <a:gd name="f1082" fmla="*/ f961 f865 1"/>
                  <a:gd name="f1083" fmla="*/ f962 f866 1"/>
                  <a:gd name="f1084" fmla="*/ f963 f865 1"/>
                  <a:gd name="f1085" fmla="*/ f964 f866 1"/>
                  <a:gd name="f1086" fmla="*/ f965 f865 1"/>
                  <a:gd name="f1087" fmla="*/ f966 f866 1"/>
                  <a:gd name="f1088" fmla="*/ f967 f865 1"/>
                  <a:gd name="f1089" fmla="*/ f968 f866 1"/>
                  <a:gd name="f1090" fmla="*/ f969 f866 1"/>
                  <a:gd name="f1091" fmla="*/ f970 f865 1"/>
                  <a:gd name="f1092" fmla="*/ f971 f866 1"/>
                  <a:gd name="f1093" fmla="*/ f972 f865 1"/>
                  <a:gd name="f1094" fmla="*/ f973 f866 1"/>
                  <a:gd name="f1095" fmla="*/ f974 f865 1"/>
                  <a:gd name="f1096" fmla="*/ f975 f866 1"/>
                  <a:gd name="f1097" fmla="*/ f976 f865 1"/>
                  <a:gd name="f1098" fmla="*/ f977 f866 1"/>
                  <a:gd name="f1099" fmla="*/ f978 f865 1"/>
                  <a:gd name="f1100" fmla="*/ f979 f866 1"/>
                  <a:gd name="f1101" fmla="*/ f980 f865 1"/>
                  <a:gd name="f1102" fmla="*/ f981 f866 1"/>
                  <a:gd name="f1103" fmla="*/ f982 f865 1"/>
                  <a:gd name="f1104" fmla="*/ f983 f866 1"/>
                  <a:gd name="f1105" fmla="*/ f984 f86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989">
                    <a:pos x="f994" y="f995"/>
                  </a:cxn>
                  <a:cxn ang="f989">
                    <a:pos x="f996" y="f997"/>
                  </a:cxn>
                  <a:cxn ang="f989">
                    <a:pos x="f998" y="f999"/>
                  </a:cxn>
                  <a:cxn ang="f989">
                    <a:pos x="f1000" y="f1001"/>
                  </a:cxn>
                  <a:cxn ang="f989">
                    <a:pos x="f1002" y="f1003"/>
                  </a:cxn>
                  <a:cxn ang="f989">
                    <a:pos x="f1004" y="f1005"/>
                  </a:cxn>
                  <a:cxn ang="f989">
                    <a:pos x="f1006" y="f1007"/>
                  </a:cxn>
                  <a:cxn ang="f989">
                    <a:pos x="f1008" y="f1009"/>
                  </a:cxn>
                  <a:cxn ang="f989">
                    <a:pos x="f1010" y="f1011"/>
                  </a:cxn>
                  <a:cxn ang="f989">
                    <a:pos x="f1012" y="f1013"/>
                  </a:cxn>
                  <a:cxn ang="f989">
                    <a:pos x="f1014" y="f1015"/>
                  </a:cxn>
                  <a:cxn ang="f989">
                    <a:pos x="f1016" y="f1017"/>
                  </a:cxn>
                  <a:cxn ang="f989">
                    <a:pos x="f1018" y="f1019"/>
                  </a:cxn>
                  <a:cxn ang="f989">
                    <a:pos x="f1020" y="f1021"/>
                  </a:cxn>
                  <a:cxn ang="f989">
                    <a:pos x="f1022" y="f1023"/>
                  </a:cxn>
                  <a:cxn ang="f989">
                    <a:pos x="f1024" y="f1025"/>
                  </a:cxn>
                  <a:cxn ang="f989">
                    <a:pos x="f1026" y="f1027"/>
                  </a:cxn>
                  <a:cxn ang="f989">
                    <a:pos x="f1028" y="f1029"/>
                  </a:cxn>
                  <a:cxn ang="f989">
                    <a:pos x="f1030" y="f1031"/>
                  </a:cxn>
                  <a:cxn ang="f989">
                    <a:pos x="f1032" y="f1033"/>
                  </a:cxn>
                  <a:cxn ang="f989">
                    <a:pos x="f1034" y="f1035"/>
                  </a:cxn>
                  <a:cxn ang="f989">
                    <a:pos x="f1036" y="f1037"/>
                  </a:cxn>
                  <a:cxn ang="f989">
                    <a:pos x="f1038" y="f1039"/>
                  </a:cxn>
                  <a:cxn ang="f989">
                    <a:pos x="f1040" y="f1041"/>
                  </a:cxn>
                  <a:cxn ang="f989">
                    <a:pos x="f1042" y="f1043"/>
                  </a:cxn>
                  <a:cxn ang="f989">
                    <a:pos x="f1044" y="f1045"/>
                  </a:cxn>
                  <a:cxn ang="f989">
                    <a:pos x="f1046" y="f1047"/>
                  </a:cxn>
                  <a:cxn ang="f989">
                    <a:pos x="f1048" y="f1049"/>
                  </a:cxn>
                  <a:cxn ang="f989">
                    <a:pos x="f1050" y="f1051"/>
                  </a:cxn>
                  <a:cxn ang="f989">
                    <a:pos x="f1052" y="f1053"/>
                  </a:cxn>
                  <a:cxn ang="f989">
                    <a:pos x="f1054" y="f1055"/>
                  </a:cxn>
                  <a:cxn ang="f989">
                    <a:pos x="f1056" y="f1057"/>
                  </a:cxn>
                  <a:cxn ang="f989">
                    <a:pos x="f1058" y="f1059"/>
                  </a:cxn>
                  <a:cxn ang="f989">
                    <a:pos x="f1060" y="f1061"/>
                  </a:cxn>
                  <a:cxn ang="f989">
                    <a:pos x="f1062" y="f1063"/>
                  </a:cxn>
                  <a:cxn ang="f989">
                    <a:pos x="f1064" y="f1037"/>
                  </a:cxn>
                  <a:cxn ang="f989">
                    <a:pos x="f1065" y="f1066"/>
                  </a:cxn>
                  <a:cxn ang="f989">
                    <a:pos x="f1067" y="f1068"/>
                  </a:cxn>
                  <a:cxn ang="f989">
                    <a:pos x="f1069" y="f1033"/>
                  </a:cxn>
                  <a:cxn ang="f989">
                    <a:pos x="f1054" y="f1070"/>
                  </a:cxn>
                  <a:cxn ang="f989">
                    <a:pos x="f1071" y="f1072"/>
                  </a:cxn>
                  <a:cxn ang="f989">
                    <a:pos x="f1052" y="f1073"/>
                  </a:cxn>
                  <a:cxn ang="f989">
                    <a:pos x="f1074" y="f1075"/>
                  </a:cxn>
                  <a:cxn ang="f989">
                    <a:pos x="f1076" y="f1077"/>
                  </a:cxn>
                  <a:cxn ang="f989">
                    <a:pos x="f1078" y="f1079"/>
                  </a:cxn>
                  <a:cxn ang="f989">
                    <a:pos x="f1080" y="f1081"/>
                  </a:cxn>
                  <a:cxn ang="f989">
                    <a:pos x="f1082" y="f1083"/>
                  </a:cxn>
                  <a:cxn ang="f989">
                    <a:pos x="f1084" y="f1085"/>
                  </a:cxn>
                  <a:cxn ang="f989">
                    <a:pos x="f1086" y="f1087"/>
                  </a:cxn>
                  <a:cxn ang="f989">
                    <a:pos x="f1088" y="f1089"/>
                  </a:cxn>
                  <a:cxn ang="f989">
                    <a:pos x="f1074" y="f1090"/>
                  </a:cxn>
                  <a:cxn ang="f989">
                    <a:pos x="f1091" y="f1092"/>
                  </a:cxn>
                  <a:cxn ang="f989">
                    <a:pos x="f1093" y="f1094"/>
                  </a:cxn>
                  <a:cxn ang="f989">
                    <a:pos x="f1095" y="f1096"/>
                  </a:cxn>
                  <a:cxn ang="f989">
                    <a:pos x="f1097" y="f1098"/>
                  </a:cxn>
                  <a:cxn ang="f989">
                    <a:pos x="f1099" y="f1100"/>
                  </a:cxn>
                  <a:cxn ang="f989">
                    <a:pos x="f1101" y="f1102"/>
                  </a:cxn>
                  <a:cxn ang="f989">
                    <a:pos x="f1103" y="f1104"/>
                  </a:cxn>
                  <a:cxn ang="f989">
                    <a:pos x="f1071" y="f1105"/>
                  </a:cxn>
                </a:cxnLst>
                <a:rect l="f990" t="f993" r="f991" b="f992"/>
                <a:pathLst>
                  <a:path w="1009" h="1777">
                    <a:moveTo>
                      <a:pt x="f9" y="f6"/>
                    </a:move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18" y="f20"/>
                    </a:lnTo>
                    <a:lnTo>
                      <a:pt x="f16" y="f21"/>
                    </a:lnTo>
                    <a:lnTo>
                      <a:pt x="f22" y="f23"/>
                    </a:lnTo>
                    <a:lnTo>
                      <a:pt x="f16" y="f24"/>
                    </a:lnTo>
                    <a:lnTo>
                      <a:pt x="f18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25"/>
                    </a:lnTo>
                    <a:lnTo>
                      <a:pt x="f39" y="f40"/>
                    </a:lnTo>
                    <a:lnTo>
                      <a:pt x="f41" y="f42"/>
                    </a:lnTo>
                    <a:lnTo>
                      <a:pt x="f43" y="f44"/>
                    </a:lnTo>
                    <a:lnTo>
                      <a:pt x="f45" y="f19"/>
                    </a:lnTo>
                    <a:lnTo>
                      <a:pt x="f46" y="f17"/>
                    </a:lnTo>
                    <a:lnTo>
                      <a:pt x="f47" y="f48"/>
                    </a:lnTo>
                    <a:lnTo>
                      <a:pt x="f49" y="f50"/>
                    </a:lnTo>
                    <a:lnTo>
                      <a:pt x="f51" y="f52"/>
                    </a:lnTo>
                    <a:lnTo>
                      <a:pt x="f53" y="f52"/>
                    </a:lnTo>
                    <a:lnTo>
                      <a:pt x="f54" y="f50"/>
                    </a:lnTo>
                    <a:lnTo>
                      <a:pt x="f55" y="f56"/>
                    </a:lnTo>
                    <a:lnTo>
                      <a:pt x="f57" y="f20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25"/>
                    </a:lnTo>
                    <a:lnTo>
                      <a:pt x="f69" y="f70"/>
                    </a:lnTo>
                    <a:lnTo>
                      <a:pt x="f71" y="f72"/>
                    </a:lnTo>
                    <a:lnTo>
                      <a:pt x="f73" y="f74"/>
                    </a:lnTo>
                    <a:lnTo>
                      <a:pt x="f75" y="f76"/>
                    </a:lnTo>
                    <a:lnTo>
                      <a:pt x="f77" y="f78"/>
                    </a:lnTo>
                    <a:lnTo>
                      <a:pt x="f79" y="f80"/>
                    </a:lnTo>
                    <a:lnTo>
                      <a:pt x="f81" y="f82"/>
                    </a:lnTo>
                    <a:lnTo>
                      <a:pt x="f83" y="f84"/>
                    </a:lnTo>
                    <a:lnTo>
                      <a:pt x="f85" y="f86"/>
                    </a:lnTo>
                    <a:lnTo>
                      <a:pt x="f87" y="f88"/>
                    </a:lnTo>
                    <a:lnTo>
                      <a:pt x="f89" y="f3"/>
                    </a:lnTo>
                    <a:lnTo>
                      <a:pt x="f90" y="f91"/>
                    </a:ln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102" y="f103"/>
                    </a:lnTo>
                    <a:lnTo>
                      <a:pt x="f104" y="f101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109" y="f110"/>
                    </a:lnTo>
                    <a:lnTo>
                      <a:pt x="f111" y="f108"/>
                    </a:lnTo>
                    <a:lnTo>
                      <a:pt x="f112" y="f106"/>
                    </a:lnTo>
                    <a:lnTo>
                      <a:pt x="f113" y="f101"/>
                    </a:lnTo>
                    <a:lnTo>
                      <a:pt x="f114" y="f101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119" y="f120"/>
                    </a:lnTo>
                    <a:lnTo>
                      <a:pt x="f121" y="f122"/>
                    </a:lnTo>
                    <a:lnTo>
                      <a:pt x="f123" y="f124"/>
                    </a:lnTo>
                    <a:lnTo>
                      <a:pt x="f125" y="f126"/>
                    </a:lnTo>
                    <a:lnTo>
                      <a:pt x="f127" y="f126"/>
                    </a:lnTo>
                    <a:lnTo>
                      <a:pt x="f128" y="f124"/>
                    </a:lnTo>
                    <a:lnTo>
                      <a:pt x="f129" y="f84"/>
                    </a:lnTo>
                    <a:lnTo>
                      <a:pt x="f130" y="f131"/>
                    </a:lnTo>
                    <a:lnTo>
                      <a:pt x="f132" y="f133"/>
                    </a:lnTo>
                    <a:lnTo>
                      <a:pt x="f134" y="f135"/>
                    </a:lnTo>
                    <a:lnTo>
                      <a:pt x="f136" y="f108"/>
                    </a:lnTo>
                    <a:lnTo>
                      <a:pt x="f137" y="f101"/>
                    </a:lnTo>
                    <a:lnTo>
                      <a:pt x="f138" y="f103"/>
                    </a:lnTo>
                    <a:lnTo>
                      <a:pt x="f139" y="f101"/>
                    </a:lnTo>
                    <a:lnTo>
                      <a:pt x="f140" y="f103"/>
                    </a:lnTo>
                    <a:lnTo>
                      <a:pt x="f141" y="f142"/>
                    </a:lnTo>
                    <a:lnTo>
                      <a:pt x="f143" y="f144"/>
                    </a:lnTo>
                    <a:lnTo>
                      <a:pt x="f145" y="f146"/>
                    </a:ln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lnTo>
                      <a:pt x="f153" y="f154"/>
                    </a:lnTo>
                    <a:lnTo>
                      <a:pt x="f155" y="f156"/>
                    </a:lnTo>
                    <a:lnTo>
                      <a:pt x="f157" y="f158"/>
                    </a:lnTo>
                    <a:lnTo>
                      <a:pt x="f159" y="f160"/>
                    </a:lnTo>
                    <a:lnTo>
                      <a:pt x="f159" y="f161"/>
                    </a:lnTo>
                    <a:lnTo>
                      <a:pt x="f162" y="f163"/>
                    </a:lnTo>
                    <a:lnTo>
                      <a:pt x="f164" y="f106"/>
                    </a:lnTo>
                    <a:lnTo>
                      <a:pt x="f165" y="f99"/>
                    </a:lnTo>
                    <a:lnTo>
                      <a:pt x="f166" y="f116"/>
                    </a:lnTo>
                    <a:lnTo>
                      <a:pt x="f167" y="f101"/>
                    </a:lnTo>
                    <a:lnTo>
                      <a:pt x="f168" y="f169"/>
                    </a:lnTo>
                    <a:lnTo>
                      <a:pt x="f170" y="f171"/>
                    </a:lnTo>
                    <a:lnTo>
                      <a:pt x="f7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lnTo>
                      <a:pt x="f177" y="f178"/>
                    </a:lnTo>
                    <a:lnTo>
                      <a:pt x="f179" y="f180"/>
                    </a:lnTo>
                    <a:lnTo>
                      <a:pt x="f181" y="f182"/>
                    </a:lnTo>
                    <a:lnTo>
                      <a:pt x="f183" y="f184"/>
                    </a:lnTo>
                    <a:lnTo>
                      <a:pt x="f185" y="f186"/>
                    </a:lnTo>
                    <a:lnTo>
                      <a:pt x="f187" y="f188"/>
                    </a:lnTo>
                    <a:lnTo>
                      <a:pt x="f189" y="f190"/>
                    </a:lnTo>
                    <a:lnTo>
                      <a:pt x="f147" y="f191"/>
                    </a:lnTo>
                    <a:lnTo>
                      <a:pt x="f192" y="f193"/>
                    </a:lnTo>
                    <a:lnTo>
                      <a:pt x="f145" y="f194"/>
                    </a:lnTo>
                    <a:lnTo>
                      <a:pt x="f145" y="f195"/>
                    </a:lnTo>
                    <a:lnTo>
                      <a:pt x="f147" y="f196"/>
                    </a:lnTo>
                    <a:lnTo>
                      <a:pt x="f197" y="f198"/>
                    </a:lnTo>
                    <a:lnTo>
                      <a:pt x="f155" y="f199"/>
                    </a:lnTo>
                    <a:lnTo>
                      <a:pt x="f200" y="f201"/>
                    </a:lnTo>
                    <a:lnTo>
                      <a:pt x="f159" y="f202"/>
                    </a:lnTo>
                    <a:lnTo>
                      <a:pt x="f200" y="f203"/>
                    </a:lnTo>
                    <a:lnTo>
                      <a:pt x="f204" y="f205"/>
                    </a:lnTo>
                    <a:lnTo>
                      <a:pt x="f206" y="f207"/>
                    </a:lnTo>
                    <a:lnTo>
                      <a:pt x="f153" y="f208"/>
                    </a:lnTo>
                    <a:lnTo>
                      <a:pt x="f209" y="f210"/>
                    </a:lnTo>
                    <a:lnTo>
                      <a:pt x="f211" y="f212"/>
                    </a:lnTo>
                    <a:lnTo>
                      <a:pt x="f213" y="f214"/>
                    </a:lnTo>
                    <a:lnTo>
                      <a:pt x="f200" y="f215"/>
                    </a:lnTo>
                    <a:lnTo>
                      <a:pt x="f200" y="f216"/>
                    </a:lnTo>
                    <a:lnTo>
                      <a:pt x="f155" y="f30"/>
                    </a:lnTo>
                    <a:lnTo>
                      <a:pt x="f209" y="f217"/>
                    </a:lnTo>
                    <a:lnTo>
                      <a:pt x="f218" y="f219"/>
                    </a:lnTo>
                    <a:lnTo>
                      <a:pt x="f220" y="f36"/>
                    </a:lnTo>
                    <a:lnTo>
                      <a:pt x="f221" y="f222"/>
                    </a:lnTo>
                    <a:lnTo>
                      <a:pt x="f223" y="f224"/>
                    </a:lnTo>
                    <a:lnTo>
                      <a:pt x="f223" y="f225"/>
                    </a:lnTo>
                    <a:lnTo>
                      <a:pt x="f226" y="f227"/>
                    </a:lnTo>
                    <a:lnTo>
                      <a:pt x="f228" y="f229"/>
                    </a:lnTo>
                    <a:lnTo>
                      <a:pt x="f230" y="f231"/>
                    </a:lnTo>
                    <a:lnTo>
                      <a:pt x="f232" y="f233"/>
                    </a:lnTo>
                    <a:lnTo>
                      <a:pt x="f141" y="f234"/>
                    </a:lnTo>
                    <a:lnTo>
                      <a:pt x="f235" y="f236"/>
                    </a:lnTo>
                    <a:lnTo>
                      <a:pt x="f237" y="f238"/>
                    </a:lnTo>
                    <a:lnTo>
                      <a:pt x="f147" y="f66"/>
                    </a:lnTo>
                    <a:lnTo>
                      <a:pt x="f153" y="f239"/>
                    </a:lnTo>
                    <a:lnTo>
                      <a:pt x="f157" y="f240"/>
                    </a:lnTo>
                    <a:lnTo>
                      <a:pt x="f185" y="f241"/>
                    </a:lnTo>
                    <a:lnTo>
                      <a:pt x="f165" y="f242"/>
                    </a:lnTo>
                    <a:lnTo>
                      <a:pt x="f165" y="f243"/>
                    </a:lnTo>
                    <a:lnTo>
                      <a:pt x="f244" y="f245"/>
                    </a:lnTo>
                    <a:lnTo>
                      <a:pt x="f246" y="f247"/>
                    </a:lnTo>
                    <a:lnTo>
                      <a:pt x="f185" y="f248"/>
                    </a:lnTo>
                    <a:lnTo>
                      <a:pt x="f249" y="f250"/>
                    </a:lnTo>
                    <a:lnTo>
                      <a:pt x="f159" y="f250"/>
                    </a:lnTo>
                    <a:lnTo>
                      <a:pt x="f187" y="f248"/>
                    </a:lnTo>
                    <a:lnTo>
                      <a:pt x="f213" y="f247"/>
                    </a:lnTo>
                    <a:lnTo>
                      <a:pt x="f149" y="f251"/>
                    </a:lnTo>
                    <a:lnTo>
                      <a:pt x="f237" y="f252"/>
                    </a:lnTo>
                    <a:lnTo>
                      <a:pt x="f226" y="f253"/>
                    </a:lnTo>
                    <a:lnTo>
                      <a:pt x="f254" y="f252"/>
                    </a:lnTo>
                    <a:lnTo>
                      <a:pt x="f255" y="f245"/>
                    </a:lnTo>
                    <a:lnTo>
                      <a:pt x="f256" y="f257"/>
                    </a:lnTo>
                    <a:lnTo>
                      <a:pt x="f228" y="f258"/>
                    </a:lnTo>
                    <a:lnTo>
                      <a:pt x="f237" y="f259"/>
                    </a:lnTo>
                    <a:lnTo>
                      <a:pt x="f218" y="f79"/>
                    </a:lnTo>
                    <a:lnTo>
                      <a:pt x="f260" y="f261"/>
                    </a:lnTo>
                    <a:lnTo>
                      <a:pt x="f151" y="f262"/>
                    </a:lnTo>
                    <a:lnTo>
                      <a:pt x="f260" y="f263"/>
                    </a:lnTo>
                    <a:lnTo>
                      <a:pt x="f218" y="f264"/>
                    </a:lnTo>
                    <a:lnTo>
                      <a:pt x="f265" y="f266"/>
                    </a:lnTo>
                    <a:lnTo>
                      <a:pt x="f237" y="f267"/>
                    </a:lnTo>
                    <a:lnTo>
                      <a:pt x="f232" y="f268"/>
                    </a:lnTo>
                    <a:lnTo>
                      <a:pt x="f269" y="f270"/>
                    </a:lnTo>
                    <a:lnTo>
                      <a:pt x="f255" y="f85"/>
                    </a:lnTo>
                    <a:lnTo>
                      <a:pt x="f271" y="f272"/>
                    </a:lnTo>
                    <a:lnTo>
                      <a:pt x="f273" y="f96"/>
                    </a:lnTo>
                    <a:lnTo>
                      <a:pt x="f274" y="f275"/>
                    </a:lnTo>
                    <a:lnTo>
                      <a:pt x="f276" y="f277"/>
                    </a:lnTo>
                    <a:lnTo>
                      <a:pt x="f278" y="f279"/>
                    </a:lnTo>
                    <a:lnTo>
                      <a:pt x="f280" y="f281"/>
                    </a:lnTo>
                    <a:lnTo>
                      <a:pt x="f282" y="f283"/>
                    </a:lnTo>
                    <a:lnTo>
                      <a:pt x="f284" y="f285"/>
                    </a:lnTo>
                    <a:lnTo>
                      <a:pt x="f286" y="f287"/>
                    </a:lnTo>
                    <a:lnTo>
                      <a:pt x="f288" y="f289"/>
                    </a:lnTo>
                    <a:lnTo>
                      <a:pt x="f290" y="f291"/>
                    </a:lnTo>
                    <a:lnTo>
                      <a:pt x="f292" y="f293"/>
                    </a:lnTo>
                    <a:lnTo>
                      <a:pt x="f294" y="f295"/>
                    </a:lnTo>
                    <a:lnTo>
                      <a:pt x="f296" y="f297"/>
                    </a:lnTo>
                    <a:lnTo>
                      <a:pt x="f295" y="f119"/>
                    </a:lnTo>
                    <a:lnTo>
                      <a:pt x="f298" y="f299"/>
                    </a:lnTo>
                    <a:lnTo>
                      <a:pt x="f300" y="f301"/>
                    </a:lnTo>
                    <a:lnTo>
                      <a:pt x="f302" y="f303"/>
                    </a:lnTo>
                    <a:lnTo>
                      <a:pt x="f304" y="f305"/>
                    </a:lnTo>
                    <a:lnTo>
                      <a:pt x="f306" y="f129"/>
                    </a:lnTo>
                    <a:lnTo>
                      <a:pt x="f307" y="f280"/>
                    </a:lnTo>
                    <a:lnTo>
                      <a:pt x="f308" y="f278"/>
                    </a:lnTo>
                    <a:lnTo>
                      <a:pt x="f277" y="f132"/>
                    </a:lnTo>
                    <a:lnTo>
                      <a:pt x="f309" y="f310"/>
                    </a:lnTo>
                    <a:lnTo>
                      <a:pt x="f277" y="f311"/>
                    </a:lnTo>
                    <a:lnTo>
                      <a:pt x="f279" y="f273"/>
                    </a:lnTo>
                    <a:lnTo>
                      <a:pt x="f312" y="f273"/>
                    </a:lnTo>
                    <a:lnTo>
                      <a:pt x="f313" y="f314"/>
                    </a:lnTo>
                    <a:lnTo>
                      <a:pt x="f315" y="f316"/>
                    </a:lnTo>
                    <a:lnTo>
                      <a:pt x="f302" y="f317"/>
                    </a:lnTo>
                    <a:lnTo>
                      <a:pt x="f291" y="f318"/>
                    </a:lnTo>
                    <a:lnTo>
                      <a:pt x="f291" y="f319"/>
                    </a:lnTo>
                    <a:lnTo>
                      <a:pt x="f111" y="f320"/>
                    </a:lnTo>
                    <a:lnTo>
                      <a:pt x="f302" y="f321"/>
                    </a:lnTo>
                    <a:lnTo>
                      <a:pt x="f289" y="f255"/>
                    </a:lnTo>
                    <a:lnTo>
                      <a:pt x="f109" y="f226"/>
                    </a:lnTo>
                    <a:lnTo>
                      <a:pt x="f322" y="f323"/>
                    </a:lnTo>
                    <a:lnTo>
                      <a:pt x="f313" y="f324"/>
                    </a:lnTo>
                    <a:lnTo>
                      <a:pt x="f325" y="f204"/>
                    </a:lnTo>
                    <a:lnTo>
                      <a:pt x="f283" y="f185"/>
                    </a:lnTo>
                    <a:lnTo>
                      <a:pt x="f306" y="f326"/>
                    </a:lnTo>
                    <a:lnTo>
                      <a:pt x="f281" y="f179"/>
                    </a:lnTo>
                    <a:lnTo>
                      <a:pt x="f327" y="f175"/>
                    </a:lnTo>
                    <a:lnTo>
                      <a:pt x="f277" y="f328"/>
                    </a:lnTo>
                    <a:lnTo>
                      <a:pt x="f329" y="f330"/>
                    </a:lnTo>
                    <a:lnTo>
                      <a:pt x="f100" y="f331"/>
                    </a:lnTo>
                    <a:lnTo>
                      <a:pt x="f98" y="f332"/>
                    </a:lnTo>
                    <a:lnTo>
                      <a:pt x="f333" y="f334"/>
                    </a:lnTo>
                    <a:lnTo>
                      <a:pt x="f335" y="f336"/>
                    </a:lnTo>
                    <a:lnTo>
                      <a:pt x="f337" y="f338"/>
                    </a:lnTo>
                    <a:lnTo>
                      <a:pt x="f339" y="f340"/>
                    </a:lnTo>
                    <a:lnTo>
                      <a:pt x="f341" y="f342"/>
                    </a:lnTo>
                    <a:lnTo>
                      <a:pt x="f87" y="f343"/>
                    </a:lnTo>
                    <a:lnTo>
                      <a:pt x="f344" y="f345"/>
                    </a:lnTo>
                    <a:lnTo>
                      <a:pt x="f346" y="f347"/>
                    </a:lnTo>
                    <a:lnTo>
                      <a:pt x="f348" y="f349"/>
                    </a:lnTo>
                    <a:lnTo>
                      <a:pt x="f350" y="f351"/>
                    </a:lnTo>
                    <a:lnTo>
                      <a:pt x="f352" y="f353"/>
                    </a:lnTo>
                    <a:lnTo>
                      <a:pt x="f354" y="f355"/>
                    </a:lnTo>
                    <a:lnTo>
                      <a:pt x="f83" y="f356"/>
                    </a:lnTo>
                    <a:lnTo>
                      <a:pt x="f262" y="f357"/>
                    </a:lnTo>
                    <a:lnTo>
                      <a:pt x="f358" y="f359"/>
                    </a:lnTo>
                    <a:lnTo>
                      <a:pt x="f258" y="f360"/>
                    </a:lnTo>
                    <a:lnTo>
                      <a:pt x="f250" y="f361"/>
                    </a:lnTo>
                    <a:lnTo>
                      <a:pt x="f71" y="f362"/>
                    </a:lnTo>
                    <a:lnTo>
                      <a:pt x="f252" y="f363"/>
                    </a:lnTo>
                    <a:lnTo>
                      <a:pt x="f364" y="f365"/>
                    </a:lnTo>
                    <a:lnTo>
                      <a:pt x="f366" y="f367"/>
                    </a:lnTo>
                    <a:lnTo>
                      <a:pt x="f241" y="f368"/>
                    </a:lnTo>
                    <a:lnTo>
                      <a:pt x="f241" y="f369"/>
                    </a:lnTo>
                    <a:lnTo>
                      <a:pt x="f253" y="f370"/>
                    </a:lnTo>
                    <a:lnTo>
                      <a:pt x="f243" y="f371"/>
                    </a:lnTo>
                    <a:lnTo>
                      <a:pt x="f71" y="f372"/>
                    </a:lnTo>
                    <a:lnTo>
                      <a:pt x="f245" y="f373"/>
                    </a:lnTo>
                    <a:lnTo>
                      <a:pt x="f245" y="f374"/>
                    </a:lnTo>
                    <a:lnTo>
                      <a:pt x="f375" y="f376"/>
                    </a:lnTo>
                    <a:lnTo>
                      <a:pt x="f364" y="f376"/>
                    </a:lnTo>
                    <a:lnTo>
                      <a:pt x="f377" y="f378"/>
                    </a:lnTo>
                    <a:lnTo>
                      <a:pt x="f379" y="f380"/>
                    </a:lnTo>
                    <a:lnTo>
                      <a:pt x="f238" y="f381"/>
                    </a:lnTo>
                    <a:lnTo>
                      <a:pt x="f382" y="f381"/>
                    </a:lnTo>
                    <a:lnTo>
                      <a:pt x="f383" y="f384"/>
                    </a:lnTo>
                    <a:lnTo>
                      <a:pt x="f55" y="f385"/>
                    </a:lnTo>
                    <a:lnTo>
                      <a:pt x="f386" y="f387"/>
                    </a:lnTo>
                    <a:lnTo>
                      <a:pt x="f388" y="f389"/>
                    </a:lnTo>
                    <a:lnTo>
                      <a:pt x="f231" y="f390"/>
                    </a:lnTo>
                    <a:lnTo>
                      <a:pt x="f388" y="f391"/>
                    </a:lnTo>
                    <a:lnTo>
                      <a:pt x="f54" y="f392"/>
                    </a:lnTo>
                    <a:lnTo>
                      <a:pt x="f393" y="f394"/>
                    </a:lnTo>
                    <a:lnTo>
                      <a:pt x="f395" y="f396"/>
                    </a:lnTo>
                    <a:lnTo>
                      <a:pt x="f383" y="f397"/>
                    </a:lnTo>
                    <a:lnTo>
                      <a:pt x="f236" y="f398"/>
                    </a:lnTo>
                    <a:lnTo>
                      <a:pt x="f66" y="f399"/>
                    </a:lnTo>
                    <a:lnTo>
                      <a:pt x="f400" y="f401"/>
                    </a:lnTo>
                    <a:lnTo>
                      <a:pt x="f402" y="f403"/>
                    </a:lnTo>
                    <a:lnTo>
                      <a:pt x="f252" y="f404"/>
                    </a:lnTo>
                    <a:lnTo>
                      <a:pt x="f243" y="f405"/>
                    </a:lnTo>
                    <a:lnTo>
                      <a:pt x="f252" y="f406"/>
                    </a:lnTo>
                    <a:lnTo>
                      <a:pt x="f407" y="f408"/>
                    </a:lnTo>
                    <a:lnTo>
                      <a:pt x="f409" y="f410"/>
                    </a:lnTo>
                    <a:lnTo>
                      <a:pt x="f411" y="f412"/>
                    </a:lnTo>
                    <a:lnTo>
                      <a:pt x="f413" y="f414"/>
                    </a:lnTo>
                    <a:lnTo>
                      <a:pt x="f62" y="f415"/>
                    </a:lnTo>
                    <a:lnTo>
                      <a:pt x="f58" y="f416"/>
                    </a:lnTo>
                    <a:lnTo>
                      <a:pt x="f417" y="f418"/>
                    </a:lnTo>
                    <a:lnTo>
                      <a:pt x="f55" y="f419"/>
                    </a:lnTo>
                    <a:lnTo>
                      <a:pt x="f393" y="f420"/>
                    </a:lnTo>
                    <a:lnTo>
                      <a:pt x="f388" y="f421"/>
                    </a:lnTo>
                    <a:lnTo>
                      <a:pt x="f422" y="f423"/>
                    </a:lnTo>
                    <a:lnTo>
                      <a:pt x="f53" y="f424"/>
                    </a:lnTo>
                    <a:lnTo>
                      <a:pt x="f425" y="f426"/>
                    </a:lnTo>
                    <a:lnTo>
                      <a:pt x="f427" y="f428"/>
                    </a:lnTo>
                    <a:lnTo>
                      <a:pt x="f429" y="f430"/>
                    </a:lnTo>
                    <a:lnTo>
                      <a:pt x="f54" y="f431"/>
                    </a:lnTo>
                    <a:lnTo>
                      <a:pt x="f432" y="f433"/>
                    </a:lnTo>
                    <a:lnTo>
                      <a:pt x="f434" y="f435"/>
                    </a:lnTo>
                    <a:lnTo>
                      <a:pt x="f57" y="f436"/>
                    </a:lnTo>
                    <a:lnTo>
                      <a:pt x="f437" y="f438"/>
                    </a:lnTo>
                    <a:lnTo>
                      <a:pt x="f437" y="f439"/>
                    </a:lnTo>
                    <a:lnTo>
                      <a:pt x="f440" y="f441"/>
                    </a:lnTo>
                    <a:lnTo>
                      <a:pt x="f442" y="f443"/>
                    </a:lnTo>
                    <a:lnTo>
                      <a:pt x="f58" y="f444"/>
                    </a:lnTo>
                    <a:lnTo>
                      <a:pt x="f445" y="f446"/>
                    </a:lnTo>
                    <a:lnTo>
                      <a:pt x="f382" y="f447"/>
                    </a:lnTo>
                    <a:lnTo>
                      <a:pt x="f382" y="f448"/>
                    </a:lnTo>
                    <a:lnTo>
                      <a:pt x="f445" y="f449"/>
                    </a:lnTo>
                    <a:lnTo>
                      <a:pt x="f445" y="f450"/>
                    </a:lnTo>
                    <a:lnTo>
                      <a:pt x="f58" y="f451"/>
                    </a:lnTo>
                    <a:lnTo>
                      <a:pt x="f234" y="f452"/>
                    </a:lnTo>
                    <a:lnTo>
                      <a:pt x="f234" y="f453"/>
                    </a:lnTo>
                    <a:lnTo>
                      <a:pt x="f383" y="f454"/>
                    </a:lnTo>
                    <a:lnTo>
                      <a:pt x="f455" y="f8"/>
                    </a:lnTo>
                    <a:lnTo>
                      <a:pt x="f456" y="f8"/>
                    </a:lnTo>
                    <a:lnTo>
                      <a:pt x="f432" y="f457"/>
                    </a:lnTo>
                    <a:lnTo>
                      <a:pt x="f458" y="f459"/>
                    </a:lnTo>
                    <a:lnTo>
                      <a:pt x="f427" y="f460"/>
                    </a:lnTo>
                    <a:lnTo>
                      <a:pt x="f229" y="f461"/>
                    </a:lnTo>
                    <a:lnTo>
                      <a:pt x="f462" y="f463"/>
                    </a:lnTo>
                    <a:lnTo>
                      <a:pt x="f464" y="f465"/>
                    </a:lnTo>
                    <a:lnTo>
                      <a:pt x="f466" y="f463"/>
                    </a:lnTo>
                    <a:lnTo>
                      <a:pt x="f49" y="f467"/>
                    </a:lnTo>
                    <a:lnTo>
                      <a:pt x="f227" y="f461"/>
                    </a:lnTo>
                    <a:lnTo>
                      <a:pt x="f468" y="f469"/>
                    </a:lnTo>
                    <a:lnTo>
                      <a:pt x="f470" y="f461"/>
                    </a:lnTo>
                    <a:lnTo>
                      <a:pt x="f46" y="f463"/>
                    </a:lnTo>
                    <a:lnTo>
                      <a:pt x="f45" y="f471"/>
                    </a:lnTo>
                    <a:lnTo>
                      <a:pt x="f472" y="f473"/>
                    </a:lnTo>
                    <a:lnTo>
                      <a:pt x="f474" y="f475"/>
                    </a:lnTo>
                    <a:lnTo>
                      <a:pt x="f476" y="f471"/>
                    </a:lnTo>
                    <a:lnTo>
                      <a:pt x="f477" y="f478"/>
                    </a:lnTo>
                    <a:lnTo>
                      <a:pt x="f34" y="f463"/>
                    </a:lnTo>
                    <a:lnTo>
                      <a:pt x="f479" y="f465"/>
                    </a:lnTo>
                    <a:lnTo>
                      <a:pt x="f480" y="f471"/>
                    </a:lnTo>
                    <a:lnTo>
                      <a:pt x="f481" y="f482"/>
                    </a:lnTo>
                    <a:lnTo>
                      <a:pt x="f483" y="f484"/>
                    </a:lnTo>
                    <a:lnTo>
                      <a:pt x="f26" y="f485"/>
                    </a:lnTo>
                    <a:lnTo>
                      <a:pt x="f18" y="f486"/>
                    </a:lnTo>
                    <a:lnTo>
                      <a:pt x="f22" y="f487"/>
                    </a:lnTo>
                    <a:lnTo>
                      <a:pt x="f488" y="f489"/>
                    </a:lnTo>
                    <a:lnTo>
                      <a:pt x="f490" y="f491"/>
                    </a:lnTo>
                    <a:lnTo>
                      <a:pt x="f492" y="f493"/>
                    </a:lnTo>
                    <a:lnTo>
                      <a:pt x="f9" y="f489"/>
                    </a:lnTo>
                    <a:lnTo>
                      <a:pt x="f494" y="f491"/>
                    </a:lnTo>
                    <a:lnTo>
                      <a:pt x="f495" y="f496"/>
                    </a:lnTo>
                    <a:lnTo>
                      <a:pt x="f495" y="f497"/>
                    </a:lnTo>
                    <a:lnTo>
                      <a:pt x="f498" y="f499"/>
                    </a:lnTo>
                    <a:lnTo>
                      <a:pt x="f498" y="f500"/>
                    </a:lnTo>
                    <a:lnTo>
                      <a:pt x="f501" y="f502"/>
                    </a:lnTo>
                    <a:lnTo>
                      <a:pt x="f214" y="f502"/>
                    </a:lnTo>
                    <a:lnTo>
                      <a:pt x="f503" y="f500"/>
                    </a:lnTo>
                    <a:lnTo>
                      <a:pt x="f504" y="f505"/>
                    </a:lnTo>
                    <a:lnTo>
                      <a:pt x="f506" y="f497"/>
                    </a:lnTo>
                    <a:lnTo>
                      <a:pt x="f507" y="f499"/>
                    </a:lnTo>
                    <a:lnTo>
                      <a:pt x="f508" y="f502"/>
                    </a:lnTo>
                    <a:lnTo>
                      <a:pt x="f509" y="f510"/>
                    </a:lnTo>
                    <a:lnTo>
                      <a:pt x="f511" y="f512"/>
                    </a:lnTo>
                    <a:lnTo>
                      <a:pt x="f513" y="f514"/>
                    </a:lnTo>
                    <a:lnTo>
                      <a:pt x="f511" y="f515"/>
                    </a:lnTo>
                    <a:lnTo>
                      <a:pt x="f516" y="f517"/>
                    </a:lnTo>
                    <a:lnTo>
                      <a:pt x="f518" y="f519"/>
                    </a:lnTo>
                    <a:lnTo>
                      <a:pt x="f205" y="f520"/>
                    </a:lnTo>
                    <a:lnTo>
                      <a:pt x="f521" y="f522"/>
                    </a:lnTo>
                    <a:lnTo>
                      <a:pt x="f518" y="f523"/>
                    </a:lnTo>
                    <a:lnTo>
                      <a:pt x="f524" y="f525"/>
                    </a:lnTo>
                    <a:lnTo>
                      <a:pt x="f526" y="f525"/>
                    </a:lnTo>
                    <a:lnTo>
                      <a:pt x="f201" y="f523"/>
                    </a:lnTo>
                    <a:lnTo>
                      <a:pt x="f527" y="f528"/>
                    </a:lnTo>
                    <a:lnTo>
                      <a:pt x="f529" y="f447"/>
                    </a:lnTo>
                    <a:lnTo>
                      <a:pt x="f198" y="f528"/>
                    </a:lnTo>
                    <a:lnTo>
                      <a:pt x="f530" y="f531"/>
                    </a:lnTo>
                    <a:lnTo>
                      <a:pt x="f196" y="f532"/>
                    </a:lnTo>
                    <a:lnTo>
                      <a:pt x="f533" y="f534"/>
                    </a:lnTo>
                    <a:lnTo>
                      <a:pt x="f196" y="f535"/>
                    </a:lnTo>
                    <a:lnTo>
                      <a:pt x="f536" y="f537"/>
                    </a:lnTo>
                    <a:lnTo>
                      <a:pt x="f196" y="f538"/>
                    </a:lnTo>
                    <a:lnTo>
                      <a:pt x="f196" y="f539"/>
                    </a:lnTo>
                    <a:lnTo>
                      <a:pt x="f195" y="f539"/>
                    </a:lnTo>
                    <a:lnTo>
                      <a:pt x="f540" y="f541"/>
                    </a:lnTo>
                    <a:lnTo>
                      <a:pt x="f542" y="f543"/>
                    </a:lnTo>
                    <a:lnTo>
                      <a:pt x="f544" y="f545"/>
                    </a:lnTo>
                    <a:lnTo>
                      <a:pt x="f546" y="f547"/>
                    </a:lnTo>
                    <a:lnTo>
                      <a:pt x="f548" y="f549"/>
                    </a:lnTo>
                    <a:lnTo>
                      <a:pt x="f550" y="f551"/>
                    </a:lnTo>
                    <a:lnTo>
                      <a:pt x="f552" y="f553"/>
                    </a:lnTo>
                    <a:lnTo>
                      <a:pt x="f554" y="f555"/>
                    </a:lnTo>
                    <a:lnTo>
                      <a:pt x="f556" y="f557"/>
                    </a:lnTo>
                    <a:lnTo>
                      <a:pt x="f558" y="f559"/>
                    </a:lnTo>
                    <a:lnTo>
                      <a:pt x="f560" y="f561"/>
                    </a:lnTo>
                    <a:lnTo>
                      <a:pt x="f562" y="f563"/>
                    </a:lnTo>
                    <a:lnTo>
                      <a:pt x="f158" y="f564"/>
                    </a:lnTo>
                    <a:lnTo>
                      <a:pt x="f160" y="f565"/>
                    </a:lnTo>
                    <a:lnTo>
                      <a:pt x="f566" y="f567"/>
                    </a:lnTo>
                    <a:lnTo>
                      <a:pt x="f566" y="f568"/>
                    </a:lnTo>
                    <a:lnTo>
                      <a:pt x="f569" y="f570"/>
                    </a:lnTo>
                    <a:lnTo>
                      <a:pt x="f569" y="f571"/>
                    </a:lnTo>
                    <a:lnTo>
                      <a:pt x="f572" y="f573"/>
                    </a:lnTo>
                    <a:lnTo>
                      <a:pt x="f174" y="f574"/>
                    </a:lnTo>
                    <a:lnTo>
                      <a:pt x="f575" y="f574"/>
                    </a:lnTo>
                    <a:lnTo>
                      <a:pt x="f576" y="f573"/>
                    </a:lnTo>
                    <a:lnTo>
                      <a:pt x="f169" y="f577"/>
                    </a:lnTo>
                    <a:lnTo>
                      <a:pt x="f116" y="f573"/>
                    </a:lnTo>
                    <a:lnTo>
                      <a:pt x="f578" y="f579"/>
                    </a:lnTo>
                    <a:lnTo>
                      <a:pt x="f580" y="f438"/>
                    </a:lnTo>
                    <a:lnTo>
                      <a:pt x="f95" y="f581"/>
                    </a:lnTo>
                    <a:lnTo>
                      <a:pt x="f120" y="f582"/>
                    </a:lnTo>
                    <a:lnTo>
                      <a:pt x="f120" y="f583"/>
                    </a:lnTo>
                    <a:lnTo>
                      <a:pt x="f93" y="f584"/>
                    </a:lnTo>
                    <a:lnTo>
                      <a:pt x="f91" y="f585"/>
                    </a:lnTo>
                    <a:lnTo>
                      <a:pt x="f586" y="f587"/>
                    </a:lnTo>
                    <a:lnTo>
                      <a:pt x="f588" y="f433"/>
                    </a:lnTo>
                    <a:lnTo>
                      <a:pt x="f589" y="f590"/>
                    </a:lnTo>
                    <a:lnTo>
                      <a:pt x="f589" y="f591"/>
                    </a:lnTo>
                    <a:lnTo>
                      <a:pt x="f592" y="f593"/>
                    </a:lnTo>
                    <a:lnTo>
                      <a:pt x="f84" y="f594"/>
                    </a:lnTo>
                    <a:lnTo>
                      <a:pt x="f84" y="f595"/>
                    </a:lnTo>
                    <a:lnTo>
                      <a:pt x="f588" y="f596"/>
                    </a:lnTo>
                    <a:lnTo>
                      <a:pt x="f589" y="f597"/>
                    </a:lnTo>
                    <a:lnTo>
                      <a:pt x="f598" y="f599"/>
                    </a:lnTo>
                    <a:lnTo>
                      <a:pt x="f600" y="f601"/>
                    </a:lnTo>
                    <a:lnTo>
                      <a:pt x="f602" y="f603"/>
                    </a:lnTo>
                    <a:lnTo>
                      <a:pt x="f604" y="f605"/>
                    </a:lnTo>
                    <a:lnTo>
                      <a:pt x="f606" y="f607"/>
                    </a:lnTo>
                    <a:lnTo>
                      <a:pt x="f608" y="f609"/>
                    </a:lnTo>
                    <a:lnTo>
                      <a:pt x="f610" y="f611"/>
                    </a:lnTo>
                    <a:lnTo>
                      <a:pt x="f612" y="f408"/>
                    </a:lnTo>
                    <a:lnTo>
                      <a:pt x="f613" y="f614"/>
                    </a:lnTo>
                    <a:lnTo>
                      <a:pt x="f74" y="f615"/>
                    </a:lnTo>
                    <a:lnTo>
                      <a:pt x="f74" y="f406"/>
                    </a:lnTo>
                    <a:lnTo>
                      <a:pt x="f616" y="f617"/>
                    </a:lnTo>
                    <a:lnTo>
                      <a:pt x="f612" y="f618"/>
                    </a:lnTo>
                    <a:lnTo>
                      <a:pt x="f619" y="f406"/>
                    </a:lnTo>
                    <a:lnTo>
                      <a:pt x="f620" y="f621"/>
                    </a:lnTo>
                    <a:lnTo>
                      <a:pt x="f602" y="f622"/>
                    </a:lnTo>
                    <a:lnTo>
                      <a:pt x="f598" y="f623"/>
                    </a:lnTo>
                    <a:lnTo>
                      <a:pt x="f80" y="f623"/>
                    </a:lnTo>
                    <a:lnTo>
                      <a:pt x="f126" y="f614"/>
                    </a:lnTo>
                    <a:lnTo>
                      <a:pt x="f126" y="f624"/>
                    </a:lnTo>
                    <a:lnTo>
                      <a:pt x="f625" y="f626"/>
                    </a:lnTo>
                    <a:lnTo>
                      <a:pt x="f627" y="f628"/>
                    </a:lnTo>
                    <a:lnTo>
                      <a:pt x="f627" y="f629"/>
                    </a:lnTo>
                    <a:lnTo>
                      <a:pt x="f82" y="f630"/>
                    </a:lnTo>
                    <a:lnTo>
                      <a:pt x="f124" y="f401"/>
                    </a:lnTo>
                    <a:lnTo>
                      <a:pt x="f124" y="f631"/>
                    </a:lnTo>
                    <a:lnTo>
                      <a:pt x="f126" y="f398"/>
                    </a:lnTo>
                    <a:lnTo>
                      <a:pt x="f80" y="f397"/>
                    </a:lnTo>
                    <a:lnTo>
                      <a:pt x="f632" y="f396"/>
                    </a:lnTo>
                    <a:lnTo>
                      <a:pt x="f627" y="f633"/>
                    </a:lnTo>
                    <a:lnTo>
                      <a:pt x="f126" y="f634"/>
                    </a:lnTo>
                    <a:lnTo>
                      <a:pt x="f84" y="f634"/>
                    </a:lnTo>
                    <a:lnTo>
                      <a:pt x="f86" y="f633"/>
                    </a:lnTo>
                    <a:lnTo>
                      <a:pt x="f88" y="f396"/>
                    </a:lnTo>
                    <a:lnTo>
                      <a:pt x="f580" y="f398"/>
                    </a:lnTo>
                    <a:lnTo>
                      <a:pt x="f116" y="f399"/>
                    </a:lnTo>
                    <a:lnTo>
                      <a:pt x="f635" y="f631"/>
                    </a:lnTo>
                    <a:lnTo>
                      <a:pt x="f636" y="f637"/>
                    </a:lnTo>
                    <a:lnTo>
                      <a:pt x="f576" y="f638"/>
                    </a:lnTo>
                    <a:lnTo>
                      <a:pt x="f639" y="f396"/>
                    </a:lnTo>
                    <a:lnTo>
                      <a:pt x="f146" y="f392"/>
                    </a:lnTo>
                    <a:lnTo>
                      <a:pt x="f575" y="f640"/>
                    </a:lnTo>
                    <a:lnTo>
                      <a:pt x="f641" y="f642"/>
                    </a:lnTo>
                    <a:lnTo>
                      <a:pt x="f176" y="f643"/>
                    </a:lnTo>
                    <a:lnTo>
                      <a:pt x="f644" y="f645"/>
                    </a:lnTo>
                    <a:lnTo>
                      <a:pt x="f646" y="f373"/>
                    </a:lnTo>
                    <a:lnTo>
                      <a:pt x="f558" y="f647"/>
                    </a:lnTo>
                    <a:lnTo>
                      <a:pt x="f648" y="f649"/>
                    </a:lnTo>
                    <a:lnTo>
                      <a:pt x="f650" y="f370"/>
                    </a:lnTo>
                    <a:lnTo>
                      <a:pt x="f651" y="f652"/>
                    </a:lnTo>
                    <a:lnTo>
                      <a:pt x="f550" y="f653"/>
                    </a:lnTo>
                    <a:lnTo>
                      <a:pt x="f536" y="f654"/>
                    </a:lnTo>
                    <a:lnTo>
                      <a:pt x="f655" y="f654"/>
                    </a:lnTo>
                    <a:lnTo>
                      <a:pt x="f656" y="f653"/>
                    </a:lnTo>
                    <a:lnTo>
                      <a:pt x="f657" y="f658"/>
                    </a:lnTo>
                    <a:lnTo>
                      <a:pt x="f513" y="f659"/>
                    </a:lnTo>
                    <a:lnTo>
                      <a:pt x="f516" y="f660"/>
                    </a:lnTo>
                    <a:lnTo>
                      <a:pt x="f518" y="f661"/>
                    </a:lnTo>
                    <a:lnTo>
                      <a:pt x="f662" y="f663"/>
                    </a:lnTo>
                    <a:lnTo>
                      <a:pt x="f518" y="f664"/>
                    </a:lnTo>
                    <a:lnTo>
                      <a:pt x="f203" y="f369"/>
                    </a:lnTo>
                    <a:lnTo>
                      <a:pt x="f513" y="f665"/>
                    </a:lnTo>
                    <a:lnTo>
                      <a:pt x="f666" y="f667"/>
                    </a:lnTo>
                    <a:lnTo>
                      <a:pt x="f668" y="f361"/>
                    </a:lnTo>
                    <a:lnTo>
                      <a:pt x="f529" y="f669"/>
                    </a:lnTo>
                    <a:lnTo>
                      <a:pt x="f536" y="f670"/>
                    </a:lnTo>
                    <a:lnTo>
                      <a:pt x="f195" y="f671"/>
                    </a:lnTo>
                    <a:lnTo>
                      <a:pt x="f552" y="f671"/>
                    </a:lnTo>
                    <a:lnTo>
                      <a:pt x="f190" y="f672"/>
                    </a:lnTo>
                    <a:lnTo>
                      <a:pt x="f651" y="f673"/>
                    </a:lnTo>
                    <a:lnTo>
                      <a:pt x="f674" y="f675"/>
                    </a:lnTo>
                    <a:lnTo>
                      <a:pt x="f676" y="f677"/>
                    </a:lnTo>
                    <a:lnTo>
                      <a:pt x="f548" y="f678"/>
                    </a:lnTo>
                    <a:lnTo>
                      <a:pt x="f679" y="f351"/>
                    </a:lnTo>
                    <a:lnTo>
                      <a:pt x="f530" y="f680"/>
                    </a:lnTo>
                    <a:lnTo>
                      <a:pt x="f668" y="f681"/>
                    </a:lnTo>
                    <a:lnTo>
                      <a:pt x="f202" y="f682"/>
                    </a:lnTo>
                    <a:lnTo>
                      <a:pt x="f662" y="f683"/>
                    </a:lnTo>
                    <a:lnTo>
                      <a:pt x="f684" y="f685"/>
                    </a:lnTo>
                    <a:lnTo>
                      <a:pt x="f686" y="f687"/>
                    </a:lnTo>
                    <a:lnTo>
                      <a:pt x="f210" y="f330"/>
                    </a:lnTo>
                    <a:lnTo>
                      <a:pt x="f688" y="f689"/>
                    </a:lnTo>
                    <a:lnTo>
                      <a:pt x="f504" y="f690"/>
                    </a:lnTo>
                    <a:lnTo>
                      <a:pt x="f691" y="f692"/>
                    </a:lnTo>
                    <a:lnTo>
                      <a:pt x="f693" y="f173"/>
                    </a:lnTo>
                    <a:lnTo>
                      <a:pt x="f208" y="f694"/>
                    </a:lnTo>
                    <a:lnTo>
                      <a:pt x="f684" y="f179"/>
                    </a:lnTo>
                    <a:lnTo>
                      <a:pt x="f2" y="f695"/>
                    </a:lnTo>
                    <a:lnTo>
                      <a:pt x="f509" y="f326"/>
                    </a:lnTo>
                    <a:lnTo>
                      <a:pt x="f696" y="f697"/>
                    </a:lnTo>
                    <a:lnTo>
                      <a:pt x="f698" y="f185"/>
                    </a:lnTo>
                    <a:lnTo>
                      <a:pt x="f655" y="f162"/>
                    </a:lnTo>
                    <a:lnTo>
                      <a:pt x="f668" y="f155"/>
                    </a:lnTo>
                    <a:lnTo>
                      <a:pt x="f699" y="f324"/>
                    </a:lnTo>
                    <a:lnTo>
                      <a:pt x="f700" y="f323"/>
                    </a:lnTo>
                    <a:lnTo>
                      <a:pt x="f529" y="f226"/>
                    </a:lnTo>
                    <a:lnTo>
                      <a:pt x="f530" y="f255"/>
                    </a:lnTo>
                    <a:lnTo>
                      <a:pt x="f701" y="f140"/>
                    </a:lnTo>
                    <a:lnTo>
                      <a:pt x="f702" y="f320"/>
                    </a:lnTo>
                    <a:lnTo>
                      <a:pt x="f703" y="f704"/>
                    </a:lnTo>
                    <a:lnTo>
                      <a:pt x="f703" y="f705"/>
                    </a:lnTo>
                    <a:lnTo>
                      <a:pt x="f706" y="f707"/>
                    </a:lnTo>
                    <a:lnTo>
                      <a:pt x="f701" y="f708"/>
                    </a:lnTo>
                    <a:lnTo>
                      <a:pt x="f195" y="f709"/>
                    </a:lnTo>
                    <a:lnTo>
                      <a:pt x="f710" y="f711"/>
                    </a:lnTo>
                    <a:lnTo>
                      <a:pt x="f712" y="f713"/>
                    </a:lnTo>
                    <a:lnTo>
                      <a:pt x="f544" y="f278"/>
                    </a:lnTo>
                    <a:lnTo>
                      <a:pt x="f703" y="f280"/>
                    </a:lnTo>
                    <a:lnTo>
                      <a:pt x="f714" y="f715"/>
                    </a:lnTo>
                    <a:lnTo>
                      <a:pt x="f191" y="f716"/>
                    </a:lnTo>
                    <a:lnTo>
                      <a:pt x="f191" y="f717"/>
                    </a:lnTo>
                    <a:lnTo>
                      <a:pt x="f552" y="f718"/>
                    </a:lnTo>
                    <a:lnTo>
                      <a:pt x="f719" y="f121"/>
                    </a:lnTo>
                    <a:lnTo>
                      <a:pt x="f651" y="f720"/>
                    </a:lnTo>
                    <a:lnTo>
                      <a:pt x="f721" y="f290"/>
                    </a:lnTo>
                    <a:lnTo>
                      <a:pt x="f722" y="f723"/>
                    </a:lnTo>
                    <a:lnTo>
                      <a:pt x="f188" y="f724"/>
                    </a:lnTo>
                    <a:lnTo>
                      <a:pt x="f186" y="f725"/>
                    </a:lnTo>
                    <a:lnTo>
                      <a:pt x="f726" y="f718"/>
                    </a:lnTo>
                    <a:lnTo>
                      <a:pt x="f727" y="f728"/>
                    </a:lnTo>
                    <a:lnTo>
                      <a:pt x="f729" y="f290"/>
                    </a:lnTo>
                    <a:lnTo>
                      <a:pt x="f646" y="f730"/>
                    </a:lnTo>
                    <a:lnTo>
                      <a:pt x="f731" y="f296"/>
                    </a:lnTo>
                    <a:lnTo>
                      <a:pt x="f178" y="f295"/>
                    </a:lnTo>
                    <a:lnTo>
                      <a:pt x="f154" y="f732"/>
                    </a:lnTo>
                    <a:lnTo>
                      <a:pt x="f733" y="f734"/>
                    </a:lnTo>
                    <a:lnTo>
                      <a:pt x="f575" y="f734"/>
                    </a:lnTo>
                    <a:lnTo>
                      <a:pt x="f161" y="f732"/>
                    </a:lnTo>
                    <a:lnTo>
                      <a:pt x="f97" y="f735"/>
                    </a:lnTo>
                    <a:lnTo>
                      <a:pt x="f736" y="f737"/>
                    </a:lnTo>
                    <a:lnTo>
                      <a:pt x="f738" y="f295"/>
                    </a:lnTo>
                    <a:lnTo>
                      <a:pt x="f612" y="f114"/>
                    </a:lnTo>
                    <a:lnTo>
                      <a:pt x="f739" y="f114"/>
                    </a:lnTo>
                    <a:lnTo>
                      <a:pt x="f740" y="f295"/>
                    </a:lnTo>
                    <a:lnTo>
                      <a:pt x="f741" y="f735"/>
                    </a:lnTo>
                    <a:lnTo>
                      <a:pt x="f742" y="f743"/>
                    </a:lnTo>
                    <a:lnTo>
                      <a:pt x="f744" y="f745"/>
                    </a:lnTo>
                    <a:lnTo>
                      <a:pt x="f746" y="f291"/>
                    </a:lnTo>
                    <a:lnTo>
                      <a:pt x="f747" y="f748"/>
                    </a:lnTo>
                    <a:lnTo>
                      <a:pt x="f65" y="f749"/>
                    </a:lnTo>
                    <a:lnTo>
                      <a:pt x="f750" y="f289"/>
                    </a:lnTo>
                    <a:lnTo>
                      <a:pt x="f23" y="f749"/>
                    </a:lnTo>
                    <a:lnTo>
                      <a:pt x="f751" y="f291"/>
                    </a:lnTo>
                    <a:lnTo>
                      <a:pt x="f752" y="f112"/>
                    </a:lnTo>
                    <a:lnTo>
                      <a:pt x="f753" y="f298"/>
                    </a:lnTo>
                    <a:lnTo>
                      <a:pt x="f754" y="f755"/>
                    </a:lnTo>
                    <a:lnTo>
                      <a:pt x="f59" y="f114"/>
                    </a:lnTo>
                    <a:lnTo>
                      <a:pt x="f756" y="f757"/>
                    </a:lnTo>
                    <a:lnTo>
                      <a:pt x="f758" y="f759"/>
                    </a:lnTo>
                    <a:lnTo>
                      <a:pt x="f760" y="f761"/>
                    </a:lnTo>
                    <a:lnTo>
                      <a:pt x="f762" y="f761"/>
                    </a:lnTo>
                    <a:lnTo>
                      <a:pt x="f763" y="f757"/>
                    </a:lnTo>
                    <a:lnTo>
                      <a:pt x="f764" y="f755"/>
                    </a:lnTo>
                    <a:lnTo>
                      <a:pt x="f765" y="f113"/>
                    </a:lnTo>
                    <a:lnTo>
                      <a:pt x="f766" y="f767"/>
                    </a:lnTo>
                    <a:lnTo>
                      <a:pt x="f6" y="f768"/>
                    </a:lnTo>
                    <a:lnTo>
                      <a:pt x="f769" y="f291"/>
                    </a:lnTo>
                    <a:lnTo>
                      <a:pt x="f765" y="f770"/>
                    </a:lnTo>
                    <a:lnTo>
                      <a:pt x="f764" y="f771"/>
                    </a:lnTo>
                    <a:lnTo>
                      <a:pt x="f13" y="f772"/>
                    </a:lnTo>
                    <a:lnTo>
                      <a:pt x="f773" y="f327"/>
                    </a:lnTo>
                    <a:lnTo>
                      <a:pt x="f52" y="f774"/>
                    </a:lnTo>
                    <a:lnTo>
                      <a:pt x="f775" y="f776"/>
                    </a:lnTo>
                    <a:lnTo>
                      <a:pt x="f777" y="f778"/>
                    </a:lnTo>
                    <a:lnTo>
                      <a:pt x="f779" y="f341"/>
                    </a:lnTo>
                    <a:lnTo>
                      <a:pt x="f775" y="f780"/>
                    </a:lnTo>
                    <a:lnTo>
                      <a:pt x="f56" y="f85"/>
                    </a:lnTo>
                    <a:lnTo>
                      <a:pt x="f781" y="f266"/>
                    </a:lnTo>
                    <a:lnTo>
                      <a:pt x="f48" y="f782"/>
                    </a:lnTo>
                    <a:lnTo>
                      <a:pt x="f781" y="f783"/>
                    </a:lnTo>
                    <a:lnTo>
                      <a:pt x="f775" y="f784"/>
                    </a:lnTo>
                    <a:lnTo>
                      <a:pt x="f785" y="f259"/>
                    </a:lnTo>
                    <a:lnTo>
                      <a:pt x="f756" y="f258"/>
                    </a:lnTo>
                    <a:lnTo>
                      <a:pt x="f751" y="f73"/>
                    </a:lnTo>
                    <a:lnTo>
                      <a:pt x="f747" y="f242"/>
                    </a:lnTo>
                    <a:lnTo>
                      <a:pt x="f746" y="f69"/>
                    </a:lnTo>
                    <a:lnTo>
                      <a:pt x="f786" y="f68"/>
                    </a:lnTo>
                    <a:lnTo>
                      <a:pt x="f787" y="f788"/>
                    </a:lnTo>
                    <a:lnTo>
                      <a:pt x="f74" y="f236"/>
                    </a:lnTo>
                    <a:lnTo>
                      <a:pt x="f619" y="f455"/>
                    </a:lnTo>
                    <a:lnTo>
                      <a:pt x="f606" y="f789"/>
                    </a:lnTo>
                    <a:lnTo>
                      <a:pt x="f790" y="f425"/>
                    </a:lnTo>
                    <a:lnTo>
                      <a:pt x="f632" y="f51"/>
                    </a:lnTo>
                    <a:lnTo>
                      <a:pt x="f627" y="f791"/>
                    </a:lnTo>
                    <a:lnTo>
                      <a:pt x="f625" y="f792"/>
                    </a:lnTo>
                    <a:lnTo>
                      <a:pt x="f793" y="f794"/>
                    </a:lnTo>
                    <a:lnTo>
                      <a:pt x="f133" y="f225"/>
                    </a:lnTo>
                    <a:lnTo>
                      <a:pt x="f135" y="f225"/>
                    </a:lnTo>
                    <a:lnTo>
                      <a:pt x="f110" y="f795"/>
                    </a:lnTo>
                    <a:lnTo>
                      <a:pt x="f163" y="f796"/>
                    </a:lnTo>
                    <a:lnTo>
                      <a:pt x="f576" y="f470"/>
                    </a:lnTo>
                    <a:lnTo>
                      <a:pt x="f797" y="f798"/>
                    </a:lnTo>
                    <a:lnTo>
                      <a:pt x="f799" y="f792"/>
                    </a:lnTo>
                    <a:lnTo>
                      <a:pt x="f644" y="f792"/>
                    </a:lnTo>
                    <a:lnTo>
                      <a:pt x="f731" y="f470"/>
                    </a:lnTo>
                    <a:lnTo>
                      <a:pt x="f729" y="f800"/>
                    </a:lnTo>
                    <a:lnTo>
                      <a:pt x="f558" y="f801"/>
                    </a:lnTo>
                    <a:lnTo>
                      <a:pt x="f186" y="f477"/>
                    </a:lnTo>
                    <a:lnTo>
                      <a:pt x="f802" y="f219"/>
                    </a:lnTo>
                    <a:lnTo>
                      <a:pt x="f803" y="f217"/>
                    </a:lnTo>
                    <a:lnTo>
                      <a:pt x="f650" y="f481"/>
                    </a:lnTo>
                    <a:lnTo>
                      <a:pt x="f721" y="f804"/>
                    </a:lnTo>
                    <a:lnTo>
                      <a:pt x="f191" y="f805"/>
                    </a:lnTo>
                    <a:lnTo>
                      <a:pt x="f714" y="f10"/>
                    </a:lnTo>
                    <a:lnTo>
                      <a:pt x="f714" y="f9"/>
                    </a:lnTo>
                    <a:lnTo>
                      <a:pt x="f676" y="f494"/>
                    </a:lnTo>
                    <a:lnTo>
                      <a:pt x="f191" y="f495"/>
                    </a:lnTo>
                    <a:lnTo>
                      <a:pt x="f651" y="f806"/>
                    </a:lnTo>
                    <a:lnTo>
                      <a:pt x="f807" y="f808"/>
                    </a:lnTo>
                    <a:lnTo>
                      <a:pt x="f809" y="f808"/>
                    </a:lnTo>
                    <a:lnTo>
                      <a:pt x="f180" y="f810"/>
                    </a:lnTo>
                    <a:lnTo>
                      <a:pt x="f731" y="f9"/>
                    </a:lnTo>
                    <a:lnTo>
                      <a:pt x="f811" y="f812"/>
                    </a:lnTo>
                    <a:lnTo>
                      <a:pt x="f178" y="f813"/>
                    </a:lnTo>
                    <a:lnTo>
                      <a:pt x="f178" y="f691"/>
                    </a:lnTo>
                    <a:lnTo>
                      <a:pt x="f644" y="f814"/>
                    </a:lnTo>
                    <a:lnTo>
                      <a:pt x="f815" y="f816"/>
                    </a:lnTo>
                    <a:lnTo>
                      <a:pt x="f152" y="f521"/>
                    </a:lnTo>
                    <a:lnTo>
                      <a:pt x="f150" y="f521"/>
                    </a:lnTo>
                    <a:lnTo>
                      <a:pt x="f148" y="f2"/>
                    </a:lnTo>
                    <a:lnTo>
                      <a:pt x="f817" y="f2"/>
                    </a:lnTo>
                    <a:lnTo>
                      <a:pt x="f639" y="f818"/>
                    </a:lnTo>
                    <a:lnTo>
                      <a:pt x="f819" y="f662"/>
                    </a:lnTo>
                    <a:lnTo>
                      <a:pt x="f171" y="f820"/>
                    </a:lnTo>
                    <a:lnTo>
                      <a:pt x="f636" y="f203"/>
                    </a:lnTo>
                    <a:lnTo>
                      <a:pt x="f161" y="f821"/>
                    </a:lnTo>
                    <a:lnTo>
                      <a:pt x="f822" y="f524"/>
                    </a:lnTo>
                    <a:lnTo>
                      <a:pt x="f823" y="f511"/>
                    </a:lnTo>
                    <a:lnTo>
                      <a:pt x="f103" y="f511"/>
                    </a:lnTo>
                    <a:lnTo>
                      <a:pt x="f101" y="f524"/>
                    </a:lnTo>
                    <a:lnTo>
                      <a:pt x="f824" y="f524"/>
                    </a:lnTo>
                    <a:lnTo>
                      <a:pt x="f108" y="f509"/>
                    </a:lnTo>
                    <a:lnTo>
                      <a:pt x="f110" y="f509"/>
                    </a:lnTo>
                    <a:lnTo>
                      <a:pt x="f97" y="f203"/>
                    </a:lnTo>
                    <a:lnTo>
                      <a:pt x="f580" y="f516"/>
                    </a:lnTo>
                    <a:lnTo>
                      <a:pt x="f825" y="f826"/>
                    </a:lnTo>
                    <a:lnTo>
                      <a:pt x="f93" y="f513"/>
                    </a:lnTo>
                    <a:lnTo>
                      <a:pt x="f827" y="f696"/>
                    </a:lnTo>
                    <a:lnTo>
                      <a:pt x="f91" y="f657"/>
                    </a:lnTo>
                    <a:lnTo>
                      <a:pt x="f736" y="f828"/>
                    </a:lnTo>
                    <a:lnTo>
                      <a:pt x="f3" y="f201"/>
                    </a:lnTo>
                    <a:lnTo>
                      <a:pt x="f133" y="f700"/>
                    </a:lnTo>
                    <a:lnTo>
                      <a:pt x="f829" y="f830"/>
                    </a:lnTo>
                    <a:lnTo>
                      <a:pt x="f831" y="f832"/>
                    </a:lnTo>
                    <a:lnTo>
                      <a:pt x="f97" y="f833"/>
                    </a:lnTo>
                    <a:lnTo>
                      <a:pt x="f99" y="f548"/>
                    </a:lnTo>
                    <a:lnTo>
                      <a:pt x="f116" y="f191"/>
                    </a:lnTo>
                    <a:lnTo>
                      <a:pt x="f116" y="f651"/>
                    </a:lnTo>
                    <a:lnTo>
                      <a:pt x="f99" y="f834"/>
                    </a:lnTo>
                    <a:lnTo>
                      <a:pt x="f116" y="f188"/>
                    </a:lnTo>
                    <a:lnTo>
                      <a:pt x="f103" y="f802"/>
                    </a:lnTo>
                    <a:lnTo>
                      <a:pt x="f636" y="f186"/>
                    </a:lnTo>
                    <a:lnTo>
                      <a:pt x="f835" y="f558"/>
                    </a:lnTo>
                    <a:lnTo>
                      <a:pt x="f146" y="f727"/>
                    </a:lnTo>
                    <a:lnTo>
                      <a:pt x="f797" y="f560"/>
                    </a:lnTo>
                    <a:lnTo>
                      <a:pt x="f836" y="f562"/>
                    </a:lnTo>
                    <a:lnTo>
                      <a:pt x="f575" y="f176"/>
                    </a:lnTo>
                    <a:lnTo>
                      <a:pt x="f146" y="f641"/>
                    </a:lnTo>
                    <a:lnTo>
                      <a:pt x="f837" y="f838"/>
                    </a:lnTo>
                    <a:lnTo>
                      <a:pt x="f817" y="f639"/>
                    </a:lnTo>
                    <a:lnTo>
                      <a:pt x="f148" y="f576"/>
                    </a:lnTo>
                    <a:lnTo>
                      <a:pt x="f150" y="f171"/>
                    </a:lnTo>
                    <a:lnTo>
                      <a:pt x="f152" y="f142"/>
                    </a:lnTo>
                    <a:lnTo>
                      <a:pt x="f839" y="f169"/>
                    </a:lnTo>
                    <a:lnTo>
                      <a:pt x="f178" y="f103"/>
                    </a:lnTo>
                    <a:lnTo>
                      <a:pt x="f178" y="f110"/>
                    </a:lnTo>
                    <a:lnTo>
                      <a:pt x="f840" y="f578"/>
                    </a:lnTo>
                    <a:lnTo>
                      <a:pt x="f560" y="f841"/>
                    </a:lnTo>
                    <a:lnTo>
                      <a:pt x="f184" y="f95"/>
                    </a:lnTo>
                    <a:lnTo>
                      <a:pt x="f842" y="f843"/>
                    </a:lnTo>
                    <a:lnTo>
                      <a:pt x="f844" y="f91"/>
                    </a:lnTo>
                    <a:lnTo>
                      <a:pt x="f844" y="f122"/>
                    </a:lnTo>
                    <a:lnTo>
                      <a:pt x="f845" y="f131"/>
                    </a:lnTo>
                    <a:lnTo>
                      <a:pt x="f182" y="f846"/>
                    </a:lnTo>
                    <a:lnTo>
                      <a:pt x="f847" y="f592"/>
                    </a:lnTo>
                    <a:lnTo>
                      <a:pt x="f156" y="f82"/>
                    </a:lnTo>
                    <a:lnTo>
                      <a:pt x="f566" y="f632"/>
                    </a:lnTo>
                    <a:lnTo>
                      <a:pt x="f148" y="f78"/>
                    </a:lnTo>
                    <a:lnTo>
                      <a:pt x="f572" y="f848"/>
                    </a:lnTo>
                    <a:lnTo>
                      <a:pt x="f733" y="f849"/>
                    </a:lnTo>
                    <a:lnTo>
                      <a:pt x="f154" y="f850"/>
                    </a:lnTo>
                    <a:lnTo>
                      <a:pt x="f811" y="f851"/>
                    </a:lnTo>
                    <a:lnTo>
                      <a:pt x="f646" y="f746"/>
                    </a:lnTo>
                    <a:lnTo>
                      <a:pt x="f184" y="f27"/>
                    </a:lnTo>
                    <a:lnTo>
                      <a:pt x="f727" y="f852"/>
                    </a:lnTo>
                    <a:lnTo>
                      <a:pt x="f847" y="f37"/>
                    </a:lnTo>
                    <a:lnTo>
                      <a:pt x="f644" y="f747"/>
                    </a:lnTo>
                    <a:lnTo>
                      <a:pt x="f839" y="f853"/>
                    </a:lnTo>
                    <a:lnTo>
                      <a:pt x="f839" y="f854"/>
                    </a:lnTo>
                    <a:lnTo>
                      <a:pt x="f562" y="f23"/>
                    </a:lnTo>
                    <a:lnTo>
                      <a:pt x="f811" y="f44"/>
                    </a:lnTo>
                    <a:lnTo>
                      <a:pt x="f560" y="f855"/>
                    </a:lnTo>
                    <a:lnTo>
                      <a:pt x="f856" y="f857"/>
                    </a:lnTo>
                    <a:lnTo>
                      <a:pt x="f542" y="f857"/>
                    </a:lnTo>
                    <a:lnTo>
                      <a:pt x="f858" y="f855"/>
                    </a:lnTo>
                    <a:lnTo>
                      <a:pt x="f656" y="f855"/>
                    </a:lnTo>
                    <a:lnTo>
                      <a:pt x="f516" y="f857"/>
                    </a:lnTo>
                    <a:lnTo>
                      <a:pt x="f816" y="f21"/>
                    </a:lnTo>
                    <a:lnTo>
                      <a:pt x="f508" y="f756"/>
                    </a:lnTo>
                    <a:lnTo>
                      <a:pt x="f208" y="f785"/>
                    </a:lnTo>
                    <a:lnTo>
                      <a:pt x="f693" y="f15"/>
                    </a:lnTo>
                    <a:lnTo>
                      <a:pt x="f506" y="f13"/>
                    </a:lnTo>
                    <a:lnTo>
                      <a:pt x="f859" y="f860"/>
                    </a:lnTo>
                    <a:lnTo>
                      <a:pt x="f861" y="f862"/>
                    </a:lnTo>
                    <a:lnTo>
                      <a:pt x="f806" y="f863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00A5D5"/>
                  </a:gs>
                  <a:gs pos="100000">
                    <a:srgbClr val="4DD7FF"/>
                  </a:gs>
                </a:gsLst>
                <a:lin ang="54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02" name="Freeform 7">
                <a:extLst>
                  <a:ext uri="{FF2B5EF4-FFF2-40B4-BE49-F238E27FC236}">
                    <a16:creationId xmlns:a16="http://schemas.microsoft.com/office/drawing/2014/main" id="{3E83C7DB-E371-496E-BD52-283D109DBD6A}"/>
                  </a:ext>
                </a:extLst>
              </p:cNvPr>
              <p:cNvSpPr/>
              <p:nvPr/>
            </p:nvSpPr>
            <p:spPr>
              <a:xfrm>
                <a:off x="4112193" y="2050852"/>
                <a:ext cx="123471" cy="122319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1643"/>
                  <a:gd name="f8" fmla="val 2114"/>
                  <a:gd name="f9" fmla="val 362"/>
                  <a:gd name="f10" fmla="val 1180"/>
                  <a:gd name="f11" fmla="val 1183"/>
                  <a:gd name="f12" fmla="val 359"/>
                  <a:gd name="f13" fmla="val 1191"/>
                  <a:gd name="f14" fmla="val 1219"/>
                  <a:gd name="f15" fmla="val 358"/>
                  <a:gd name="f16" fmla="val 1227"/>
                  <a:gd name="f17" fmla="val 354"/>
                  <a:gd name="f18" fmla="val 1232"/>
                  <a:gd name="f19" fmla="val 349"/>
                  <a:gd name="f20" fmla="val 1235"/>
                  <a:gd name="f21" fmla="val 343"/>
                  <a:gd name="f22" fmla="val 1236"/>
                  <a:gd name="f23" fmla="val 338"/>
                  <a:gd name="f24" fmla="val 1234"/>
                  <a:gd name="f25" fmla="val 334"/>
                  <a:gd name="f26" fmla="val 1229"/>
                  <a:gd name="f27" fmla="val 329"/>
                  <a:gd name="f28" fmla="val 1222"/>
                  <a:gd name="f29" fmla="val 325"/>
                  <a:gd name="f30" fmla="val 1217"/>
                  <a:gd name="f31" fmla="val 320"/>
                  <a:gd name="f32" fmla="val 1216"/>
                  <a:gd name="f33" fmla="val 318"/>
                  <a:gd name="f34" fmla="val 1218"/>
                  <a:gd name="f35" fmla="val 319"/>
                  <a:gd name="f36" fmla="val 1223"/>
                  <a:gd name="f37" fmla="val 322"/>
                  <a:gd name="f38" fmla="val 1228"/>
                  <a:gd name="f39" fmla="val 326"/>
                  <a:gd name="f40" fmla="val 1233"/>
                  <a:gd name="f41" fmla="val 1238"/>
                  <a:gd name="f42" fmla="val 1243"/>
                  <a:gd name="f43" fmla="val 328"/>
                  <a:gd name="f44" fmla="val 327"/>
                  <a:gd name="f45" fmla="val 1245"/>
                  <a:gd name="f46" fmla="val 1246"/>
                  <a:gd name="f47" fmla="val 321"/>
                  <a:gd name="f48" fmla="val 1250"/>
                  <a:gd name="f49" fmla="val 1252"/>
                  <a:gd name="f50" fmla="val 1253"/>
                  <a:gd name="f51" fmla="val 331"/>
                  <a:gd name="f52" fmla="val 1251"/>
                  <a:gd name="f53" fmla="val 347"/>
                  <a:gd name="f54" fmla="val 355"/>
                  <a:gd name="f55" fmla="val 378"/>
                  <a:gd name="f56" fmla="val 1249"/>
                  <a:gd name="f57" fmla="val 398"/>
                  <a:gd name="f58" fmla="val 1248"/>
                  <a:gd name="f59" fmla="val 404"/>
                  <a:gd name="f60" fmla="val 411"/>
                  <a:gd name="f61" fmla="val 1240"/>
                  <a:gd name="f62" fmla="val 418"/>
                  <a:gd name="f63" fmla="val 425"/>
                  <a:gd name="f64" fmla="val 431"/>
                  <a:gd name="f65" fmla="val 437"/>
                  <a:gd name="f66" fmla="val 1212"/>
                  <a:gd name="f67" fmla="val 444"/>
                  <a:gd name="f68" fmla="val 1211"/>
                  <a:gd name="f69" fmla="val 452"/>
                  <a:gd name="f70" fmla="val 1214"/>
                  <a:gd name="f71" fmla="val 459"/>
                  <a:gd name="f72" fmla="val 464"/>
                  <a:gd name="f73" fmla="val 1221"/>
                  <a:gd name="f74" fmla="val 469"/>
                  <a:gd name="f75" fmla="val 477"/>
                  <a:gd name="f76" fmla="val 1220"/>
                  <a:gd name="f77" fmla="val 483"/>
                  <a:gd name="f78" fmla="val 489"/>
                  <a:gd name="f79" fmla="val 1224"/>
                  <a:gd name="f80" fmla="val 500"/>
                  <a:gd name="f81" fmla="val 506"/>
                  <a:gd name="f82" fmla="val 511"/>
                  <a:gd name="f83" fmla="val 1242"/>
                  <a:gd name="f84" fmla="val 514"/>
                  <a:gd name="f85" fmla="val 516"/>
                  <a:gd name="f86" fmla="val 517"/>
                  <a:gd name="f87" fmla="val 1226"/>
                  <a:gd name="f88" fmla="val 518"/>
                  <a:gd name="f89" fmla="val 1208"/>
                  <a:gd name="f90" fmla="val 1200"/>
                  <a:gd name="f91" fmla="val 513"/>
                  <a:gd name="f92" fmla="val 1196"/>
                  <a:gd name="f93" fmla="val 1195"/>
                  <a:gd name="f94" fmla="val 510"/>
                  <a:gd name="f95" fmla="val 508"/>
                  <a:gd name="f96" fmla="val 505"/>
                  <a:gd name="f97" fmla="val 1202"/>
                  <a:gd name="f98" fmla="val 503"/>
                  <a:gd name="f99" fmla="val 1204"/>
                  <a:gd name="f100" fmla="val 502"/>
                  <a:gd name="f101" fmla="val 1206"/>
                  <a:gd name="f102" fmla="val 498"/>
                  <a:gd name="f103" fmla="val 494"/>
                  <a:gd name="f104" fmla="val 1207"/>
                  <a:gd name="f105" fmla="val 492"/>
                  <a:gd name="f106" fmla="val 1203"/>
                  <a:gd name="f107" fmla="val 491"/>
                  <a:gd name="f108" fmla="val 1198"/>
                  <a:gd name="f109" fmla="val 1192"/>
                  <a:gd name="f110" fmla="val 486"/>
                  <a:gd name="f111" fmla="val 1187"/>
                  <a:gd name="f112" fmla="val 480"/>
                  <a:gd name="f113" fmla="val 1184"/>
                  <a:gd name="f114" fmla="val 475"/>
                  <a:gd name="f115" fmla="val 1185"/>
                  <a:gd name="f116" fmla="val 470"/>
                  <a:gd name="f117" fmla="val 1188"/>
                  <a:gd name="f118" fmla="val 467"/>
                  <a:gd name="f119" fmla="val 1190"/>
                  <a:gd name="f120" fmla="val 462"/>
                  <a:gd name="f121" fmla="val 1189"/>
                  <a:gd name="f122" fmla="val 449"/>
                  <a:gd name="f123" fmla="val 1182"/>
                  <a:gd name="f124" fmla="val 438"/>
                  <a:gd name="f125" fmla="val 432"/>
                  <a:gd name="f126" fmla="val 424"/>
                  <a:gd name="f127" fmla="val 1193"/>
                  <a:gd name="f128" fmla="val 1194"/>
                  <a:gd name="f129" fmla="val 414"/>
                  <a:gd name="f130" fmla="val 409"/>
                  <a:gd name="f131" fmla="val 396"/>
                  <a:gd name="f132" fmla="val 391"/>
                  <a:gd name="f133" fmla="val 384"/>
                  <a:gd name="f134" fmla="val 1230"/>
                  <a:gd name="f135" fmla="val 379"/>
                  <a:gd name="f136" fmla="val 375"/>
                  <a:gd name="f137" fmla="val 1225"/>
                  <a:gd name="f138" fmla="val 372"/>
                  <a:gd name="f139" fmla="val 369"/>
                  <a:gd name="f140" fmla="val 367"/>
                  <a:gd name="f141" fmla="val 1197"/>
                  <a:gd name="f142" fmla="val 365"/>
                  <a:gd name="f143" fmla="val 364"/>
                  <a:gd name="f144" fmla="val 809"/>
                  <a:gd name="f145" fmla="val 814"/>
                  <a:gd name="f146" fmla="val 2"/>
                  <a:gd name="f147" fmla="val 820"/>
                  <a:gd name="f148" fmla="val 11"/>
                  <a:gd name="f149" fmla="val 826"/>
                  <a:gd name="f150" fmla="val 23"/>
                  <a:gd name="f151" fmla="val 829"/>
                  <a:gd name="f152" fmla="val 35"/>
                  <a:gd name="f153" fmla="val 832"/>
                  <a:gd name="f154" fmla="val 48"/>
                  <a:gd name="f155" fmla="val 833"/>
                  <a:gd name="f156" fmla="val 57"/>
                  <a:gd name="f157" fmla="val 65"/>
                  <a:gd name="f158" fmla="val 831"/>
                  <a:gd name="f159" fmla="val 71"/>
                  <a:gd name="f160" fmla="val 76"/>
                  <a:gd name="f161" fmla="val 835"/>
                  <a:gd name="f162" fmla="val 79"/>
                  <a:gd name="f163" fmla="val 840"/>
                  <a:gd name="f164" fmla="val 82"/>
                  <a:gd name="f165" fmla="val 846"/>
                  <a:gd name="f166" fmla="val 84"/>
                  <a:gd name="f167" fmla="val 850"/>
                  <a:gd name="f168" fmla="val 86"/>
                  <a:gd name="f169" fmla="val 852"/>
                  <a:gd name="f170" fmla="val 88"/>
                  <a:gd name="f171" fmla="val 854"/>
                  <a:gd name="f172" fmla="val 92"/>
                  <a:gd name="f173" fmla="val 858"/>
                  <a:gd name="f174" fmla="val 95"/>
                  <a:gd name="f175" fmla="val 864"/>
                  <a:gd name="f176" fmla="val 99"/>
                  <a:gd name="f177" fmla="val 866"/>
                  <a:gd name="f178" fmla="val 100"/>
                  <a:gd name="f179" fmla="val 871"/>
                  <a:gd name="f180" fmla="val 102"/>
                  <a:gd name="f181" fmla="val 880"/>
                  <a:gd name="f182" fmla="val 106"/>
                  <a:gd name="f183" fmla="val 890"/>
                  <a:gd name="f184" fmla="val 111"/>
                  <a:gd name="f185" fmla="val 902"/>
                  <a:gd name="f186" fmla="val 117"/>
                  <a:gd name="f187" fmla="val 913"/>
                  <a:gd name="f188" fmla="val 121"/>
                  <a:gd name="f189" fmla="val 922"/>
                  <a:gd name="f190" fmla="val 124"/>
                  <a:gd name="f191" fmla="val 928"/>
                  <a:gd name="f192" fmla="val 125"/>
                  <a:gd name="f193" fmla="val 935"/>
                  <a:gd name="f194" fmla="val 123"/>
                  <a:gd name="f195" fmla="val 948"/>
                  <a:gd name="f196" fmla="val 115"/>
                  <a:gd name="f197" fmla="val 954"/>
                  <a:gd name="f198" fmla="val 113"/>
                  <a:gd name="f199" fmla="val 958"/>
                  <a:gd name="f200" fmla="val 114"/>
                  <a:gd name="f201" fmla="val 964"/>
                  <a:gd name="f202" fmla="val 116"/>
                  <a:gd name="f203" fmla="val 971"/>
                  <a:gd name="f204" fmla="val 118"/>
                  <a:gd name="f205" fmla="val 977"/>
                  <a:gd name="f206" fmla="val 120"/>
                  <a:gd name="f207" fmla="val 983"/>
                  <a:gd name="f208" fmla="val 986"/>
                  <a:gd name="f209" fmla="val 105"/>
                  <a:gd name="f210" fmla="val 985"/>
                  <a:gd name="f211" fmla="val 96"/>
                  <a:gd name="f212" fmla="val 75"/>
                  <a:gd name="f213" fmla="val 66"/>
                  <a:gd name="f214" fmla="val 59"/>
                  <a:gd name="f215" fmla="val 988"/>
                  <a:gd name="f216" fmla="val 55"/>
                  <a:gd name="f217" fmla="val 995"/>
                  <a:gd name="f218" fmla="val 1003"/>
                  <a:gd name="f219" fmla="val 58"/>
                  <a:gd name="f220" fmla="val 1009"/>
                  <a:gd name="f221" fmla="val 62"/>
                  <a:gd name="f222" fmla="val 1017"/>
                  <a:gd name="f223" fmla="val 1025"/>
                  <a:gd name="f224" fmla="val 1032"/>
                  <a:gd name="f225" fmla="val 63"/>
                  <a:gd name="f226" fmla="val 1037"/>
                  <a:gd name="f227" fmla="val 1041"/>
                  <a:gd name="f228" fmla="val 1046"/>
                  <a:gd name="f229" fmla="val 1051"/>
                  <a:gd name="f230" fmla="val 60"/>
                  <a:gd name="f231" fmla="val 1058"/>
                  <a:gd name="f232" fmla="val 64"/>
                  <a:gd name="f233" fmla="val 1066"/>
                  <a:gd name="f234" fmla="val 69"/>
                  <a:gd name="f235" fmla="val 1074"/>
                  <a:gd name="f236" fmla="val 1082"/>
                  <a:gd name="f237" fmla="val 81"/>
                  <a:gd name="f238" fmla="val 1087"/>
                  <a:gd name="f239" fmla="val 85"/>
                  <a:gd name="f240" fmla="val 1088"/>
                  <a:gd name="f241" fmla="val 89"/>
                  <a:gd name="f242" fmla="val 1086"/>
                  <a:gd name="f243" fmla="val 93"/>
                  <a:gd name="f244" fmla="val 1084"/>
                  <a:gd name="f245" fmla="val 1080"/>
                  <a:gd name="f246" fmla="val 122"/>
                  <a:gd name="f247" fmla="val 1083"/>
                  <a:gd name="f248" fmla="val 127"/>
                  <a:gd name="f249" fmla="val 1089"/>
                  <a:gd name="f250" fmla="val 131"/>
                  <a:gd name="f251" fmla="val 1096"/>
                  <a:gd name="f252" fmla="val 136"/>
                  <a:gd name="f253" fmla="val 1102"/>
                  <a:gd name="f254" fmla="val 141"/>
                  <a:gd name="f255" fmla="val 1105"/>
                  <a:gd name="f256" fmla="val 145"/>
                  <a:gd name="f257" fmla="val 148"/>
                  <a:gd name="f258" fmla="val 1100"/>
                  <a:gd name="f259" fmla="val 151"/>
                  <a:gd name="f260" fmla="val 1094"/>
                  <a:gd name="f261" fmla="val 156"/>
                  <a:gd name="f262" fmla="val 161"/>
                  <a:gd name="f263" fmla="val 168"/>
                  <a:gd name="f264" fmla="val 1079"/>
                  <a:gd name="f265" fmla="val 173"/>
                  <a:gd name="f266" fmla="val 1078"/>
                  <a:gd name="f267" fmla="val 179"/>
                  <a:gd name="f268" fmla="val 1075"/>
                  <a:gd name="f269" fmla="val 187"/>
                  <a:gd name="f270" fmla="val 1073"/>
                  <a:gd name="f271" fmla="val 196"/>
                  <a:gd name="f272" fmla="val 1072"/>
                  <a:gd name="f273" fmla="val 203"/>
                  <a:gd name="f274" fmla="val 208"/>
                  <a:gd name="f275" fmla="val 1077"/>
                  <a:gd name="f276" fmla="val 210"/>
                  <a:gd name="f277" fmla="val 211"/>
                  <a:gd name="f278" fmla="val 1090"/>
                  <a:gd name="f279" fmla="val 1095"/>
                  <a:gd name="f280" fmla="val 212"/>
                  <a:gd name="f281" fmla="val 1099"/>
                  <a:gd name="f282" fmla="val 215"/>
                  <a:gd name="f283" fmla="val 1110"/>
                  <a:gd name="f284" fmla="val 225"/>
                  <a:gd name="f285" fmla="val 1119"/>
                  <a:gd name="f286" fmla="val 231"/>
                  <a:gd name="f287" fmla="val 1127"/>
                  <a:gd name="f288" fmla="val 236"/>
                  <a:gd name="f289" fmla="val 1135"/>
                  <a:gd name="f290" fmla="val 239"/>
                  <a:gd name="f291" fmla="val 1137"/>
                  <a:gd name="f292" fmla="val 247"/>
                  <a:gd name="f293" fmla="val 252"/>
                  <a:gd name="f294" fmla="val 1136"/>
                  <a:gd name="f295" fmla="val 253"/>
                  <a:gd name="f296" fmla="val 1133"/>
                  <a:gd name="f297" fmla="val 255"/>
                  <a:gd name="f298" fmla="val 1131"/>
                  <a:gd name="f299" fmla="val 256"/>
                  <a:gd name="f300" fmla="val 1129"/>
                  <a:gd name="f301" fmla="val 257"/>
                  <a:gd name="f302" fmla="val 1125"/>
                  <a:gd name="f303" fmla="val 261"/>
                  <a:gd name="f304" fmla="val 1124"/>
                  <a:gd name="f305" fmla="val 263"/>
                  <a:gd name="f306" fmla="val 275"/>
                  <a:gd name="f307" fmla="val 1123"/>
                  <a:gd name="f308" fmla="val 277"/>
                  <a:gd name="f309" fmla="val 1121"/>
                  <a:gd name="f310" fmla="val 279"/>
                  <a:gd name="f311" fmla="val 1118"/>
                  <a:gd name="f312" fmla="val 281"/>
                  <a:gd name="f313" fmla="val 1113"/>
                  <a:gd name="f314" fmla="val 285"/>
                  <a:gd name="f315" fmla="val 1111"/>
                  <a:gd name="f316" fmla="val 289"/>
                  <a:gd name="f317" fmla="val 297"/>
                  <a:gd name="f318" fmla="val 1115"/>
                  <a:gd name="f319" fmla="val 302"/>
                  <a:gd name="f320" fmla="val 308"/>
                  <a:gd name="f321" fmla="val 1122"/>
                  <a:gd name="f322" fmla="val 314"/>
                  <a:gd name="f323" fmla="val 1120"/>
                  <a:gd name="f324" fmla="val 1117"/>
                  <a:gd name="f325" fmla="val 332"/>
                  <a:gd name="f326" fmla="val 344"/>
                  <a:gd name="f327" fmla="val 348"/>
                  <a:gd name="f328" fmla="val 351"/>
                  <a:gd name="f329" fmla="val 353"/>
                  <a:gd name="f330" fmla="val 1116"/>
                  <a:gd name="f331" fmla="val 356"/>
                  <a:gd name="f332" fmla="val 1106"/>
                  <a:gd name="f333" fmla="val 357"/>
                  <a:gd name="f334" fmla="val 1104"/>
                  <a:gd name="f335" fmla="val 373"/>
                  <a:gd name="f336" fmla="val 380"/>
                  <a:gd name="f337" fmla="val 1109"/>
                  <a:gd name="f338" fmla="val 385"/>
                  <a:gd name="f339" fmla="val 387"/>
                  <a:gd name="f340" fmla="val 388"/>
                  <a:gd name="f341" fmla="val 393"/>
                  <a:gd name="f342" fmla="val 395"/>
                  <a:gd name="f343" fmla="val 1114"/>
                  <a:gd name="f344" fmla="val 399"/>
                  <a:gd name="f345" fmla="val 1108"/>
                  <a:gd name="f346" fmla="val 1103"/>
                  <a:gd name="f347" fmla="val 397"/>
                  <a:gd name="f348" fmla="val 405"/>
                  <a:gd name="f349" fmla="val 417"/>
                  <a:gd name="f350" fmla="val 433"/>
                  <a:gd name="f351" fmla="val 441"/>
                  <a:gd name="f352" fmla="val 447"/>
                  <a:gd name="f353" fmla="val 1091"/>
                  <a:gd name="f354" fmla="val 454"/>
                  <a:gd name="f355" fmla="val 1093"/>
                  <a:gd name="f356" fmla="val 468"/>
                  <a:gd name="f357" fmla="val 473"/>
                  <a:gd name="f358" fmla="val 478"/>
                  <a:gd name="f359" fmla="val 485"/>
                  <a:gd name="f360" fmla="val 484"/>
                  <a:gd name="f361" fmla="val 481"/>
                  <a:gd name="f362" fmla="val 479"/>
                  <a:gd name="f363" fmla="val 1101"/>
                  <a:gd name="f364" fmla="val 1098"/>
                  <a:gd name="f365" fmla="val 501"/>
                  <a:gd name="f366" fmla="val 1092"/>
                  <a:gd name="f367" fmla="val 512"/>
                  <a:gd name="f368" fmla="val 521"/>
                  <a:gd name="f369" fmla="val 522"/>
                  <a:gd name="f370" fmla="val 1081"/>
                  <a:gd name="f371" fmla="val 1076"/>
                  <a:gd name="f372" fmla="val 1071"/>
                  <a:gd name="f373" fmla="val 523"/>
                  <a:gd name="f374" fmla="val 1070"/>
                  <a:gd name="f375" fmla="val 527"/>
                  <a:gd name="f376" fmla="val 533"/>
                  <a:gd name="f377" fmla="val 541"/>
                  <a:gd name="f378" fmla="val 548"/>
                  <a:gd name="f379" fmla="val 554"/>
                  <a:gd name="f380" fmla="val 555"/>
                  <a:gd name="f381" fmla="val 552"/>
                  <a:gd name="f382" fmla="val 1085"/>
                  <a:gd name="f383" fmla="val 544"/>
                  <a:gd name="f384" fmla="val 542"/>
                  <a:gd name="f385" fmla="val 557"/>
                  <a:gd name="f386" fmla="val 563"/>
                  <a:gd name="f387" fmla="val 571"/>
                  <a:gd name="f388" fmla="val 581"/>
                  <a:gd name="f389" fmla="val 601"/>
                  <a:gd name="f390" fmla="val 609"/>
                  <a:gd name="f391" fmla="val 616"/>
                  <a:gd name="f392" fmla="val 636"/>
                  <a:gd name="f393" fmla="val 649"/>
                  <a:gd name="f394" fmla="val 663"/>
                  <a:gd name="f395" fmla="val 674"/>
                  <a:gd name="f396" fmla="val 1130"/>
                  <a:gd name="f397" fmla="val 682"/>
                  <a:gd name="f398" fmla="val 689"/>
                  <a:gd name="f399" fmla="val 1149"/>
                  <a:gd name="f400" fmla="val 703"/>
                  <a:gd name="f401" fmla="val 1154"/>
                  <a:gd name="f402" fmla="val 709"/>
                  <a:gd name="f403" fmla="val 1155"/>
                  <a:gd name="f404" fmla="val 715"/>
                  <a:gd name="f405" fmla="val 1153"/>
                  <a:gd name="f406" fmla="val 722"/>
                  <a:gd name="f407" fmla="val 1150"/>
                  <a:gd name="f408" fmla="val 728"/>
                  <a:gd name="f409" fmla="val 1145"/>
                  <a:gd name="f410" fmla="val 733"/>
                  <a:gd name="f411" fmla="val 1140"/>
                  <a:gd name="f412" fmla="val 732"/>
                  <a:gd name="f413" fmla="val 730"/>
                  <a:gd name="f414" fmla="val 1126"/>
                  <a:gd name="f415" fmla="val 727"/>
                  <a:gd name="f416" fmla="val 729"/>
                  <a:gd name="f417" fmla="val 738"/>
                  <a:gd name="f418" fmla="val 745"/>
                  <a:gd name="f419" fmla="val 1134"/>
                  <a:gd name="f420" fmla="val 752"/>
                  <a:gd name="f421" fmla="val 1144"/>
                  <a:gd name="f422" fmla="val 759"/>
                  <a:gd name="f423" fmla="val 1156"/>
                  <a:gd name="f424" fmla="val 766"/>
                  <a:gd name="f425" fmla="val 1164"/>
                  <a:gd name="f426" fmla="val 774"/>
                  <a:gd name="f427" fmla="val 1168"/>
                  <a:gd name="f428" fmla="val 781"/>
                  <a:gd name="f429" fmla="val 785"/>
                  <a:gd name="f430" fmla="val 791"/>
                  <a:gd name="f431" fmla="val 1161"/>
                  <a:gd name="f432" fmla="val 798"/>
                  <a:gd name="f433" fmla="val 1159"/>
                  <a:gd name="f434" fmla="val 806"/>
                  <a:gd name="f435" fmla="val 1158"/>
                  <a:gd name="f436" fmla="val 1157"/>
                  <a:gd name="f437" fmla="val 811"/>
                  <a:gd name="f438" fmla="val 812"/>
                  <a:gd name="f439" fmla="val 1151"/>
                  <a:gd name="f440" fmla="val 805"/>
                  <a:gd name="f441" fmla="val 1143"/>
                  <a:gd name="f442" fmla="val 1141"/>
                  <a:gd name="f443" fmla="val 1138"/>
                  <a:gd name="f444" fmla="val 807"/>
                  <a:gd name="f445" fmla="val 817"/>
                  <a:gd name="f446" fmla="val 821"/>
                  <a:gd name="f447" fmla="val 825"/>
                  <a:gd name="f448" fmla="val 1160"/>
                  <a:gd name="f449" fmla="val 828"/>
                  <a:gd name="f450" fmla="val 1173"/>
                  <a:gd name="f451" fmla="val 1176"/>
                  <a:gd name="f452" fmla="val 837"/>
                  <a:gd name="f453" fmla="val 851"/>
                  <a:gd name="f454" fmla="val 1186"/>
                  <a:gd name="f455" fmla="val 857"/>
                  <a:gd name="f456" fmla="val 860"/>
                  <a:gd name="f457" fmla="val 861"/>
                  <a:gd name="f458" fmla="val 862"/>
                  <a:gd name="f459" fmla="val 867"/>
                  <a:gd name="f460" fmla="val 877"/>
                  <a:gd name="f461" fmla="val 886"/>
                  <a:gd name="f462" fmla="val 897"/>
                  <a:gd name="f463" fmla="val 909"/>
                  <a:gd name="f464" fmla="val 920"/>
                  <a:gd name="f465" fmla="val 1213"/>
                  <a:gd name="f466" fmla="val 1215"/>
                  <a:gd name="f467" fmla="val 936"/>
                  <a:gd name="f468" fmla="val 946"/>
                  <a:gd name="f469" fmla="val 957"/>
                  <a:gd name="f470" fmla="val 967"/>
                  <a:gd name="f471" fmla="val 976"/>
                  <a:gd name="f472" fmla="val 1241"/>
                  <a:gd name="f473" fmla="val 982"/>
                  <a:gd name="f474" fmla="val 990"/>
                  <a:gd name="f475" fmla="val 1247"/>
                  <a:gd name="f476" fmla="val 1000"/>
                  <a:gd name="f477" fmla="val 1254"/>
                  <a:gd name="f478" fmla="val 1013"/>
                  <a:gd name="f479" fmla="val 1265"/>
                  <a:gd name="f480" fmla="val 1269"/>
                  <a:gd name="f481" fmla="val 1011"/>
                  <a:gd name="f482" fmla="val 1272"/>
                  <a:gd name="f483" fmla="val 1007"/>
                  <a:gd name="f484" fmla="val 1001"/>
                  <a:gd name="f485" fmla="val 994"/>
                  <a:gd name="f486" fmla="val 987"/>
                  <a:gd name="f487" fmla="val 1262"/>
                  <a:gd name="f488" fmla="val 978"/>
                  <a:gd name="f489" fmla="val 1259"/>
                  <a:gd name="f490" fmla="val 1257"/>
                  <a:gd name="f491" fmla="val 1258"/>
                  <a:gd name="f492" fmla="val 960"/>
                  <a:gd name="f493" fmla="val 1270"/>
                  <a:gd name="f494" fmla="val 1275"/>
                  <a:gd name="f495" fmla="val 944"/>
                  <a:gd name="f496" fmla="val 1280"/>
                  <a:gd name="f497" fmla="val 941"/>
                  <a:gd name="f498" fmla="val 1285"/>
                  <a:gd name="f499" fmla="val 1288"/>
                  <a:gd name="f500" fmla="val 1291"/>
                  <a:gd name="f501" fmla="val 953"/>
                  <a:gd name="f502" fmla="val 1293"/>
                  <a:gd name="f503" fmla="val 1294"/>
                  <a:gd name="f504" fmla="val 1296"/>
                  <a:gd name="f505" fmla="val 1297"/>
                  <a:gd name="f506" fmla="val 1299"/>
                  <a:gd name="f507" fmla="val 1302"/>
                  <a:gd name="f508" fmla="val 1016"/>
                  <a:gd name="f509" fmla="val 1304"/>
                  <a:gd name="f510" fmla="val 1023"/>
                  <a:gd name="f511" fmla="val 1306"/>
                  <a:gd name="f512" fmla="val 1029"/>
                  <a:gd name="f513" fmla="val 1309"/>
                  <a:gd name="f514" fmla="val 1312"/>
                  <a:gd name="f515" fmla="val 1314"/>
                  <a:gd name="f516" fmla="val 1028"/>
                  <a:gd name="f517" fmla="val 1315"/>
                  <a:gd name="f518" fmla="val 1317"/>
                  <a:gd name="f519" fmla="val 1320"/>
                  <a:gd name="f520" fmla="val 1010"/>
                  <a:gd name="f521" fmla="val 1324"/>
                  <a:gd name="f522" fmla="val 1331"/>
                  <a:gd name="f523" fmla="val 1335"/>
                  <a:gd name="f524" fmla="val 1018"/>
                  <a:gd name="f525" fmla="val 1338"/>
                  <a:gd name="f526" fmla="val 1345"/>
                  <a:gd name="f527" fmla="val 1027"/>
                  <a:gd name="f528" fmla="val 1352"/>
                  <a:gd name="f529" fmla="val 1030"/>
                  <a:gd name="f530" fmla="val 1360"/>
                  <a:gd name="f531" fmla="val 1368"/>
                  <a:gd name="f532" fmla="val 1035"/>
                  <a:gd name="f533" fmla="val 1372"/>
                  <a:gd name="f534" fmla="val 1373"/>
                  <a:gd name="f535" fmla="val 1039"/>
                  <a:gd name="f536" fmla="val 1043"/>
                  <a:gd name="f537" fmla="val 1364"/>
                  <a:gd name="f538" fmla="val 1050"/>
                  <a:gd name="f539" fmla="val 1363"/>
                  <a:gd name="f540" fmla="val 1057"/>
                  <a:gd name="f541" fmla="val 1061"/>
                  <a:gd name="f542" fmla="val 1064"/>
                  <a:gd name="f543" fmla="val 1365"/>
                  <a:gd name="f544" fmla="val 1369"/>
                  <a:gd name="f545" fmla="val 1069"/>
                  <a:gd name="f546" fmla="val 1376"/>
                  <a:gd name="f547" fmla="val 1380"/>
                  <a:gd name="f548" fmla="val 1385"/>
                  <a:gd name="f549" fmla="val 1388"/>
                  <a:gd name="f550" fmla="val 1390"/>
                  <a:gd name="f551" fmla="val 1391"/>
                  <a:gd name="f552" fmla="val 1379"/>
                  <a:gd name="f553" fmla="val 1128"/>
                  <a:gd name="f554" fmla="val 1366"/>
                  <a:gd name="f555" fmla="val 1148"/>
                  <a:gd name="f556" fmla="val 1374"/>
                  <a:gd name="f557" fmla="val 1382"/>
                  <a:gd name="f558" fmla="val 1398"/>
                  <a:gd name="f559" fmla="val 1403"/>
                  <a:gd name="f560" fmla="val 1405"/>
                  <a:gd name="f561" fmla="val 1408"/>
                  <a:gd name="f562" fmla="val 1167"/>
                  <a:gd name="f563" fmla="val 1410"/>
                  <a:gd name="f564" fmla="val 1175"/>
                  <a:gd name="f565" fmla="val 1412"/>
                  <a:gd name="f566" fmla="val 1181"/>
                  <a:gd name="f567" fmla="val 1413"/>
                  <a:gd name="f568" fmla="val 1401"/>
                  <a:gd name="f569" fmla="val 1400"/>
                  <a:gd name="f570" fmla="val 1210"/>
                  <a:gd name="f571" fmla="val 1406"/>
                  <a:gd name="f572" fmla="val 1414"/>
                  <a:gd name="f573" fmla="val 1422"/>
                  <a:gd name="f574" fmla="val 1431"/>
                  <a:gd name="f575" fmla="val 1260"/>
                  <a:gd name="f576" fmla="val 1442"/>
                  <a:gd name="f577" fmla="val 1267"/>
                  <a:gd name="f578" fmla="val 1450"/>
                  <a:gd name="f579" fmla="val 1273"/>
                  <a:gd name="f580" fmla="val 1455"/>
                  <a:gd name="f581" fmla="val 1278"/>
                  <a:gd name="f582" fmla="val 1458"/>
                  <a:gd name="f583" fmla="val 1282"/>
                  <a:gd name="f584" fmla="val 1464"/>
                  <a:gd name="f585" fmla="val 1470"/>
                  <a:gd name="f586" fmla="val 1295"/>
                  <a:gd name="f587" fmla="val 1476"/>
                  <a:gd name="f588" fmla="val 1301"/>
                  <a:gd name="f589" fmla="val 1480"/>
                  <a:gd name="f590" fmla="val 1482"/>
                  <a:gd name="f591" fmla="val 1307"/>
                  <a:gd name="f592" fmla="val 1484"/>
                  <a:gd name="f593" fmla="val 1486"/>
                  <a:gd name="f594" fmla="val 1322"/>
                  <a:gd name="f595" fmla="val 1490"/>
                  <a:gd name="f596" fmla="val 1495"/>
                  <a:gd name="f597" fmla="val 1502"/>
                  <a:gd name="f598" fmla="val 1342"/>
                  <a:gd name="f599" fmla="val 1515"/>
                  <a:gd name="f600" fmla="val 1344"/>
                  <a:gd name="f601" fmla="val 1526"/>
                  <a:gd name="f602" fmla="val 1536"/>
                  <a:gd name="f603" fmla="val 1341"/>
                  <a:gd name="f604" fmla="val 1543"/>
                  <a:gd name="f605" fmla="val 1340"/>
                  <a:gd name="f606" fmla="val 1547"/>
                  <a:gd name="f607" fmla="val 1549"/>
                  <a:gd name="f608" fmla="val 1550"/>
                  <a:gd name="f609" fmla="val 1349"/>
                  <a:gd name="f610" fmla="val 1553"/>
                  <a:gd name="f611" fmla="val 1559"/>
                  <a:gd name="f612" fmla="val 1354"/>
                  <a:gd name="f613" fmla="val 1567"/>
                  <a:gd name="f614" fmla="val 1355"/>
                  <a:gd name="f615" fmla="val 1574"/>
                  <a:gd name="f616" fmla="val 1357"/>
                  <a:gd name="f617" fmla="val 1578"/>
                  <a:gd name="f618" fmla="val 1580"/>
                  <a:gd name="f619" fmla="val 1377"/>
                  <a:gd name="f620" fmla="val 1583"/>
                  <a:gd name="f621" fmla="val 1386"/>
                  <a:gd name="f622" fmla="val 1587"/>
                  <a:gd name="f623" fmla="val 1593"/>
                  <a:gd name="f624" fmla="val 1395"/>
                  <a:gd name="f625" fmla="val 1598"/>
                  <a:gd name="f626" fmla="val 1397"/>
                  <a:gd name="f627" fmla="val 1602"/>
                  <a:gd name="f628" fmla="val 1604"/>
                  <a:gd name="f629" fmla="val 1394"/>
                  <a:gd name="f630" fmla="val 1607"/>
                  <a:gd name="f631" fmla="val 1389"/>
                  <a:gd name="f632" fmla="val 1612"/>
                  <a:gd name="f633" fmla="val 1384"/>
                  <a:gd name="f634" fmla="val 1618"/>
                  <a:gd name="f635" fmla="val 1624"/>
                  <a:gd name="f636" fmla="val 1632"/>
                  <a:gd name="f637" fmla="val 1383"/>
                  <a:gd name="f638" fmla="val 1638"/>
                  <a:gd name="f639" fmla="val 1640"/>
                  <a:gd name="f640" fmla="val 1639"/>
                  <a:gd name="f641" fmla="val 1641"/>
                  <a:gd name="f642" fmla="val 1423"/>
                  <a:gd name="f643" fmla="val 1429"/>
                  <a:gd name="f644" fmla="val 1633"/>
                  <a:gd name="f645" fmla="val 1434"/>
                  <a:gd name="f646" fmla="val 1627"/>
                  <a:gd name="f647" fmla="val 1438"/>
                  <a:gd name="f648" fmla="val 1441"/>
                  <a:gd name="f649" fmla="val 1621"/>
                  <a:gd name="f650" fmla="val 1447"/>
                  <a:gd name="f651" fmla="val 1620"/>
                  <a:gd name="f652" fmla="val 1456"/>
                  <a:gd name="f653" fmla="val 1614"/>
                  <a:gd name="f654" fmla="val 1610"/>
                  <a:gd name="f655" fmla="val 1483"/>
                  <a:gd name="f656" fmla="val 1605"/>
                  <a:gd name="f657" fmla="val 1485"/>
                  <a:gd name="f658" fmla="val 1594"/>
                  <a:gd name="f659" fmla="val 1581"/>
                  <a:gd name="f660" fmla="val 1487"/>
                  <a:gd name="f661" fmla="val 1565"/>
                  <a:gd name="f662" fmla="val 1507"/>
                  <a:gd name="f663" fmla="val 1500"/>
                  <a:gd name="f664" fmla="val 1492"/>
                  <a:gd name="f665" fmla="val 1491"/>
                  <a:gd name="f666" fmla="val 1513"/>
                  <a:gd name="f667" fmla="val 1493"/>
                  <a:gd name="f668" fmla="val 1517"/>
                  <a:gd name="f669" fmla="val 1497"/>
                  <a:gd name="f670" fmla="val 1520"/>
                  <a:gd name="f671" fmla="val 1506"/>
                  <a:gd name="f672" fmla="val 1522"/>
                  <a:gd name="f673" fmla="val 1508"/>
                  <a:gd name="f674" fmla="val 1523"/>
                  <a:gd name="f675" fmla="val 1501"/>
                  <a:gd name="f676" fmla="val 1530"/>
                  <a:gd name="f677" fmla="val 1539"/>
                  <a:gd name="f678" fmla="val 1488"/>
                  <a:gd name="f679" fmla="val 1562"/>
                  <a:gd name="f680" fmla="val 1571"/>
                  <a:gd name="f681" fmla="val 1475"/>
                  <a:gd name="f682" fmla="val 1577"/>
                  <a:gd name="f683" fmla="val 1479"/>
                  <a:gd name="f684" fmla="val 1589"/>
                  <a:gd name="f685" fmla="val 1505"/>
                  <a:gd name="f686" fmla="val 1599"/>
                  <a:gd name="f687" fmla="val 1511"/>
                  <a:gd name="f688" fmla="val 1603"/>
                  <a:gd name="f689" fmla="val 1514"/>
                  <a:gd name="f690" fmla="val 1606"/>
                  <a:gd name="f691" fmla="val 1512"/>
                  <a:gd name="f692" fmla="val 1615"/>
                  <a:gd name="f693" fmla="val 1619"/>
                  <a:gd name="f694" fmla="val 1623"/>
                  <a:gd name="f695" fmla="val 1496"/>
                  <a:gd name="f696" fmla="val 1626"/>
                  <a:gd name="f697" fmla="val 1494"/>
                  <a:gd name="f698" fmla="val 1634"/>
                  <a:gd name="f699" fmla="val 1481"/>
                  <a:gd name="f700" fmla="val 1644"/>
                  <a:gd name="f701" fmla="val 1646"/>
                  <a:gd name="f702" fmla="val 1469"/>
                  <a:gd name="f703" fmla="val 1649"/>
                  <a:gd name="f704" fmla="val 1467"/>
                  <a:gd name="f705" fmla="val 1655"/>
                  <a:gd name="f706" fmla="val 1468"/>
                  <a:gd name="f707" fmla="val 1662"/>
                  <a:gd name="f708" fmla="val 1471"/>
                  <a:gd name="f709" fmla="val 1669"/>
                  <a:gd name="f710" fmla="val 1473"/>
                  <a:gd name="f711" fmla="val 1677"/>
                  <a:gd name="f712" fmla="val 1472"/>
                  <a:gd name="f713" fmla="val 1685"/>
                  <a:gd name="f714" fmla="val 1691"/>
                  <a:gd name="f715" fmla="val 1463"/>
                  <a:gd name="f716" fmla="val 1695"/>
                  <a:gd name="f717" fmla="val 1457"/>
                  <a:gd name="f718" fmla="val 1698"/>
                  <a:gd name="f719" fmla="val 1449"/>
                  <a:gd name="f720" fmla="val 1700"/>
                  <a:gd name="f721" fmla="val 1445"/>
                  <a:gd name="f722" fmla="val 1703"/>
                  <a:gd name="f723" fmla="val 1444"/>
                  <a:gd name="f724" fmla="val 1708"/>
                  <a:gd name="f725" fmla="val 1715"/>
                  <a:gd name="f726" fmla="val 1721"/>
                  <a:gd name="f727" fmla="val 1729"/>
                  <a:gd name="f728" fmla="val 1440"/>
                  <a:gd name="f729" fmla="val 1735"/>
                  <a:gd name="f730" fmla="val 1435"/>
                  <a:gd name="f731" fmla="val 1741"/>
                  <a:gd name="f732" fmla="val 1433"/>
                  <a:gd name="f733" fmla="val 1744"/>
                  <a:gd name="f734" fmla="val 1424"/>
                  <a:gd name="f735" fmla="val 1738"/>
                  <a:gd name="f736" fmla="val 1417"/>
                  <a:gd name="f737" fmla="val 1732"/>
                  <a:gd name="f738" fmla="val 1726"/>
                  <a:gd name="f739" fmla="val 1717"/>
                  <a:gd name="f740" fmla="val 1710"/>
                  <a:gd name="f741" fmla="val 1407"/>
                  <a:gd name="f742" fmla="val 1705"/>
                  <a:gd name="f743" fmla="val 1704"/>
                  <a:gd name="f744" fmla="val 1706"/>
                  <a:gd name="f745" fmla="val 1716"/>
                  <a:gd name="f746" fmla="val 1375"/>
                  <a:gd name="f747" fmla="val 1725"/>
                  <a:gd name="f748" fmla="val 1727"/>
                  <a:gd name="f749" fmla="val 1359"/>
                  <a:gd name="f750" fmla="val 1714"/>
                  <a:gd name="f751" fmla="val 1336"/>
                  <a:gd name="f752" fmla="val 1707"/>
                  <a:gd name="f753" fmla="val 1328"/>
                  <a:gd name="f754" fmla="val 1321"/>
                  <a:gd name="f755" fmla="val 1693"/>
                  <a:gd name="f756" fmla="val 1689"/>
                  <a:gd name="f757" fmla="val 1684"/>
                  <a:gd name="f758" fmla="val 1305"/>
                  <a:gd name="f759" fmla="val 1682"/>
                  <a:gd name="f760" fmla="val 1680"/>
                  <a:gd name="f761" fmla="val 1678"/>
                  <a:gd name="f762" fmla="val 1292"/>
                  <a:gd name="f763" fmla="val 1674"/>
                  <a:gd name="f764" fmla="val 1668"/>
                  <a:gd name="f765" fmla="val 1658"/>
                  <a:gd name="f766" fmla="val 1647"/>
                  <a:gd name="f767" fmla="val 1289"/>
                  <a:gd name="f768" fmla="val 1613"/>
                  <a:gd name="f769" fmla="val 1277"/>
                  <a:gd name="f770" fmla="val 1601"/>
                  <a:gd name="f771" fmla="val 1596"/>
                  <a:gd name="f772" fmla="val 1595"/>
                  <a:gd name="f773" fmla="val 1205"/>
                  <a:gd name="f774" fmla="val 1600"/>
                  <a:gd name="f775" fmla="val 1611"/>
                  <a:gd name="f776" fmla="val 1616"/>
                  <a:gd name="f777" fmla="val 1179"/>
                  <a:gd name="f778" fmla="val 1174"/>
                  <a:gd name="f779" fmla="val 1172"/>
                  <a:gd name="f780" fmla="val 1617"/>
                  <a:gd name="f781" fmla="val 1171"/>
                  <a:gd name="f782" fmla="val 1591"/>
                  <a:gd name="f783" fmla="val 1166"/>
                  <a:gd name="f784" fmla="val 1590"/>
                  <a:gd name="f785" fmla="val 1592"/>
                  <a:gd name="f786" fmla="val 1152"/>
                  <a:gd name="f787" fmla="val 1642"/>
                  <a:gd name="f788" fmla="val 1065"/>
                  <a:gd name="f789" fmla="val 1648"/>
                  <a:gd name="f790" fmla="val 1651"/>
                  <a:gd name="f791" fmla="val 1052"/>
                  <a:gd name="f792" fmla="val 1652"/>
                  <a:gd name="f793" fmla="val 1635"/>
                  <a:gd name="f794" fmla="val 1628"/>
                  <a:gd name="f795" fmla="val 1020"/>
                  <a:gd name="f796" fmla="val 1008"/>
                  <a:gd name="f797" fmla="val 998"/>
                  <a:gd name="f798" fmla="val 965"/>
                  <a:gd name="f799" fmla="val 952"/>
                  <a:gd name="f800" fmla="val 950"/>
                  <a:gd name="f801" fmla="val 1576"/>
                  <a:gd name="f802" fmla="val 949"/>
                  <a:gd name="f803" fmla="val 1569"/>
                  <a:gd name="f804" fmla="val 1568"/>
                  <a:gd name="f805" fmla="val 931"/>
                  <a:gd name="f806" fmla="val 917"/>
                  <a:gd name="f807" fmla="val 906"/>
                  <a:gd name="f808" fmla="val 901"/>
                  <a:gd name="f809" fmla="val 893"/>
                  <a:gd name="f810" fmla="val 1585"/>
                  <a:gd name="f811" fmla="val 888"/>
                  <a:gd name="f812" fmla="val 1586"/>
                  <a:gd name="f813" fmla="val 881"/>
                  <a:gd name="f814" fmla="val 873"/>
                  <a:gd name="f815" fmla="val 865"/>
                  <a:gd name="f816" fmla="val 859"/>
                  <a:gd name="f817" fmla="val 855"/>
                  <a:gd name="f818" fmla="val 1609"/>
                  <a:gd name="f819" fmla="val 844"/>
                  <a:gd name="f820" fmla="val 1637"/>
                  <a:gd name="f821" fmla="val 1645"/>
                  <a:gd name="f822" fmla="val 834"/>
                  <a:gd name="f823" fmla="val 1654"/>
                  <a:gd name="f824" fmla="val 836"/>
                  <a:gd name="f825" fmla="val 1667"/>
                  <a:gd name="f826" fmla="val 843"/>
                  <a:gd name="f827" fmla="val 1673"/>
                  <a:gd name="f828" fmla="val 1681"/>
                  <a:gd name="f829" fmla="val 1694"/>
                  <a:gd name="f830" fmla="val 815"/>
                  <a:gd name="f831" fmla="val 1701"/>
                  <a:gd name="f832" fmla="val 799"/>
                  <a:gd name="f833" fmla="val 796"/>
                  <a:gd name="f834" fmla="val 795"/>
                  <a:gd name="f835" fmla="val 793"/>
                  <a:gd name="f836" fmla="val 1749"/>
                  <a:gd name="f837" fmla="val 789"/>
                  <a:gd name="f838" fmla="val 1753"/>
                  <a:gd name="f839" fmla="val 782"/>
                  <a:gd name="f840" fmla="val 1757"/>
                  <a:gd name="f841" fmla="val 1760"/>
                  <a:gd name="f842" fmla="val 753"/>
                  <a:gd name="f843" fmla="val 1762"/>
                  <a:gd name="f844" fmla="val 749"/>
                  <a:gd name="f845" fmla="val 1765"/>
                  <a:gd name="f846" fmla="val 747"/>
                  <a:gd name="f847" fmla="val 1770"/>
                  <a:gd name="f848" fmla="val 748"/>
                  <a:gd name="f849" fmla="val 1779"/>
                  <a:gd name="f850" fmla="val 751"/>
                  <a:gd name="f851" fmla="val 1788"/>
                  <a:gd name="f852" fmla="val 755"/>
                  <a:gd name="f853" fmla="val 1798"/>
                  <a:gd name="f854" fmla="val 758"/>
                  <a:gd name="f855" fmla="val 1807"/>
                  <a:gd name="f856" fmla="val 1814"/>
                  <a:gd name="f857" fmla="val 757"/>
                  <a:gd name="f858" fmla="val 1822"/>
                  <a:gd name="f859" fmla="val 1834"/>
                  <a:gd name="f860" fmla="val 1846"/>
                  <a:gd name="f861" fmla="val 1858"/>
                  <a:gd name="f862" fmla="val 744"/>
                  <a:gd name="f863" fmla="val 1865"/>
                  <a:gd name="f864" fmla="val 1870"/>
                  <a:gd name="f865" fmla="val 1878"/>
                  <a:gd name="f866" fmla="val 724"/>
                  <a:gd name="f867" fmla="val 1887"/>
                  <a:gd name="f868" fmla="val 718"/>
                  <a:gd name="f869" fmla="val 1897"/>
                  <a:gd name="f870" fmla="val 713"/>
                  <a:gd name="f871" fmla="val 1906"/>
                  <a:gd name="f872" fmla="val 710"/>
                  <a:gd name="f873" fmla="val 1913"/>
                  <a:gd name="f874" fmla="val 711"/>
                  <a:gd name="f875" fmla="val 1922"/>
                  <a:gd name="f876" fmla="val 1932"/>
                  <a:gd name="f877" fmla="val 717"/>
                  <a:gd name="f878" fmla="val 1942"/>
                  <a:gd name="f879" fmla="val 1950"/>
                  <a:gd name="f880" fmla="val 726"/>
                  <a:gd name="f881" fmla="val 1957"/>
                  <a:gd name="f882" fmla="val 1961"/>
                  <a:gd name="f883" fmla="val 737"/>
                  <a:gd name="f884" fmla="val 1963"/>
                  <a:gd name="f885" fmla="val 742"/>
                  <a:gd name="f886" fmla="val 1964"/>
                  <a:gd name="f887" fmla="val 746"/>
                  <a:gd name="f888" fmla="val 1968"/>
                  <a:gd name="f889" fmla="val 1974"/>
                  <a:gd name="f890" fmla="val 1979"/>
                  <a:gd name="f891" fmla="val 1982"/>
                  <a:gd name="f892" fmla="val 1986"/>
                  <a:gd name="f893" fmla="val 770"/>
                  <a:gd name="f894" fmla="val 1989"/>
                  <a:gd name="f895" fmla="val 771"/>
                  <a:gd name="f896" fmla="val 1992"/>
                  <a:gd name="f897" fmla="val 765"/>
                  <a:gd name="f898" fmla="val 2000"/>
                  <a:gd name="f899" fmla="val 2009"/>
                  <a:gd name="f900" fmla="val 2013"/>
                  <a:gd name="f901" fmla="val 756"/>
                  <a:gd name="f902" fmla="val 2020"/>
                  <a:gd name="f903" fmla="val 754"/>
                  <a:gd name="f904" fmla="val 2029"/>
                  <a:gd name="f905" fmla="val 2049"/>
                  <a:gd name="f906" fmla="val 2056"/>
                  <a:gd name="f907" fmla="val 741"/>
                  <a:gd name="f908" fmla="val 2059"/>
                  <a:gd name="f909" fmla="val 2057"/>
                  <a:gd name="f910" fmla="val 721"/>
                  <a:gd name="f911" fmla="val 2041"/>
                  <a:gd name="f912" fmla="val 2039"/>
                  <a:gd name="f913" fmla="val 708"/>
                  <a:gd name="f914" fmla="val 2040"/>
                  <a:gd name="f915" fmla="val 700"/>
                  <a:gd name="f916" fmla="val 2043"/>
                  <a:gd name="f917" fmla="val 693"/>
                  <a:gd name="f918" fmla="val 2045"/>
                  <a:gd name="f919" fmla="val 687"/>
                  <a:gd name="f920" fmla="val 2047"/>
                  <a:gd name="f921" fmla="val 672"/>
                  <a:gd name="f922" fmla="val 2050"/>
                  <a:gd name="f923" fmla="val 631"/>
                  <a:gd name="f924" fmla="val 620"/>
                  <a:gd name="f925" fmla="val 614"/>
                  <a:gd name="f926" fmla="val 2062"/>
                  <a:gd name="f927" fmla="val 610"/>
                  <a:gd name="f928" fmla="val 2068"/>
                  <a:gd name="f929" fmla="val 602"/>
                  <a:gd name="f930" fmla="val 2083"/>
                  <a:gd name="f931" fmla="val 599"/>
                  <a:gd name="f932" fmla="val 2090"/>
                  <a:gd name="f933" fmla="val 596"/>
                  <a:gd name="f934" fmla="val 2093"/>
                  <a:gd name="f935" fmla="val 592"/>
                  <a:gd name="f936" fmla="val 2094"/>
                  <a:gd name="f937" fmla="val 585"/>
                  <a:gd name="f938" fmla="val 2097"/>
                  <a:gd name="f939" fmla="val 577"/>
                  <a:gd name="f940" fmla="val 2101"/>
                  <a:gd name="f941" fmla="val 567"/>
                  <a:gd name="f942" fmla="val 2106"/>
                  <a:gd name="f943" fmla="val 2110"/>
                  <a:gd name="f944" fmla="val 2113"/>
                  <a:gd name="f945" fmla="val 534"/>
                  <a:gd name="f946" fmla="val 526"/>
                  <a:gd name="f947" fmla="val 509"/>
                  <a:gd name="f948" fmla="val 2108"/>
                  <a:gd name="f949" fmla="val 504"/>
                  <a:gd name="f950" fmla="val 499"/>
                  <a:gd name="f951" fmla="val 2103"/>
                  <a:gd name="f952" fmla="val 495"/>
                  <a:gd name="f953" fmla="val 2098"/>
                  <a:gd name="f954" fmla="val 487"/>
                  <a:gd name="f955" fmla="val 2092"/>
                  <a:gd name="f956" fmla="val 2089"/>
                  <a:gd name="f957" fmla="val 471"/>
                  <a:gd name="f958" fmla="val 2087"/>
                  <a:gd name="f959" fmla="val 456"/>
                  <a:gd name="f960" fmla="val 2079"/>
                  <a:gd name="f961" fmla="val 445"/>
                  <a:gd name="f962" fmla="val 2078"/>
                  <a:gd name="f963" fmla="val 434"/>
                  <a:gd name="f964" fmla="val 2082"/>
                  <a:gd name="f965" fmla="val 423"/>
                  <a:gd name="f966" fmla="val 2086"/>
                  <a:gd name="f967" fmla="val 2091"/>
                  <a:gd name="f968" fmla="val 407"/>
                  <a:gd name="f969" fmla="val 400"/>
                  <a:gd name="f970" fmla="val 2075"/>
                  <a:gd name="f971" fmla="val 394"/>
                  <a:gd name="f972" fmla="val 2071"/>
                  <a:gd name="f973" fmla="val 386"/>
                  <a:gd name="f974" fmla="val 2066"/>
                  <a:gd name="f975" fmla="val 381"/>
                  <a:gd name="f976" fmla="val 2061"/>
                  <a:gd name="f977" fmla="val 2048"/>
                  <a:gd name="f978" fmla="val 2044"/>
                  <a:gd name="f979" fmla="val 392"/>
                  <a:gd name="f980" fmla="val 2037"/>
                  <a:gd name="f981" fmla="val 390"/>
                  <a:gd name="f982" fmla="val 2032"/>
                  <a:gd name="f983" fmla="val 2031"/>
                  <a:gd name="f984" fmla="val 2033"/>
                  <a:gd name="f985" fmla="val 2035"/>
                  <a:gd name="f986" fmla="val 377"/>
                  <a:gd name="f987" fmla="val 2036"/>
                  <a:gd name="f988" fmla="val 374"/>
                  <a:gd name="f989" fmla="val 2034"/>
                  <a:gd name="f990" fmla="val 371"/>
                  <a:gd name="f991" fmla="val 368"/>
                  <a:gd name="f992" fmla="val 2023"/>
                  <a:gd name="f993" fmla="val 2018"/>
                  <a:gd name="f994" fmla="val 2011"/>
                  <a:gd name="f995" fmla="val 2012"/>
                  <a:gd name="f996" fmla="val 2021"/>
                  <a:gd name="f997" fmla="val 300"/>
                  <a:gd name="f998" fmla="val 293"/>
                  <a:gd name="f999" fmla="val 287"/>
                  <a:gd name="f1000" fmla="val 2028"/>
                  <a:gd name="f1001" fmla="val 283"/>
                  <a:gd name="f1002" fmla="val 2024"/>
                  <a:gd name="f1003" fmla="val 278"/>
                  <a:gd name="f1004" fmla="val 274"/>
                  <a:gd name="f1005" fmla="val 2017"/>
                  <a:gd name="f1006" fmla="val 268"/>
                  <a:gd name="f1007" fmla="val 262"/>
                  <a:gd name="f1008" fmla="val 2019"/>
                  <a:gd name="f1009" fmla="val 250"/>
                  <a:gd name="f1010" fmla="val 2022"/>
                  <a:gd name="f1011" fmla="val 246"/>
                  <a:gd name="f1012" fmla="val 245"/>
                  <a:gd name="f1013" fmla="val 2008"/>
                  <a:gd name="f1014" fmla="val 2001"/>
                  <a:gd name="f1015" fmla="val 1993"/>
                  <a:gd name="f1016" fmla="val 251"/>
                  <a:gd name="f1017" fmla="val 1983"/>
                  <a:gd name="f1018" fmla="val 248"/>
                  <a:gd name="f1019" fmla="val 1970"/>
                  <a:gd name="f1020" fmla="val 249"/>
                  <a:gd name="f1021" fmla="val 1954"/>
                  <a:gd name="f1022" fmla="val 1952"/>
                  <a:gd name="f1023" fmla="val 1951"/>
                  <a:gd name="f1024" fmla="val 254"/>
                  <a:gd name="f1025" fmla="val 1949"/>
                  <a:gd name="f1026" fmla="val 258"/>
                  <a:gd name="f1027" fmla="val 259"/>
                  <a:gd name="f1028" fmla="val 1948"/>
                  <a:gd name="f1029" fmla="val 260"/>
                  <a:gd name="f1030" fmla="val 1946"/>
                  <a:gd name="f1031" fmla="val 1944"/>
                  <a:gd name="f1032" fmla="val 1931"/>
                  <a:gd name="f1033" fmla="val 1925"/>
                  <a:gd name="f1034" fmla="val 1921"/>
                  <a:gd name="f1035" fmla="val 265"/>
                  <a:gd name="f1036" fmla="val 1917"/>
                  <a:gd name="f1037" fmla="val 1915"/>
                  <a:gd name="f1038" fmla="val 1911"/>
                  <a:gd name="f1039" fmla="val 1909"/>
                  <a:gd name="f1040" fmla="val 238"/>
                  <a:gd name="f1041" fmla="val 1908"/>
                  <a:gd name="f1042" fmla="val 233"/>
                  <a:gd name="f1043" fmla="val 1905"/>
                  <a:gd name="f1044" fmla="val 1900"/>
                  <a:gd name="f1045" fmla="val 230"/>
                  <a:gd name="f1046" fmla="val 1892"/>
                  <a:gd name="f1047" fmla="val 226"/>
                  <a:gd name="f1048" fmla="val 1882"/>
                  <a:gd name="f1049" fmla="val 221"/>
                  <a:gd name="f1050" fmla="val 1872"/>
                  <a:gd name="f1051" fmla="val 217"/>
                  <a:gd name="f1052" fmla="val 1862"/>
                  <a:gd name="f1053" fmla="val 214"/>
                  <a:gd name="f1054" fmla="val 1855"/>
                  <a:gd name="f1055" fmla="val 1850"/>
                  <a:gd name="f1056" fmla="val 206"/>
                  <a:gd name="f1057" fmla="val 1847"/>
                  <a:gd name="f1058" fmla="val 201"/>
                  <a:gd name="f1059" fmla="val 198"/>
                  <a:gd name="f1060" fmla="val 1843"/>
                  <a:gd name="f1061" fmla="val 197"/>
                  <a:gd name="f1062" fmla="val 1839"/>
                  <a:gd name="f1063" fmla="val 1832"/>
                  <a:gd name="f1064" fmla="val 194"/>
                  <a:gd name="f1065" fmla="val 191"/>
                  <a:gd name="f1066" fmla="val 1804"/>
                  <a:gd name="f1067" fmla="val 1797"/>
                  <a:gd name="f1068" fmla="val 175"/>
                  <a:gd name="f1069" fmla="val 1785"/>
                  <a:gd name="f1070" fmla="val 170"/>
                  <a:gd name="f1071" fmla="val 169"/>
                  <a:gd name="f1072" fmla="val 1773"/>
                  <a:gd name="f1073" fmla="val 164"/>
                  <a:gd name="f1074" fmla="val 1756"/>
                  <a:gd name="f1075" fmla="val 158"/>
                  <a:gd name="f1076" fmla="val 1750"/>
                  <a:gd name="f1077" fmla="val 157"/>
                  <a:gd name="f1078" fmla="val 1746"/>
                  <a:gd name="f1079" fmla="val 1739"/>
                  <a:gd name="f1080" fmla="val 160"/>
                  <a:gd name="f1081" fmla="val 1720"/>
                  <a:gd name="f1082" fmla="val 1709"/>
                  <a:gd name="f1083" fmla="val 143"/>
                  <a:gd name="f1084" fmla="val 130"/>
                  <a:gd name="f1085" fmla="val 1702"/>
                  <a:gd name="f1086" fmla="val 126"/>
                  <a:gd name="f1087" fmla="val 119"/>
                  <a:gd name="f1088" fmla="val 103"/>
                  <a:gd name="f1089" fmla="val 98"/>
                  <a:gd name="f1090" fmla="val 1711"/>
                  <a:gd name="f1091" fmla="val 1712"/>
                  <a:gd name="f1092" fmla="val 1718"/>
                  <a:gd name="f1093" fmla="val 52"/>
                  <a:gd name="f1094" fmla="val 45"/>
                  <a:gd name="f1095" fmla="val 1723"/>
                  <a:gd name="f1096" fmla="val 42"/>
                  <a:gd name="f1097" fmla="val 40"/>
                  <a:gd name="f1098" fmla="val 39"/>
                  <a:gd name="f1099" fmla="val 38"/>
                  <a:gd name="f1100" fmla="val 37"/>
                  <a:gd name="f1101" fmla="val 36"/>
                  <a:gd name="f1102" fmla="val 1676"/>
                  <a:gd name="f1103" fmla="val 1666"/>
                  <a:gd name="f1104" fmla="val 41"/>
                  <a:gd name="f1105" fmla="val 43"/>
                  <a:gd name="f1106" fmla="val 17"/>
                  <a:gd name="f1107" fmla="val 15"/>
                  <a:gd name="f1108" fmla="val 16"/>
                  <a:gd name="f1109" fmla="val 18"/>
                  <a:gd name="f1110" fmla="val 1597"/>
                  <a:gd name="f1111" fmla="val 20"/>
                  <a:gd name="f1112" fmla="val 21"/>
                  <a:gd name="f1113" fmla="val 19"/>
                  <a:gd name="f1114" fmla="val 14"/>
                  <a:gd name="f1115" fmla="val 1558"/>
                  <a:gd name="f1116" fmla="val 8"/>
                  <a:gd name="f1117" fmla="val 3"/>
                  <a:gd name="f1118" fmla="val 1542"/>
                  <a:gd name="f1119" fmla="val 1"/>
                  <a:gd name="f1120" fmla="val 1537"/>
                  <a:gd name="f1121" fmla="val 1531"/>
                  <a:gd name="f1122" fmla="val 1525"/>
                  <a:gd name="f1123" fmla="val 4"/>
                  <a:gd name="f1124" fmla="val 9"/>
                  <a:gd name="f1125" fmla="val 13"/>
                  <a:gd name="f1126" fmla="val 1518"/>
                  <a:gd name="f1127" fmla="val 24"/>
                  <a:gd name="f1128" fmla="val 1521"/>
                  <a:gd name="f1129" fmla="val 29"/>
                  <a:gd name="f1130" fmla="val 1519"/>
                  <a:gd name="f1131" fmla="val 31"/>
                  <a:gd name="f1132" fmla="val 1509"/>
                  <a:gd name="f1133" fmla="val 30"/>
                  <a:gd name="f1134" fmla="val 28"/>
                  <a:gd name="f1135" fmla="val 27"/>
                  <a:gd name="f1136" fmla="val 1489"/>
                  <a:gd name="f1137" fmla="val 32"/>
                  <a:gd name="f1138" fmla="val 50"/>
                  <a:gd name="f1139" fmla="val 53"/>
                  <a:gd name="f1140" fmla="val 47"/>
                  <a:gd name="f1141" fmla="val 1466"/>
                  <a:gd name="f1142" fmla="val 33"/>
                  <a:gd name="f1143" fmla="val 1461"/>
                  <a:gd name="f1144" fmla="val 26"/>
                  <a:gd name="f1145" fmla="val 1459"/>
                  <a:gd name="f1146" fmla="val 1454"/>
                  <a:gd name="f1147" fmla="val 34"/>
                  <a:gd name="f1148" fmla="val 1448"/>
                  <a:gd name="f1149" fmla="val 1436"/>
                  <a:gd name="f1150" fmla="val 54"/>
                  <a:gd name="f1151" fmla="val 51"/>
                  <a:gd name="f1152" fmla="val 1418"/>
                  <a:gd name="f1153" fmla="val 49"/>
                  <a:gd name="f1154" fmla="val 1399"/>
                  <a:gd name="f1155" fmla="val 46"/>
                  <a:gd name="f1156" fmla="val 67"/>
                  <a:gd name="f1157" fmla="val 70"/>
                  <a:gd name="f1158" fmla="val 1381"/>
                  <a:gd name="f1159" fmla="val 72"/>
                  <a:gd name="f1160" fmla="val 1378"/>
                  <a:gd name="f1161" fmla="val 74"/>
                  <a:gd name="f1162" fmla="val 78"/>
                  <a:gd name="f1163" fmla="val 94"/>
                  <a:gd name="f1164" fmla="val 108"/>
                  <a:gd name="f1165" fmla="val 1371"/>
                  <a:gd name="f1166" fmla="val 1361"/>
                  <a:gd name="f1167" fmla="val 1356"/>
                  <a:gd name="f1168" fmla="val 1353"/>
                  <a:gd name="f1169" fmla="val 1347"/>
                  <a:gd name="f1170" fmla="val 1326"/>
                  <a:gd name="f1171" fmla="val 110"/>
                  <a:gd name="f1172" fmla="val 97"/>
                  <a:gd name="f1173" fmla="val 1310"/>
                  <a:gd name="f1174" fmla="val 80"/>
                  <a:gd name="f1175" fmla="val 1298"/>
                  <a:gd name="f1176" fmla="val 68"/>
                  <a:gd name="f1177" fmla="val 1287"/>
                  <a:gd name="f1178" fmla="val 6"/>
                  <a:gd name="f1179" fmla="val 1266"/>
                  <a:gd name="f1180" fmla="val 7"/>
                  <a:gd name="f1181" fmla="val 10"/>
                  <a:gd name="f1182" fmla="val 25"/>
                  <a:gd name="f1183" fmla="val 1201"/>
                  <a:gd name="f1184" fmla="val 56"/>
                  <a:gd name="f1185" fmla="val 1162"/>
                  <a:gd name="f1186" fmla="val 73"/>
                  <a:gd name="f1187" fmla="val 83"/>
                  <a:gd name="f1188" fmla="val 91"/>
                  <a:gd name="f1189" fmla="val 90"/>
                  <a:gd name="f1190" fmla="val 101"/>
                  <a:gd name="f1191" fmla="val 104"/>
                  <a:gd name="f1192" fmla="val 1044"/>
                  <a:gd name="f1193" fmla="val 1036"/>
                  <a:gd name="f1194" fmla="val 1033"/>
                  <a:gd name="f1195" fmla="val 1026"/>
                  <a:gd name="f1196" fmla="val 1024"/>
                  <a:gd name="f1197" fmla="val 1019"/>
                  <a:gd name="f1198" fmla="val 1004"/>
                  <a:gd name="f1199" fmla="val 107"/>
                  <a:gd name="f1200" fmla="val 979"/>
                  <a:gd name="f1201" fmla="val 972"/>
                  <a:gd name="f1202" fmla="val 966"/>
                  <a:gd name="f1203" fmla="val 968"/>
                  <a:gd name="f1204" fmla="val 137"/>
                  <a:gd name="f1205" fmla="val 149"/>
                  <a:gd name="f1206" fmla="val 152"/>
                  <a:gd name="f1207" fmla="val 973"/>
                  <a:gd name="f1208" fmla="val 153"/>
                  <a:gd name="f1209" fmla="val 969"/>
                  <a:gd name="f1210" fmla="val 154"/>
                  <a:gd name="f1211" fmla="val 961"/>
                  <a:gd name="f1212" fmla="val 163"/>
                  <a:gd name="f1213" fmla="val 962"/>
                  <a:gd name="f1214" fmla="val 176"/>
                  <a:gd name="f1215" fmla="val 183"/>
                  <a:gd name="f1216" fmla="val 189"/>
                  <a:gd name="f1217" fmla="val 195"/>
                  <a:gd name="f1218" fmla="val 970"/>
                  <a:gd name="f1219" fmla="val 200"/>
                  <a:gd name="f1220" fmla="val 209"/>
                  <a:gd name="f1221" fmla="val 934"/>
                  <a:gd name="f1222" fmla="val 220"/>
                  <a:gd name="f1223" fmla="val 925"/>
                  <a:gd name="f1224" fmla="val 232"/>
                  <a:gd name="f1225" fmla="val 911"/>
                  <a:gd name="f1226" fmla="val 273"/>
                  <a:gd name="f1227" fmla="val 905"/>
                  <a:gd name="f1228" fmla="val 885"/>
                  <a:gd name="f1229" fmla="val 294"/>
                  <a:gd name="f1230" fmla="val 296"/>
                  <a:gd name="f1231" fmla="val 292"/>
                  <a:gd name="f1232" fmla="val 849"/>
                  <a:gd name="f1233" fmla="val 282"/>
                  <a:gd name="f1234" fmla="val 276"/>
                  <a:gd name="f1235" fmla="val 838"/>
                  <a:gd name="f1236" fmla="val 271"/>
                  <a:gd name="f1237" fmla="val 241"/>
                  <a:gd name="f1238" fmla="val 237"/>
                  <a:gd name="f1239" fmla="val 790"/>
                  <a:gd name="f1240" fmla="val 768"/>
                  <a:gd name="f1241" fmla="val 269"/>
                  <a:gd name="f1242" fmla="val 734"/>
                  <a:gd name="f1243" fmla="val 280"/>
                  <a:gd name="f1244" fmla="val 305"/>
                  <a:gd name="f1245" fmla="val 720"/>
                  <a:gd name="f1246" fmla="val 312"/>
                  <a:gd name="f1247" fmla="val 317"/>
                  <a:gd name="f1248" fmla="val 712"/>
                  <a:gd name="f1249" fmla="val 701"/>
                  <a:gd name="f1250" fmla="val 686"/>
                  <a:gd name="f1251" fmla="val 684"/>
                  <a:gd name="f1252" fmla="val 336"/>
                  <a:gd name="f1253" fmla="val 685"/>
                  <a:gd name="f1254" fmla="val 340"/>
                  <a:gd name="f1255" fmla="val 681"/>
                  <a:gd name="f1256" fmla="val 341"/>
                  <a:gd name="f1257" fmla="val 655"/>
                  <a:gd name="f1258" fmla="val 646"/>
                  <a:gd name="f1259" fmla="val 639"/>
                  <a:gd name="f1260" fmla="val 630"/>
                  <a:gd name="f1261" fmla="val 621"/>
                  <a:gd name="f1262" fmla="val 363"/>
                  <a:gd name="f1263" fmla="val 612"/>
                  <a:gd name="f1264" fmla="val 366"/>
                  <a:gd name="f1265" fmla="val 607"/>
                  <a:gd name="f1266" fmla="val 370"/>
                  <a:gd name="f1267" fmla="val 605"/>
                  <a:gd name="f1268" fmla="val 604"/>
                  <a:gd name="f1269" fmla="val 598"/>
                  <a:gd name="f1270" fmla="val 589"/>
                  <a:gd name="f1271" fmla="val 574"/>
                  <a:gd name="f1272" fmla="val 570"/>
                  <a:gd name="f1273" fmla="val 342"/>
                  <a:gd name="f1274" fmla="val 560"/>
                  <a:gd name="f1275" fmla="val 335"/>
                  <a:gd name="f1276" fmla="val 550"/>
                  <a:gd name="f1277" fmla="val 337"/>
                  <a:gd name="f1278" fmla="val 535"/>
                  <a:gd name="f1279" fmla="val 525"/>
                  <a:gd name="f1280" fmla="val 515"/>
                  <a:gd name="f1281" fmla="val 507"/>
                  <a:gd name="f1282" fmla="val 402"/>
                  <a:gd name="f1283" fmla="val 410"/>
                  <a:gd name="f1284" fmla="val 416"/>
                  <a:gd name="f1285" fmla="val 421"/>
                  <a:gd name="f1286" fmla="val 446"/>
                  <a:gd name="f1287" fmla="val 430"/>
                  <a:gd name="f1288" fmla="val 427"/>
                  <a:gd name="f1289" fmla="val 413"/>
                  <a:gd name="f1290" fmla="val 429"/>
                  <a:gd name="f1291" fmla="val 403"/>
                  <a:gd name="f1292" fmla="val 443"/>
                  <a:gd name="f1293" fmla="val 448"/>
                  <a:gd name="f1294" fmla="val 453"/>
                  <a:gd name="f1295" fmla="val 458"/>
                  <a:gd name="f1296" fmla="val 311"/>
                  <a:gd name="f1297" fmla="val 465"/>
                  <a:gd name="f1298" fmla="val 304"/>
                  <a:gd name="f1299" fmla="val 288"/>
                  <a:gd name="f1300" fmla="val 270"/>
                  <a:gd name="f1301" fmla="val 267"/>
                  <a:gd name="f1302" fmla="val 530"/>
                  <a:gd name="f1303" fmla="val 539"/>
                  <a:gd name="f1304" fmla="val 551"/>
                  <a:gd name="f1305" fmla="val 566"/>
                  <a:gd name="f1306" fmla="val 240"/>
                  <a:gd name="f1307" fmla="val 595"/>
                  <a:gd name="f1308" fmla="val 234"/>
                  <a:gd name="f1309" fmla="val 228"/>
                  <a:gd name="f1310" fmla="val 224"/>
                  <a:gd name="f1311" fmla="val 635"/>
                  <a:gd name="f1312" fmla="val 219"/>
                  <a:gd name="f1313" fmla="val 637"/>
                  <a:gd name="f1314" fmla="val 216"/>
                  <a:gd name="f1315" fmla="val 634"/>
                  <a:gd name="f1316" fmla="val 632"/>
                  <a:gd name="f1317" fmla="val 633"/>
                  <a:gd name="f1318" fmla="val 188"/>
                  <a:gd name="f1319" fmla="val 182"/>
                  <a:gd name="f1320" fmla="val 640"/>
                  <a:gd name="f1321" fmla="val 642"/>
                  <a:gd name="f1322" fmla="val 641"/>
                  <a:gd name="f1323" fmla="val 146"/>
                  <a:gd name="f1324" fmla="val 133"/>
                  <a:gd name="f1325" fmla="val 645"/>
                  <a:gd name="f1326" fmla="val 129"/>
                  <a:gd name="f1327" fmla="val 650"/>
                  <a:gd name="f1328" fmla="val 128"/>
                  <a:gd name="f1329" fmla="val 654"/>
                  <a:gd name="f1330" fmla="val 656"/>
                  <a:gd name="f1331" fmla="val 652"/>
                  <a:gd name="f1332" fmla="val 647"/>
                  <a:gd name="f1333" fmla="val 648"/>
                  <a:gd name="f1334" fmla="val 657"/>
                  <a:gd name="f1335" fmla="val 664"/>
                  <a:gd name="f1336" fmla="val 677"/>
                  <a:gd name="f1337" fmla="val 688"/>
                  <a:gd name="f1338" fmla="val 695"/>
                  <a:gd name="f1339" fmla="val 735"/>
                  <a:gd name="f1340" fmla="val 750"/>
                  <a:gd name="f1341" fmla="val 764"/>
                  <a:gd name="f1342" fmla="val 775"/>
                  <a:gd name="f1343" fmla="val 22"/>
                  <a:gd name="f1344" fmla="val 787"/>
                  <a:gd name="f1345" fmla="val 804"/>
                  <a:gd name="f1346" fmla="+- 0 0 -90"/>
                  <a:gd name="f1347" fmla="*/ f4 1 1643"/>
                  <a:gd name="f1348" fmla="*/ f5 1 2114"/>
                  <a:gd name="f1349" fmla="+- f8 0 f6"/>
                  <a:gd name="f1350" fmla="+- f7 0 f6"/>
                  <a:gd name="f1351" fmla="*/ f1346 f0 1"/>
                  <a:gd name="f1352" fmla="*/ f1350 1 1643"/>
                  <a:gd name="f1353" fmla="*/ f1349 1 2114"/>
                  <a:gd name="f1354" fmla="*/ f1351 1 f3"/>
                  <a:gd name="f1355" fmla="*/ 328 1 f1352"/>
                  <a:gd name="f1356" fmla="*/ 1243 1 f1353"/>
                  <a:gd name="f1357" fmla="*/ 459 1 f1352"/>
                  <a:gd name="f1358" fmla="*/ 1218 1 f1353"/>
                  <a:gd name="f1359" fmla="*/ 503 1 f1352"/>
                  <a:gd name="f1360" fmla="*/ 1204 1 f1353"/>
                  <a:gd name="f1361" fmla="*/ 414 1 f1352"/>
                  <a:gd name="f1362" fmla="*/ 1195 1 f1353"/>
                  <a:gd name="f1363" fmla="*/ 833 1 f1352"/>
                  <a:gd name="f1364" fmla="*/ 57 1 f1353"/>
                  <a:gd name="f1365" fmla="*/ 935 1 f1352"/>
                  <a:gd name="f1366" fmla="*/ 123 1 f1353"/>
                  <a:gd name="f1367" fmla="*/ 1032 1 f1352"/>
                  <a:gd name="f1368" fmla="*/ 63 1 f1353"/>
                  <a:gd name="f1369" fmla="*/ 1105 1 f1352"/>
                  <a:gd name="f1370" fmla="*/ 148 1 f1353"/>
                  <a:gd name="f1371" fmla="*/ 1137 1 f1352"/>
                  <a:gd name="f1372" fmla="*/ 247 1 f1353"/>
                  <a:gd name="f1373" fmla="*/ 1122 1 f1352"/>
                  <a:gd name="f1374" fmla="*/ 325 1 f1353"/>
                  <a:gd name="f1375" fmla="*/ 1121 1 f1352"/>
                  <a:gd name="f1376" fmla="*/ 391 1 f1353"/>
                  <a:gd name="f1377" fmla="*/ 1087 1 f1352"/>
                  <a:gd name="f1378" fmla="*/ 468 1 f1353"/>
                  <a:gd name="f1379" fmla="*/ 1076 1 f1352"/>
                  <a:gd name="f1380" fmla="*/ 521 1 f1353"/>
                  <a:gd name="f1381" fmla="*/ 609 1 f1353"/>
                  <a:gd name="f1382" fmla="*/ 1125 1 f1352"/>
                  <a:gd name="f1383" fmla="*/ 733 1 f1353"/>
                  <a:gd name="f1384" fmla="*/ 1138 1 f1352"/>
                  <a:gd name="f1385" fmla="*/ 807 1 f1353"/>
                  <a:gd name="f1386" fmla="*/ 1220 1 f1352"/>
                  <a:gd name="f1387" fmla="*/ 886 1 f1353"/>
                  <a:gd name="f1388" fmla="*/ 1265 1 f1352"/>
                  <a:gd name="f1389" fmla="*/ 987 1 f1353"/>
                  <a:gd name="f1390" fmla="*/ 1312 1 f1352"/>
                  <a:gd name="f1391" fmla="*/ 1032 1 f1353"/>
                  <a:gd name="f1392" fmla="*/ 1365 1 f1352"/>
                  <a:gd name="f1393" fmla="*/ 1066 1 f1353"/>
                  <a:gd name="f1394" fmla="*/ 1390 1 f1352"/>
                  <a:gd name="f1395" fmla="*/ 1151 1 f1353"/>
                  <a:gd name="f1396" fmla="*/ 1431 1 f1352"/>
                  <a:gd name="f1397" fmla="*/ 1260 1 f1353"/>
                  <a:gd name="f1398" fmla="*/ 1549 1 f1352"/>
                  <a:gd name="f1399" fmla="*/ 1345 1 f1353"/>
                  <a:gd name="f1400" fmla="*/ 1638 1 f1352"/>
                  <a:gd name="f1401" fmla="*/ 1390 1 f1353"/>
                  <a:gd name="f1402" fmla="*/ 1495 1 f1352"/>
                  <a:gd name="f1403" fmla="*/ 1490 1 f1353"/>
                  <a:gd name="f1404" fmla="*/ 1514 1 f1352"/>
                  <a:gd name="f1405" fmla="*/ 1610 1 f1353"/>
                  <a:gd name="f1406" fmla="*/ 1449 1 f1352"/>
                  <a:gd name="f1407" fmla="*/ 1700 1 f1353"/>
                  <a:gd name="f1408" fmla="*/ 1368 1 f1352"/>
                  <a:gd name="f1409" fmla="*/ 1725 1 f1353"/>
                  <a:gd name="f1410" fmla="*/ 1285 1 f1352"/>
                  <a:gd name="f1411" fmla="*/ 1606 1 f1353"/>
                  <a:gd name="f1412" fmla="*/ 1166 1 f1352"/>
                  <a:gd name="f1413" fmla="*/ 1590 1 f1353"/>
                  <a:gd name="f1414" fmla="*/ 1013 1 f1352"/>
                  <a:gd name="f1415" fmla="*/ 1604 1 f1353"/>
                  <a:gd name="f1416" fmla="*/ 865 1 f1352"/>
                  <a:gd name="f1417" fmla="*/ 1585 1 f1353"/>
                  <a:gd name="f1418" fmla="*/ 806 1 f1352"/>
                  <a:gd name="f1419" fmla="*/ 1710 1 f1353"/>
                  <a:gd name="f1420" fmla="*/ 744 1 f1352"/>
                  <a:gd name="f1421" fmla="*/ 1865 1 f1353"/>
                  <a:gd name="f1422" fmla="*/ 770 1 f1352"/>
                  <a:gd name="f1423" fmla="*/ 1989 1 f1353"/>
                  <a:gd name="f1424" fmla="*/ 614 1 f1352"/>
                  <a:gd name="f1425" fmla="*/ 2062 1 f1353"/>
                  <a:gd name="f1426" fmla="*/ 471 1 f1352"/>
                  <a:gd name="f1427" fmla="*/ 2087 1 f1353"/>
                  <a:gd name="f1428" fmla="*/ 384 1 f1352"/>
                  <a:gd name="f1429" fmla="*/ 2033 1 f1353"/>
                  <a:gd name="f1430" fmla="*/ 262 1 f1352"/>
                  <a:gd name="f1431" fmla="*/ 2019 1 f1353"/>
                  <a:gd name="f1432" fmla="*/ 258 1 f1352"/>
                  <a:gd name="f1433" fmla="*/ 1931 1 f1353"/>
                  <a:gd name="f1434" fmla="*/ 197 1 f1352"/>
                  <a:gd name="f1435" fmla="*/ 1839 1 f1353"/>
                  <a:gd name="f1436" fmla="*/ 136 1 f1352"/>
                  <a:gd name="f1437" fmla="*/ 1701 1 f1353"/>
                  <a:gd name="f1438" fmla="*/ 37 1 f1352"/>
                  <a:gd name="f1439" fmla="*/ 1655 1 f1353"/>
                  <a:gd name="f1440" fmla="*/ 4 1 f1352"/>
                  <a:gd name="f1441" fmla="*/ 1520 1 f1353"/>
                  <a:gd name="f1442" fmla="*/ 53 1 f1352"/>
                  <a:gd name="f1443" fmla="*/ 1482 1 f1353"/>
                  <a:gd name="f1444" fmla="*/ 48 1 f1352"/>
                  <a:gd name="f1445" fmla="*/ 1434 1 f1353"/>
                  <a:gd name="f1446" fmla="*/ 70 1 f1352"/>
                  <a:gd name="f1447" fmla="*/ 1381 1 f1353"/>
                  <a:gd name="f1448" fmla="*/ 114 1 f1352"/>
                  <a:gd name="f1449" fmla="*/ 1368 1 f1353"/>
                  <a:gd name="f1450" fmla="*/ 45 1 f1352"/>
                  <a:gd name="f1451" fmla="*/ 1282 1 f1353"/>
                  <a:gd name="f1452" fmla="*/ 63 1 f1352"/>
                  <a:gd name="f1453" fmla="*/ 1184 1 f1353"/>
                  <a:gd name="f1454" fmla="*/ 98 1 f1352"/>
                  <a:gd name="f1455" fmla="*/ 1080 1 f1353"/>
                  <a:gd name="f1456" fmla="*/ 99 1 f1352"/>
                  <a:gd name="f1457" fmla="*/ 1008 1 f1353"/>
                  <a:gd name="f1458" fmla="*/ 189 1 f1352"/>
                  <a:gd name="f1459" fmla="*/ 971 1 f1353"/>
                  <a:gd name="f1460" fmla="*/ 282 1 f1352"/>
                  <a:gd name="f1461" fmla="*/ 850 1 f1353"/>
                  <a:gd name="f1462" fmla="*/ 296 1 f1352"/>
                  <a:gd name="f1463" fmla="*/ 722 1 f1353"/>
                  <a:gd name="f1464" fmla="*/ 366 1 f1352"/>
                  <a:gd name="f1465" fmla="*/ 607 1 f1353"/>
                  <a:gd name="f1466" fmla="*/ 379 1 f1352"/>
                  <a:gd name="f1467" fmla="*/ 480 1 f1353"/>
                  <a:gd name="f1468" fmla="*/ 475 1 f1352"/>
                  <a:gd name="f1469" fmla="*/ 296 1 f1353"/>
                  <a:gd name="f1470" fmla="*/ 632 1 f1352"/>
                  <a:gd name="f1471" fmla="*/ 191 1 f1353"/>
                  <a:gd name="f1472" fmla="*/ 652 1 f1352"/>
                  <a:gd name="f1473" fmla="*/ 83 1 f1353"/>
                  <a:gd name="f1474" fmla="*/ 764 1 f1352"/>
                  <a:gd name="f1475" fmla="*/ 24 1 f1353"/>
                  <a:gd name="f1476" fmla="*/ 0 1 f1352"/>
                  <a:gd name="f1477" fmla="*/ f7 1 f1352"/>
                  <a:gd name="f1478" fmla="*/ 0 1 f1353"/>
                  <a:gd name="f1479" fmla="*/ f8 1 f1353"/>
                  <a:gd name="f1480" fmla="+- f1354 0 f1"/>
                  <a:gd name="f1481" fmla="*/ f1476 f1347 1"/>
                  <a:gd name="f1482" fmla="*/ f1477 f1347 1"/>
                  <a:gd name="f1483" fmla="*/ f1479 f1348 1"/>
                  <a:gd name="f1484" fmla="*/ f1478 f1348 1"/>
                  <a:gd name="f1485" fmla="*/ f1355 f1347 1"/>
                  <a:gd name="f1486" fmla="*/ f1356 f1348 1"/>
                  <a:gd name="f1487" fmla="*/ f1357 f1347 1"/>
                  <a:gd name="f1488" fmla="*/ f1358 f1348 1"/>
                  <a:gd name="f1489" fmla="*/ f1359 f1347 1"/>
                  <a:gd name="f1490" fmla="*/ f1360 f1348 1"/>
                  <a:gd name="f1491" fmla="*/ f1361 f1347 1"/>
                  <a:gd name="f1492" fmla="*/ f1362 f1348 1"/>
                  <a:gd name="f1493" fmla="*/ f1363 f1347 1"/>
                  <a:gd name="f1494" fmla="*/ f1364 f1348 1"/>
                  <a:gd name="f1495" fmla="*/ f1365 f1347 1"/>
                  <a:gd name="f1496" fmla="*/ f1366 f1348 1"/>
                  <a:gd name="f1497" fmla="*/ f1367 f1347 1"/>
                  <a:gd name="f1498" fmla="*/ f1368 f1348 1"/>
                  <a:gd name="f1499" fmla="*/ f1369 f1347 1"/>
                  <a:gd name="f1500" fmla="*/ f1370 f1348 1"/>
                  <a:gd name="f1501" fmla="*/ f1371 f1347 1"/>
                  <a:gd name="f1502" fmla="*/ f1372 f1348 1"/>
                  <a:gd name="f1503" fmla="*/ f1373 f1347 1"/>
                  <a:gd name="f1504" fmla="*/ f1374 f1348 1"/>
                  <a:gd name="f1505" fmla="*/ f1375 f1347 1"/>
                  <a:gd name="f1506" fmla="*/ f1376 f1348 1"/>
                  <a:gd name="f1507" fmla="*/ f1377 f1347 1"/>
                  <a:gd name="f1508" fmla="*/ f1378 f1348 1"/>
                  <a:gd name="f1509" fmla="*/ f1379 f1347 1"/>
                  <a:gd name="f1510" fmla="*/ f1380 f1348 1"/>
                  <a:gd name="f1511" fmla="*/ f1381 f1348 1"/>
                  <a:gd name="f1512" fmla="*/ f1382 f1347 1"/>
                  <a:gd name="f1513" fmla="*/ f1383 f1348 1"/>
                  <a:gd name="f1514" fmla="*/ f1384 f1347 1"/>
                  <a:gd name="f1515" fmla="*/ f1385 f1348 1"/>
                  <a:gd name="f1516" fmla="*/ f1386 f1347 1"/>
                  <a:gd name="f1517" fmla="*/ f1387 f1348 1"/>
                  <a:gd name="f1518" fmla="*/ f1388 f1347 1"/>
                  <a:gd name="f1519" fmla="*/ f1389 f1348 1"/>
                  <a:gd name="f1520" fmla="*/ f1390 f1347 1"/>
                  <a:gd name="f1521" fmla="*/ f1391 f1348 1"/>
                  <a:gd name="f1522" fmla="*/ f1392 f1347 1"/>
                  <a:gd name="f1523" fmla="*/ f1393 f1348 1"/>
                  <a:gd name="f1524" fmla="*/ f1394 f1347 1"/>
                  <a:gd name="f1525" fmla="*/ f1395 f1348 1"/>
                  <a:gd name="f1526" fmla="*/ f1396 f1347 1"/>
                  <a:gd name="f1527" fmla="*/ f1397 f1348 1"/>
                  <a:gd name="f1528" fmla="*/ f1398 f1347 1"/>
                  <a:gd name="f1529" fmla="*/ f1399 f1348 1"/>
                  <a:gd name="f1530" fmla="*/ f1400 f1347 1"/>
                  <a:gd name="f1531" fmla="*/ f1401 f1348 1"/>
                  <a:gd name="f1532" fmla="*/ f1402 f1347 1"/>
                  <a:gd name="f1533" fmla="*/ f1403 f1348 1"/>
                  <a:gd name="f1534" fmla="*/ f1404 f1347 1"/>
                  <a:gd name="f1535" fmla="*/ f1405 f1348 1"/>
                  <a:gd name="f1536" fmla="*/ f1406 f1347 1"/>
                  <a:gd name="f1537" fmla="*/ f1407 f1348 1"/>
                  <a:gd name="f1538" fmla="*/ f1408 f1347 1"/>
                  <a:gd name="f1539" fmla="*/ f1409 f1348 1"/>
                  <a:gd name="f1540" fmla="*/ f1410 f1347 1"/>
                  <a:gd name="f1541" fmla="*/ f1411 f1348 1"/>
                  <a:gd name="f1542" fmla="*/ f1412 f1347 1"/>
                  <a:gd name="f1543" fmla="*/ f1413 f1348 1"/>
                  <a:gd name="f1544" fmla="*/ f1414 f1347 1"/>
                  <a:gd name="f1545" fmla="*/ f1415 f1348 1"/>
                  <a:gd name="f1546" fmla="*/ f1416 f1347 1"/>
                  <a:gd name="f1547" fmla="*/ f1417 f1348 1"/>
                  <a:gd name="f1548" fmla="*/ f1418 f1347 1"/>
                  <a:gd name="f1549" fmla="*/ f1419 f1348 1"/>
                  <a:gd name="f1550" fmla="*/ f1420 f1347 1"/>
                  <a:gd name="f1551" fmla="*/ f1421 f1348 1"/>
                  <a:gd name="f1552" fmla="*/ f1422 f1347 1"/>
                  <a:gd name="f1553" fmla="*/ f1423 f1348 1"/>
                  <a:gd name="f1554" fmla="*/ f1424 f1347 1"/>
                  <a:gd name="f1555" fmla="*/ f1425 f1348 1"/>
                  <a:gd name="f1556" fmla="*/ f1426 f1347 1"/>
                  <a:gd name="f1557" fmla="*/ f1427 f1348 1"/>
                  <a:gd name="f1558" fmla="*/ f1428 f1347 1"/>
                  <a:gd name="f1559" fmla="*/ f1429 f1348 1"/>
                  <a:gd name="f1560" fmla="*/ f1430 f1347 1"/>
                  <a:gd name="f1561" fmla="*/ f1431 f1348 1"/>
                  <a:gd name="f1562" fmla="*/ f1432 f1347 1"/>
                  <a:gd name="f1563" fmla="*/ f1433 f1348 1"/>
                  <a:gd name="f1564" fmla="*/ f1434 f1347 1"/>
                  <a:gd name="f1565" fmla="*/ f1435 f1348 1"/>
                  <a:gd name="f1566" fmla="*/ f1436 f1347 1"/>
                  <a:gd name="f1567" fmla="*/ f1437 f1348 1"/>
                  <a:gd name="f1568" fmla="*/ f1438 f1347 1"/>
                  <a:gd name="f1569" fmla="*/ f1439 f1348 1"/>
                  <a:gd name="f1570" fmla="*/ f1440 f1347 1"/>
                  <a:gd name="f1571" fmla="*/ f1441 f1348 1"/>
                  <a:gd name="f1572" fmla="*/ f1442 f1347 1"/>
                  <a:gd name="f1573" fmla="*/ f1443 f1348 1"/>
                  <a:gd name="f1574" fmla="*/ f1444 f1347 1"/>
                  <a:gd name="f1575" fmla="*/ f1445 f1348 1"/>
                  <a:gd name="f1576" fmla="*/ f1446 f1347 1"/>
                  <a:gd name="f1577" fmla="*/ f1447 f1348 1"/>
                  <a:gd name="f1578" fmla="*/ f1448 f1347 1"/>
                  <a:gd name="f1579" fmla="*/ f1449 f1348 1"/>
                  <a:gd name="f1580" fmla="*/ f1450 f1347 1"/>
                  <a:gd name="f1581" fmla="*/ f1451 f1348 1"/>
                  <a:gd name="f1582" fmla="*/ f1452 f1347 1"/>
                  <a:gd name="f1583" fmla="*/ f1453 f1348 1"/>
                  <a:gd name="f1584" fmla="*/ f1454 f1347 1"/>
                  <a:gd name="f1585" fmla="*/ f1455 f1348 1"/>
                  <a:gd name="f1586" fmla="*/ f1456 f1347 1"/>
                  <a:gd name="f1587" fmla="*/ f1457 f1348 1"/>
                  <a:gd name="f1588" fmla="*/ f1458 f1347 1"/>
                  <a:gd name="f1589" fmla="*/ f1459 f1348 1"/>
                  <a:gd name="f1590" fmla="*/ f1460 f1347 1"/>
                  <a:gd name="f1591" fmla="*/ f1461 f1348 1"/>
                  <a:gd name="f1592" fmla="*/ f1462 f1347 1"/>
                  <a:gd name="f1593" fmla="*/ f1463 f1348 1"/>
                  <a:gd name="f1594" fmla="*/ f1464 f1347 1"/>
                  <a:gd name="f1595" fmla="*/ f1465 f1348 1"/>
                  <a:gd name="f1596" fmla="*/ f1466 f1347 1"/>
                  <a:gd name="f1597" fmla="*/ f1467 f1348 1"/>
                  <a:gd name="f1598" fmla="*/ f1468 f1347 1"/>
                  <a:gd name="f1599" fmla="*/ f1469 f1348 1"/>
                  <a:gd name="f1600" fmla="*/ f1470 f1347 1"/>
                  <a:gd name="f1601" fmla="*/ f1471 f1348 1"/>
                  <a:gd name="f1602" fmla="*/ f1472 f1347 1"/>
                  <a:gd name="f1603" fmla="*/ f1473 f1348 1"/>
                  <a:gd name="f1604" fmla="*/ f1474 f1347 1"/>
                  <a:gd name="f1605" fmla="*/ f1475 f1348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480">
                    <a:pos x="f1485" y="f1486"/>
                  </a:cxn>
                  <a:cxn ang="f1480">
                    <a:pos x="f1487" y="f1488"/>
                  </a:cxn>
                  <a:cxn ang="f1480">
                    <a:pos x="f1489" y="f1490"/>
                  </a:cxn>
                  <a:cxn ang="f1480">
                    <a:pos x="f1491" y="f1492"/>
                  </a:cxn>
                  <a:cxn ang="f1480">
                    <a:pos x="f1493" y="f1494"/>
                  </a:cxn>
                  <a:cxn ang="f1480">
                    <a:pos x="f1495" y="f1496"/>
                  </a:cxn>
                  <a:cxn ang="f1480">
                    <a:pos x="f1497" y="f1498"/>
                  </a:cxn>
                  <a:cxn ang="f1480">
                    <a:pos x="f1499" y="f1500"/>
                  </a:cxn>
                  <a:cxn ang="f1480">
                    <a:pos x="f1501" y="f1502"/>
                  </a:cxn>
                  <a:cxn ang="f1480">
                    <a:pos x="f1503" y="f1504"/>
                  </a:cxn>
                  <a:cxn ang="f1480">
                    <a:pos x="f1505" y="f1506"/>
                  </a:cxn>
                  <a:cxn ang="f1480">
                    <a:pos x="f1507" y="f1508"/>
                  </a:cxn>
                  <a:cxn ang="f1480">
                    <a:pos x="f1509" y="f1510"/>
                  </a:cxn>
                  <a:cxn ang="f1480">
                    <a:pos x="f1505" y="f1511"/>
                  </a:cxn>
                  <a:cxn ang="f1480">
                    <a:pos x="f1512" y="f1513"/>
                  </a:cxn>
                  <a:cxn ang="f1480">
                    <a:pos x="f1514" y="f1515"/>
                  </a:cxn>
                  <a:cxn ang="f1480">
                    <a:pos x="f1516" y="f1517"/>
                  </a:cxn>
                  <a:cxn ang="f1480">
                    <a:pos x="f1518" y="f1519"/>
                  </a:cxn>
                  <a:cxn ang="f1480">
                    <a:pos x="f1520" y="f1521"/>
                  </a:cxn>
                  <a:cxn ang="f1480">
                    <a:pos x="f1522" y="f1523"/>
                  </a:cxn>
                  <a:cxn ang="f1480">
                    <a:pos x="f1524" y="f1525"/>
                  </a:cxn>
                  <a:cxn ang="f1480">
                    <a:pos x="f1526" y="f1527"/>
                  </a:cxn>
                  <a:cxn ang="f1480">
                    <a:pos x="f1528" y="f1529"/>
                  </a:cxn>
                  <a:cxn ang="f1480">
                    <a:pos x="f1530" y="f1531"/>
                  </a:cxn>
                  <a:cxn ang="f1480">
                    <a:pos x="f1532" y="f1533"/>
                  </a:cxn>
                  <a:cxn ang="f1480">
                    <a:pos x="f1534" y="f1535"/>
                  </a:cxn>
                  <a:cxn ang="f1480">
                    <a:pos x="f1536" y="f1537"/>
                  </a:cxn>
                  <a:cxn ang="f1480">
                    <a:pos x="f1538" y="f1539"/>
                  </a:cxn>
                  <a:cxn ang="f1480">
                    <a:pos x="f1540" y="f1541"/>
                  </a:cxn>
                  <a:cxn ang="f1480">
                    <a:pos x="f1542" y="f1543"/>
                  </a:cxn>
                  <a:cxn ang="f1480">
                    <a:pos x="f1544" y="f1545"/>
                  </a:cxn>
                  <a:cxn ang="f1480">
                    <a:pos x="f1546" y="f1547"/>
                  </a:cxn>
                  <a:cxn ang="f1480">
                    <a:pos x="f1548" y="f1549"/>
                  </a:cxn>
                  <a:cxn ang="f1480">
                    <a:pos x="f1550" y="f1551"/>
                  </a:cxn>
                  <a:cxn ang="f1480">
                    <a:pos x="f1552" y="f1553"/>
                  </a:cxn>
                  <a:cxn ang="f1480">
                    <a:pos x="f1554" y="f1555"/>
                  </a:cxn>
                  <a:cxn ang="f1480">
                    <a:pos x="f1556" y="f1557"/>
                  </a:cxn>
                  <a:cxn ang="f1480">
                    <a:pos x="f1558" y="f1559"/>
                  </a:cxn>
                  <a:cxn ang="f1480">
                    <a:pos x="f1560" y="f1561"/>
                  </a:cxn>
                  <a:cxn ang="f1480">
                    <a:pos x="f1562" y="f1563"/>
                  </a:cxn>
                  <a:cxn ang="f1480">
                    <a:pos x="f1564" y="f1565"/>
                  </a:cxn>
                  <a:cxn ang="f1480">
                    <a:pos x="f1566" y="f1567"/>
                  </a:cxn>
                  <a:cxn ang="f1480">
                    <a:pos x="f1568" y="f1569"/>
                  </a:cxn>
                  <a:cxn ang="f1480">
                    <a:pos x="f1570" y="f1571"/>
                  </a:cxn>
                  <a:cxn ang="f1480">
                    <a:pos x="f1572" y="f1573"/>
                  </a:cxn>
                  <a:cxn ang="f1480">
                    <a:pos x="f1574" y="f1575"/>
                  </a:cxn>
                  <a:cxn ang="f1480">
                    <a:pos x="f1576" y="f1577"/>
                  </a:cxn>
                  <a:cxn ang="f1480">
                    <a:pos x="f1578" y="f1579"/>
                  </a:cxn>
                  <a:cxn ang="f1480">
                    <a:pos x="f1580" y="f1581"/>
                  </a:cxn>
                  <a:cxn ang="f1480">
                    <a:pos x="f1582" y="f1583"/>
                  </a:cxn>
                  <a:cxn ang="f1480">
                    <a:pos x="f1584" y="f1585"/>
                  </a:cxn>
                  <a:cxn ang="f1480">
                    <a:pos x="f1586" y="f1587"/>
                  </a:cxn>
                  <a:cxn ang="f1480">
                    <a:pos x="f1588" y="f1589"/>
                  </a:cxn>
                  <a:cxn ang="f1480">
                    <a:pos x="f1590" y="f1591"/>
                  </a:cxn>
                  <a:cxn ang="f1480">
                    <a:pos x="f1592" y="f1593"/>
                  </a:cxn>
                  <a:cxn ang="f1480">
                    <a:pos x="f1594" y="f1595"/>
                  </a:cxn>
                  <a:cxn ang="f1480">
                    <a:pos x="f1596" y="f1597"/>
                  </a:cxn>
                  <a:cxn ang="f1480">
                    <a:pos x="f1598" y="f1599"/>
                  </a:cxn>
                  <a:cxn ang="f1480">
                    <a:pos x="f1600" y="f1601"/>
                  </a:cxn>
                  <a:cxn ang="f1480">
                    <a:pos x="f1602" y="f1603"/>
                  </a:cxn>
                  <a:cxn ang="f1480">
                    <a:pos x="f1604" y="f1605"/>
                  </a:cxn>
                </a:cxnLst>
                <a:rect l="f1481" t="f1484" r="f1482" b="f1483"/>
                <a:pathLst>
                  <a:path w="1643" h="2114">
                    <a:moveTo>
                      <a:pt x="f9" y="f10"/>
                    </a:moveTo>
                    <a:lnTo>
                      <a:pt x="f2" y="f11"/>
                    </a:lnTo>
                    <a:lnTo>
                      <a:pt x="f12" y="f13"/>
                    </a:lnTo>
                    <a:lnTo>
                      <a:pt x="f12" y="f14"/>
                    </a:lnTo>
                    <a:lnTo>
                      <a:pt x="f15" y="f16"/>
                    </a:lnTo>
                    <a:lnTo>
                      <a:pt x="f17" y="f18"/>
                    </a:lnTo>
                    <a:lnTo>
                      <a:pt x="f19" y="f20"/>
                    </a:lnTo>
                    <a:lnTo>
                      <a:pt x="f21" y="f22"/>
                    </a:lnTo>
                    <a:lnTo>
                      <a:pt x="f23" y="f24"/>
                    </a:lnTo>
                    <a:lnTo>
                      <a:pt x="f25" y="f26"/>
                    </a:lnTo>
                    <a:lnTo>
                      <a:pt x="f27" y="f28"/>
                    </a:lnTo>
                    <a:lnTo>
                      <a:pt x="f29" y="f30"/>
                    </a:lnTo>
                    <a:lnTo>
                      <a:pt x="f31" y="f32"/>
                    </a:lnTo>
                    <a:lnTo>
                      <a:pt x="f33" y="f34"/>
                    </a:lnTo>
                    <a:lnTo>
                      <a:pt x="f35" y="f36"/>
                    </a:lnTo>
                    <a:lnTo>
                      <a:pt x="f37" y="f38"/>
                    </a:lnTo>
                    <a:lnTo>
                      <a:pt x="f39" y="f40"/>
                    </a:lnTo>
                    <a:lnTo>
                      <a:pt x="f27" y="f41"/>
                    </a:lnTo>
                    <a:lnTo>
                      <a:pt x="f27" y="f42"/>
                    </a:lnTo>
                    <a:lnTo>
                      <a:pt x="f43" y="f42"/>
                    </a:lnTo>
                    <a:lnTo>
                      <a:pt x="f44" y="f45"/>
                    </a:lnTo>
                    <a:lnTo>
                      <a:pt x="f29" y="f46"/>
                    </a:lnTo>
                    <a:lnTo>
                      <a:pt x="f47" y="f48"/>
                    </a:lnTo>
                    <a:lnTo>
                      <a:pt x="f47" y="f49"/>
                    </a:lnTo>
                    <a:lnTo>
                      <a:pt x="f29" y="f50"/>
                    </a:lnTo>
                    <a:lnTo>
                      <a:pt x="f51" y="f49"/>
                    </a:lnTo>
                    <a:lnTo>
                      <a:pt x="f23" y="f52"/>
                    </a:lnTo>
                    <a:lnTo>
                      <a:pt x="f53" y="f48"/>
                    </a:lnTo>
                    <a:lnTo>
                      <a:pt x="f54" y="f48"/>
                    </a:lnTo>
                    <a:lnTo>
                      <a:pt x="f55" y="f56"/>
                    </a:lnTo>
                    <a:lnTo>
                      <a:pt x="f57" y="f58"/>
                    </a:lnTo>
                    <a:lnTo>
                      <a:pt x="f59" y="f46"/>
                    </a:lnTo>
                    <a:lnTo>
                      <a:pt x="f60" y="f61"/>
                    </a:lnTo>
                    <a:lnTo>
                      <a:pt x="f62" y="f18"/>
                    </a:lnTo>
                    <a:lnTo>
                      <a:pt x="f63" y="f36"/>
                    </a:lnTo>
                    <a:lnTo>
                      <a:pt x="f64" y="f32"/>
                    </a:lnTo>
                    <a:lnTo>
                      <a:pt x="f65" y="f66"/>
                    </a:lnTo>
                    <a:lnTo>
                      <a:pt x="f67" y="f68"/>
                    </a:lnTo>
                    <a:lnTo>
                      <a:pt x="f69" y="f70"/>
                    </a:lnTo>
                    <a:lnTo>
                      <a:pt x="f71" y="f34"/>
                    </a:lnTo>
                    <a:lnTo>
                      <a:pt x="f72" y="f73"/>
                    </a:lnTo>
                    <a:lnTo>
                      <a:pt x="f74" y="f28"/>
                    </a:lnTo>
                    <a:lnTo>
                      <a:pt x="f75" y="f76"/>
                    </a:lnTo>
                    <a:lnTo>
                      <a:pt x="f77" y="f73"/>
                    </a:lnTo>
                    <a:lnTo>
                      <a:pt x="f78" y="f79"/>
                    </a:lnTo>
                    <a:lnTo>
                      <a:pt x="f80" y="f20"/>
                    </a:lnTo>
                    <a:lnTo>
                      <a:pt x="f81" y="f61"/>
                    </a:lnTo>
                    <a:lnTo>
                      <a:pt x="f82" y="f83"/>
                    </a:lnTo>
                    <a:lnTo>
                      <a:pt x="f84" y="f61"/>
                    </a:lnTo>
                    <a:lnTo>
                      <a:pt x="f85" y="f24"/>
                    </a:lnTo>
                    <a:lnTo>
                      <a:pt x="f86" y="f87"/>
                    </a:lnTo>
                    <a:lnTo>
                      <a:pt x="f88" y="f30"/>
                    </a:lnTo>
                    <a:lnTo>
                      <a:pt x="f86" y="f89"/>
                    </a:lnTo>
                    <a:lnTo>
                      <a:pt x="f85" y="f90"/>
                    </a:lnTo>
                    <a:lnTo>
                      <a:pt x="f91" y="f92"/>
                    </a:lnTo>
                    <a:lnTo>
                      <a:pt x="f82" y="f93"/>
                    </a:lnTo>
                    <a:lnTo>
                      <a:pt x="f94" y="f93"/>
                    </a:lnTo>
                    <a:lnTo>
                      <a:pt x="f95" y="f92"/>
                    </a:lnTo>
                    <a:lnTo>
                      <a:pt x="f96" y="f97"/>
                    </a:lnTo>
                    <a:lnTo>
                      <a:pt x="f98" y="f99"/>
                    </a:lnTo>
                    <a:lnTo>
                      <a:pt x="f100" y="f101"/>
                    </a:lnTo>
                    <a:lnTo>
                      <a:pt x="f80" y="f89"/>
                    </a:lnTo>
                    <a:lnTo>
                      <a:pt x="f102" y="f89"/>
                    </a:lnTo>
                    <a:lnTo>
                      <a:pt x="f103" y="f104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78" y="f109"/>
                    </a:lnTo>
                    <a:lnTo>
                      <a:pt x="f110" y="f111"/>
                    </a:lnTo>
                    <a:lnTo>
                      <a:pt x="f112" y="f113"/>
                    </a:lnTo>
                    <a:lnTo>
                      <a:pt x="f114" y="f115"/>
                    </a:lnTo>
                    <a:lnTo>
                      <a:pt x="f116" y="f117"/>
                    </a:lnTo>
                    <a:lnTo>
                      <a:pt x="f118" y="f119"/>
                    </a:lnTo>
                    <a:lnTo>
                      <a:pt x="f120" y="f121"/>
                    </a:lnTo>
                    <a:lnTo>
                      <a:pt x="f122" y="f11"/>
                    </a:lnTo>
                    <a:lnTo>
                      <a:pt x="f67" y="f123"/>
                    </a:lnTo>
                    <a:lnTo>
                      <a:pt x="f124" y="f113"/>
                    </a:lnTo>
                    <a:lnTo>
                      <a:pt x="f125" y="f121"/>
                    </a:lnTo>
                    <a:lnTo>
                      <a:pt x="f126" y="f127"/>
                    </a:lnTo>
                    <a:lnTo>
                      <a:pt x="f62" y="f128"/>
                    </a:lnTo>
                    <a:lnTo>
                      <a:pt x="f129" y="f93"/>
                    </a:lnTo>
                    <a:lnTo>
                      <a:pt x="f130" y="f108"/>
                    </a:lnTo>
                    <a:lnTo>
                      <a:pt x="f59" y="f106"/>
                    </a:lnTo>
                    <a:lnTo>
                      <a:pt x="f131" y="f73"/>
                    </a:lnTo>
                    <a:lnTo>
                      <a:pt x="f132" y="f87"/>
                    </a:lnTo>
                    <a:lnTo>
                      <a:pt x="f133" y="f134"/>
                    </a:lnTo>
                    <a:lnTo>
                      <a:pt x="f135" y="f134"/>
                    </a:lnTo>
                    <a:lnTo>
                      <a:pt x="f136" y="f137"/>
                    </a:lnTo>
                    <a:lnTo>
                      <a:pt x="f138" y="f30"/>
                    </a:lnTo>
                    <a:lnTo>
                      <a:pt x="f139" y="f104"/>
                    </a:lnTo>
                    <a:lnTo>
                      <a:pt x="f140" y="f141"/>
                    </a:lnTo>
                    <a:lnTo>
                      <a:pt x="f142" y="f121"/>
                    </a:lnTo>
                    <a:lnTo>
                      <a:pt x="f143" y="f123"/>
                    </a:lnTo>
                    <a:lnTo>
                      <a:pt x="f9" y="f10"/>
                    </a:lnTo>
                    <a:close/>
                    <a:moveTo>
                      <a:pt x="f144" y="f6"/>
                    </a:moveTo>
                    <a:lnTo>
                      <a:pt x="f145" y="f146"/>
                    </a:lnTo>
                    <a:lnTo>
                      <a:pt x="f147" y="f148"/>
                    </a:lnTo>
                    <a:lnTo>
                      <a:pt x="f149" y="f150"/>
                    </a:lnTo>
                    <a:lnTo>
                      <a:pt x="f151" y="f152"/>
                    </a:lnTo>
                    <a:lnTo>
                      <a:pt x="f153" y="f154"/>
                    </a:lnTo>
                    <a:lnTo>
                      <a:pt x="f155" y="f156"/>
                    </a:lnTo>
                    <a:lnTo>
                      <a:pt x="f153" y="f157"/>
                    </a:lnTo>
                    <a:lnTo>
                      <a:pt x="f158" y="f159"/>
                    </a:lnTo>
                    <a:lnTo>
                      <a:pt x="f153" y="f160"/>
                    </a:lnTo>
                    <a:lnTo>
                      <a:pt x="f161" y="f162"/>
                    </a:lnTo>
                    <a:lnTo>
                      <a:pt x="f163" y="f164"/>
                    </a:lnTo>
                    <a:lnTo>
                      <a:pt x="f165" y="f166"/>
                    </a:lnTo>
                    <a:lnTo>
                      <a:pt x="f167" y="f168"/>
                    </a:lnTo>
                    <a:lnTo>
                      <a:pt x="f169" y="f170"/>
                    </a:lnTo>
                    <a:lnTo>
                      <a:pt x="f171" y="f172"/>
                    </a:lnTo>
                    <a:lnTo>
                      <a:pt x="f173" y="f174"/>
                    </a:lnTo>
                    <a:lnTo>
                      <a:pt x="f175" y="f176"/>
                    </a:lnTo>
                    <a:lnTo>
                      <a:pt x="f177" y="f178"/>
                    </a:lnTo>
                    <a:lnTo>
                      <a:pt x="f179" y="f180"/>
                    </a:lnTo>
                    <a:lnTo>
                      <a:pt x="f181" y="f182"/>
                    </a:lnTo>
                    <a:lnTo>
                      <a:pt x="f183" y="f184"/>
                    </a:lnTo>
                    <a:lnTo>
                      <a:pt x="f185" y="f186"/>
                    </a:lnTo>
                    <a:lnTo>
                      <a:pt x="f187" y="f188"/>
                    </a:lnTo>
                    <a:lnTo>
                      <a:pt x="f189" y="f190"/>
                    </a:lnTo>
                    <a:lnTo>
                      <a:pt x="f191" y="f192"/>
                    </a:lnTo>
                    <a:lnTo>
                      <a:pt x="f193" y="f194"/>
                    </a:lnTo>
                    <a:lnTo>
                      <a:pt x="f195" y="f196"/>
                    </a:lnTo>
                    <a:lnTo>
                      <a:pt x="f197" y="f198"/>
                    </a:lnTo>
                    <a:lnTo>
                      <a:pt x="f199" y="f200"/>
                    </a:lnTo>
                    <a:lnTo>
                      <a:pt x="f201" y="f202"/>
                    </a:lnTo>
                    <a:lnTo>
                      <a:pt x="f203" y="f204"/>
                    </a:lnTo>
                    <a:lnTo>
                      <a:pt x="f205" y="f206"/>
                    </a:lnTo>
                    <a:lnTo>
                      <a:pt x="f207" y="f206"/>
                    </a:lnTo>
                    <a:lnTo>
                      <a:pt x="f208" y="f204"/>
                    </a:lnTo>
                    <a:lnTo>
                      <a:pt x="f208" y="f209"/>
                    </a:lnTo>
                    <a:lnTo>
                      <a:pt x="f210" y="f211"/>
                    </a:lnTo>
                    <a:lnTo>
                      <a:pt x="f207" y="f212"/>
                    </a:lnTo>
                    <a:lnTo>
                      <a:pt x="f207" y="f213"/>
                    </a:lnTo>
                    <a:lnTo>
                      <a:pt x="f210" y="f214"/>
                    </a:lnTo>
                    <a:lnTo>
                      <a:pt x="f215" y="f216"/>
                    </a:lnTo>
                    <a:lnTo>
                      <a:pt x="f217" y="f216"/>
                    </a:lnTo>
                    <a:lnTo>
                      <a:pt x="f218" y="f219"/>
                    </a:lnTo>
                    <a:lnTo>
                      <a:pt x="f220" y="f221"/>
                    </a:lnTo>
                    <a:lnTo>
                      <a:pt x="f222" y="f213"/>
                    </a:lnTo>
                    <a:lnTo>
                      <a:pt x="f223" y="f213"/>
                    </a:lnTo>
                    <a:lnTo>
                      <a:pt x="f224" y="f225"/>
                    </a:lnTo>
                    <a:lnTo>
                      <a:pt x="f226" y="f214"/>
                    </a:lnTo>
                    <a:lnTo>
                      <a:pt x="f227" y="f156"/>
                    </a:lnTo>
                    <a:lnTo>
                      <a:pt x="f228" y="f219"/>
                    </a:lnTo>
                    <a:lnTo>
                      <a:pt x="f229" y="f230"/>
                    </a:lnTo>
                    <a:lnTo>
                      <a:pt x="f231" y="f232"/>
                    </a:lnTo>
                    <a:lnTo>
                      <a:pt x="f233" y="f234"/>
                    </a:lnTo>
                    <a:lnTo>
                      <a:pt x="f235" y="f212"/>
                    </a:lnTo>
                    <a:lnTo>
                      <a:pt x="f236" y="f237"/>
                    </a:lnTo>
                    <a:lnTo>
                      <a:pt x="f238" y="f239"/>
                    </a:lnTo>
                    <a:lnTo>
                      <a:pt x="f240" y="f241"/>
                    </a:lnTo>
                    <a:lnTo>
                      <a:pt x="f242" y="f243"/>
                    </a:lnTo>
                    <a:lnTo>
                      <a:pt x="f244" y="f176"/>
                    </a:lnTo>
                    <a:lnTo>
                      <a:pt x="f245" y="f196"/>
                    </a:lnTo>
                    <a:lnTo>
                      <a:pt x="f245" y="f246"/>
                    </a:lnTo>
                    <a:lnTo>
                      <a:pt x="f247" y="f248"/>
                    </a:lnTo>
                    <a:lnTo>
                      <a:pt x="f249" y="f250"/>
                    </a:lnTo>
                    <a:lnTo>
                      <a:pt x="f251" y="f252"/>
                    </a:lnTo>
                    <a:lnTo>
                      <a:pt x="f253" y="f254"/>
                    </a:lnTo>
                    <a:lnTo>
                      <a:pt x="f255" y="f256"/>
                    </a:lnTo>
                    <a:lnTo>
                      <a:pt x="f255" y="f257"/>
                    </a:lnTo>
                    <a:lnTo>
                      <a:pt x="f258" y="f259"/>
                    </a:lnTo>
                    <a:lnTo>
                      <a:pt x="f260" y="f261"/>
                    </a:lnTo>
                    <a:lnTo>
                      <a:pt x="f238" y="f262"/>
                    </a:lnTo>
                    <a:lnTo>
                      <a:pt x="f236" y="f263"/>
                    </a:lnTo>
                    <a:lnTo>
                      <a:pt x="f264" y="f265"/>
                    </a:lnTo>
                    <a:lnTo>
                      <a:pt x="f266" y="f267"/>
                    </a:lnTo>
                    <a:lnTo>
                      <a:pt x="f268" y="f269"/>
                    </a:lnTo>
                    <a:lnTo>
                      <a:pt x="f270" y="f271"/>
                    </a:lnTo>
                    <a:lnTo>
                      <a:pt x="f272" y="f273"/>
                    </a:lnTo>
                    <a:lnTo>
                      <a:pt x="f270" y="f274"/>
                    </a:lnTo>
                    <a:lnTo>
                      <a:pt x="f275" y="f276"/>
                    </a:lnTo>
                    <a:lnTo>
                      <a:pt x="f247" y="f277"/>
                    </a:lnTo>
                    <a:lnTo>
                      <a:pt x="f278" y="f277"/>
                    </a:lnTo>
                    <a:lnTo>
                      <a:pt x="f279" y="f280"/>
                    </a:lnTo>
                    <a:lnTo>
                      <a:pt x="f281" y="f282"/>
                    </a:lnTo>
                    <a:lnTo>
                      <a:pt x="f283" y="f284"/>
                    </a:lnTo>
                    <a:lnTo>
                      <a:pt x="f285" y="f286"/>
                    </a:lnTo>
                    <a:lnTo>
                      <a:pt x="f287" y="f288"/>
                    </a:lnTo>
                    <a:lnTo>
                      <a:pt x="f289" y="f290"/>
                    </a:lnTo>
                    <a:lnTo>
                      <a:pt x="f291" y="f292"/>
                    </a:lnTo>
                    <a:lnTo>
                      <a:pt x="f291" y="f293"/>
                    </a:lnTo>
                    <a:lnTo>
                      <a:pt x="f294" y="f295"/>
                    </a:lnTo>
                    <a:lnTo>
                      <a:pt x="f296" y="f297"/>
                    </a:lnTo>
                    <a:lnTo>
                      <a:pt x="f298" y="f299"/>
                    </a:lnTo>
                    <a:lnTo>
                      <a:pt x="f300" y="f301"/>
                    </a:lnTo>
                    <a:lnTo>
                      <a:pt x="f302" y="f303"/>
                    </a:lnTo>
                    <a:lnTo>
                      <a:pt x="f304" y="f305"/>
                    </a:lnTo>
                    <a:lnTo>
                      <a:pt x="f304" y="f306"/>
                    </a:lnTo>
                    <a:lnTo>
                      <a:pt x="f307" y="f308"/>
                    </a:lnTo>
                    <a:lnTo>
                      <a:pt x="f309" y="f310"/>
                    </a:lnTo>
                    <a:lnTo>
                      <a:pt x="f311" y="f312"/>
                    </a:lnTo>
                    <a:lnTo>
                      <a:pt x="f313" y="f314"/>
                    </a:lnTo>
                    <a:lnTo>
                      <a:pt x="f315" y="f316"/>
                    </a:lnTo>
                    <a:lnTo>
                      <a:pt x="f313" y="f317"/>
                    </a:lnTo>
                    <a:lnTo>
                      <a:pt x="f318" y="f319"/>
                    </a:lnTo>
                    <a:lnTo>
                      <a:pt x="f285" y="f320"/>
                    </a:lnTo>
                    <a:lnTo>
                      <a:pt x="f321" y="f322"/>
                    </a:lnTo>
                    <a:lnTo>
                      <a:pt x="f304" y="f35"/>
                    </a:lnTo>
                    <a:lnTo>
                      <a:pt x="f302" y="f37"/>
                    </a:lnTo>
                    <a:lnTo>
                      <a:pt x="f321" y="f29"/>
                    </a:lnTo>
                    <a:lnTo>
                      <a:pt x="f323" y="f29"/>
                    </a:lnTo>
                    <a:lnTo>
                      <a:pt x="f311" y="f44"/>
                    </a:lnTo>
                    <a:lnTo>
                      <a:pt x="f324" y="f27"/>
                    </a:lnTo>
                    <a:lnTo>
                      <a:pt x="f324" y="f325"/>
                    </a:lnTo>
                    <a:lnTo>
                      <a:pt x="f311" y="f23"/>
                    </a:lnTo>
                    <a:lnTo>
                      <a:pt x="f309" y="f326"/>
                    </a:lnTo>
                    <a:lnTo>
                      <a:pt x="f304" y="f327"/>
                    </a:lnTo>
                    <a:lnTo>
                      <a:pt x="f304" y="f328"/>
                    </a:lnTo>
                    <a:lnTo>
                      <a:pt x="f309" y="f329"/>
                    </a:lnTo>
                    <a:lnTo>
                      <a:pt x="f330" y="f54"/>
                    </a:lnTo>
                    <a:lnTo>
                      <a:pt x="f283" y="f331"/>
                    </a:lnTo>
                    <a:lnTo>
                      <a:pt x="f332" y="f333"/>
                    </a:lnTo>
                    <a:lnTo>
                      <a:pt x="f334" y="f2"/>
                    </a:lnTo>
                    <a:lnTo>
                      <a:pt x="f334" y="f335"/>
                    </a:lnTo>
                    <a:lnTo>
                      <a:pt x="f332" y="f336"/>
                    </a:lnTo>
                    <a:lnTo>
                      <a:pt x="f337" y="f338"/>
                    </a:lnTo>
                    <a:lnTo>
                      <a:pt x="f313" y="f339"/>
                    </a:lnTo>
                    <a:lnTo>
                      <a:pt x="f330" y="f340"/>
                    </a:lnTo>
                    <a:lnTo>
                      <a:pt x="f311" y="f340"/>
                    </a:lnTo>
                    <a:lnTo>
                      <a:pt x="f309" y="f132"/>
                    </a:lnTo>
                    <a:lnTo>
                      <a:pt x="f321" y="f341"/>
                    </a:lnTo>
                    <a:lnTo>
                      <a:pt x="f309" y="f342"/>
                    </a:lnTo>
                    <a:lnTo>
                      <a:pt x="f311" y="f57"/>
                    </a:lnTo>
                    <a:lnTo>
                      <a:pt x="f343" y="f344"/>
                    </a:lnTo>
                    <a:lnTo>
                      <a:pt x="f345" y="f344"/>
                    </a:lnTo>
                    <a:lnTo>
                      <a:pt x="f346" y="f347"/>
                    </a:lnTo>
                    <a:lnTo>
                      <a:pt x="f281" y="f342"/>
                    </a:lnTo>
                    <a:lnTo>
                      <a:pt x="f260" y="f131"/>
                    </a:lnTo>
                    <a:lnTo>
                      <a:pt x="f249" y="f344"/>
                    </a:lnTo>
                    <a:lnTo>
                      <a:pt x="f238" y="f348"/>
                    </a:lnTo>
                    <a:lnTo>
                      <a:pt x="f240" y="f60"/>
                    </a:lnTo>
                    <a:lnTo>
                      <a:pt x="f278" y="f349"/>
                    </a:lnTo>
                    <a:lnTo>
                      <a:pt x="f249" y="f63"/>
                    </a:lnTo>
                    <a:lnTo>
                      <a:pt x="f238" y="f350"/>
                    </a:lnTo>
                    <a:lnTo>
                      <a:pt x="f242" y="f351"/>
                    </a:lnTo>
                    <a:lnTo>
                      <a:pt x="f240" y="f352"/>
                    </a:lnTo>
                    <a:lnTo>
                      <a:pt x="f353" y="f354"/>
                    </a:lnTo>
                    <a:lnTo>
                      <a:pt x="f355" y="f71"/>
                    </a:lnTo>
                    <a:lnTo>
                      <a:pt x="f353" y="f72"/>
                    </a:lnTo>
                    <a:lnTo>
                      <a:pt x="f238" y="f356"/>
                    </a:lnTo>
                    <a:lnTo>
                      <a:pt x="f247" y="f357"/>
                    </a:lnTo>
                    <a:lnTo>
                      <a:pt x="f236" y="f358"/>
                    </a:lnTo>
                    <a:lnTo>
                      <a:pt x="f244" y="f77"/>
                    </a:lnTo>
                    <a:lnTo>
                      <a:pt x="f238" y="f359"/>
                    </a:lnTo>
                    <a:lnTo>
                      <a:pt x="f353" y="f360"/>
                    </a:lnTo>
                    <a:lnTo>
                      <a:pt x="f251" y="f361"/>
                    </a:lnTo>
                    <a:lnTo>
                      <a:pt x="f258" y="f362"/>
                    </a:lnTo>
                    <a:lnTo>
                      <a:pt x="f346" y="f358"/>
                    </a:lnTo>
                    <a:lnTo>
                      <a:pt x="f334" y="f112"/>
                    </a:lnTo>
                    <a:lnTo>
                      <a:pt x="f346" y="f110"/>
                    </a:lnTo>
                    <a:lnTo>
                      <a:pt x="f363" y="f103"/>
                    </a:lnTo>
                    <a:lnTo>
                      <a:pt x="f364" y="f365"/>
                    </a:lnTo>
                    <a:lnTo>
                      <a:pt x="f260" y="f96"/>
                    </a:lnTo>
                    <a:lnTo>
                      <a:pt x="f366" y="f95"/>
                    </a:lnTo>
                    <a:lnTo>
                      <a:pt x="f353" y="f367"/>
                    </a:lnTo>
                    <a:lnTo>
                      <a:pt x="f353" y="f86"/>
                    </a:lnTo>
                    <a:lnTo>
                      <a:pt x="f278" y="f368"/>
                    </a:lnTo>
                    <a:lnTo>
                      <a:pt x="f238" y="f369"/>
                    </a:lnTo>
                    <a:lnTo>
                      <a:pt x="f370" y="f369"/>
                    </a:lnTo>
                    <a:lnTo>
                      <a:pt x="f371" y="f368"/>
                    </a:lnTo>
                    <a:lnTo>
                      <a:pt x="f372" y="f373"/>
                    </a:lnTo>
                    <a:lnTo>
                      <a:pt x="f374" y="f375"/>
                    </a:lnTo>
                    <a:lnTo>
                      <a:pt x="f374" y="f376"/>
                    </a:lnTo>
                    <a:lnTo>
                      <a:pt x="f374" y="f377"/>
                    </a:lnTo>
                    <a:lnTo>
                      <a:pt x="f272" y="f378"/>
                    </a:lnTo>
                    <a:lnTo>
                      <a:pt x="f268" y="f379"/>
                    </a:lnTo>
                    <a:lnTo>
                      <a:pt x="f266" y="f380"/>
                    </a:lnTo>
                    <a:lnTo>
                      <a:pt x="f236" y="f381"/>
                    </a:lnTo>
                    <a:lnTo>
                      <a:pt x="f382" y="f378"/>
                    </a:lnTo>
                    <a:lnTo>
                      <a:pt x="f249" y="f383"/>
                    </a:lnTo>
                    <a:lnTo>
                      <a:pt x="f366" y="f384"/>
                    </a:lnTo>
                    <a:lnTo>
                      <a:pt x="f260" y="f383"/>
                    </a:lnTo>
                    <a:lnTo>
                      <a:pt x="f279" y="f378"/>
                    </a:lnTo>
                    <a:lnTo>
                      <a:pt x="f260" y="f381"/>
                    </a:lnTo>
                    <a:lnTo>
                      <a:pt x="f355" y="f385"/>
                    </a:lnTo>
                    <a:lnTo>
                      <a:pt x="f355" y="f386"/>
                    </a:lnTo>
                    <a:lnTo>
                      <a:pt x="f251" y="f387"/>
                    </a:lnTo>
                    <a:lnTo>
                      <a:pt x="f253" y="f388"/>
                    </a:lnTo>
                    <a:lnTo>
                      <a:pt x="f330" y="f389"/>
                    </a:lnTo>
                    <a:lnTo>
                      <a:pt x="f309" y="f390"/>
                    </a:lnTo>
                    <a:lnTo>
                      <a:pt x="f307" y="f391"/>
                    </a:lnTo>
                    <a:lnTo>
                      <a:pt x="f307" y="f392"/>
                    </a:lnTo>
                    <a:lnTo>
                      <a:pt x="f304" y="f393"/>
                    </a:lnTo>
                    <a:lnTo>
                      <a:pt x="f302" y="f394"/>
                    </a:lnTo>
                    <a:lnTo>
                      <a:pt x="f287" y="f395"/>
                    </a:lnTo>
                    <a:lnTo>
                      <a:pt x="f396" y="f397"/>
                    </a:lnTo>
                    <a:lnTo>
                      <a:pt x="f289" y="f398"/>
                    </a:lnTo>
                    <a:lnTo>
                      <a:pt x="f399" y="f400"/>
                    </a:lnTo>
                    <a:lnTo>
                      <a:pt x="f401" y="f402"/>
                    </a:lnTo>
                    <a:lnTo>
                      <a:pt x="f403" y="f404"/>
                    </a:lnTo>
                    <a:lnTo>
                      <a:pt x="f405" y="f406"/>
                    </a:lnTo>
                    <a:lnTo>
                      <a:pt x="f407" y="f408"/>
                    </a:lnTo>
                    <a:lnTo>
                      <a:pt x="f409" y="f410"/>
                    </a:lnTo>
                    <a:lnTo>
                      <a:pt x="f411" y="f410"/>
                    </a:lnTo>
                    <a:lnTo>
                      <a:pt x="f294" y="f412"/>
                    </a:lnTo>
                    <a:lnTo>
                      <a:pt x="f298" y="f413"/>
                    </a:lnTo>
                    <a:lnTo>
                      <a:pt x="f300" y="f408"/>
                    </a:lnTo>
                    <a:lnTo>
                      <a:pt x="f414" y="f415"/>
                    </a:lnTo>
                    <a:lnTo>
                      <a:pt x="f302" y="f416"/>
                    </a:lnTo>
                    <a:lnTo>
                      <a:pt x="f302" y="f410"/>
                    </a:lnTo>
                    <a:lnTo>
                      <a:pt x="f414" y="f417"/>
                    </a:lnTo>
                    <a:lnTo>
                      <a:pt x="f300" y="f418"/>
                    </a:lnTo>
                    <a:lnTo>
                      <a:pt x="f419" y="f420"/>
                    </a:lnTo>
                    <a:lnTo>
                      <a:pt x="f421" y="f422"/>
                    </a:lnTo>
                    <a:lnTo>
                      <a:pt x="f423" y="f424"/>
                    </a:lnTo>
                    <a:lnTo>
                      <a:pt x="f425" y="f426"/>
                    </a:lnTo>
                    <a:lnTo>
                      <a:pt x="f427" y="f428"/>
                    </a:lnTo>
                    <a:lnTo>
                      <a:pt x="f427" y="f429"/>
                    </a:lnTo>
                    <a:lnTo>
                      <a:pt x="f425" y="f430"/>
                    </a:lnTo>
                    <a:lnTo>
                      <a:pt x="f431" y="f432"/>
                    </a:lnTo>
                    <a:lnTo>
                      <a:pt x="f433" y="f434"/>
                    </a:lnTo>
                    <a:lnTo>
                      <a:pt x="f435" y="f144"/>
                    </a:lnTo>
                    <a:lnTo>
                      <a:pt x="f436" y="f437"/>
                    </a:lnTo>
                    <a:lnTo>
                      <a:pt x="f403" y="f438"/>
                    </a:lnTo>
                    <a:lnTo>
                      <a:pt x="f401" y="f438"/>
                    </a:lnTo>
                    <a:lnTo>
                      <a:pt x="f439" y="f437"/>
                    </a:lnTo>
                    <a:lnTo>
                      <a:pt x="f409" y="f440"/>
                    </a:lnTo>
                    <a:lnTo>
                      <a:pt x="f441" y="f440"/>
                    </a:lnTo>
                    <a:lnTo>
                      <a:pt x="f442" y="f434"/>
                    </a:lnTo>
                    <a:lnTo>
                      <a:pt x="f443" y="f444"/>
                    </a:lnTo>
                    <a:lnTo>
                      <a:pt x="f291" y="f144"/>
                    </a:lnTo>
                    <a:lnTo>
                      <a:pt x="f289" y="f437"/>
                    </a:lnTo>
                    <a:lnTo>
                      <a:pt x="f289" y="f145"/>
                    </a:lnTo>
                    <a:lnTo>
                      <a:pt x="f291" y="f445"/>
                    </a:lnTo>
                    <a:lnTo>
                      <a:pt x="f441" y="f446"/>
                    </a:lnTo>
                    <a:lnTo>
                      <a:pt x="f439" y="f447"/>
                    </a:lnTo>
                    <a:lnTo>
                      <a:pt x="f448" y="f449"/>
                    </a:lnTo>
                    <a:lnTo>
                      <a:pt x="f427" y="f151"/>
                    </a:lnTo>
                    <a:lnTo>
                      <a:pt x="f450" y="f153"/>
                    </a:lnTo>
                    <a:lnTo>
                      <a:pt x="f451" y="f452"/>
                    </a:lnTo>
                    <a:lnTo>
                      <a:pt x="f123" y="f453"/>
                    </a:lnTo>
                    <a:lnTo>
                      <a:pt x="f454" y="f455"/>
                    </a:lnTo>
                    <a:lnTo>
                      <a:pt x="f13" y="f456"/>
                    </a:lnTo>
                    <a:lnTo>
                      <a:pt x="f108" y="f457"/>
                    </a:lnTo>
                    <a:lnTo>
                      <a:pt x="f101" y="f458"/>
                    </a:lnTo>
                    <a:lnTo>
                      <a:pt x="f70" y="f175"/>
                    </a:lnTo>
                    <a:lnTo>
                      <a:pt x="f76" y="f459"/>
                    </a:lnTo>
                    <a:lnTo>
                      <a:pt x="f28" y="f179"/>
                    </a:lnTo>
                    <a:lnTo>
                      <a:pt x="f73" y="f460"/>
                    </a:lnTo>
                    <a:lnTo>
                      <a:pt x="f76" y="f461"/>
                    </a:lnTo>
                    <a:lnTo>
                      <a:pt x="f34" y="f462"/>
                    </a:lnTo>
                    <a:lnTo>
                      <a:pt x="f32" y="f463"/>
                    </a:lnTo>
                    <a:lnTo>
                      <a:pt x="f70" y="f464"/>
                    </a:lnTo>
                    <a:lnTo>
                      <a:pt x="f465" y="f191"/>
                    </a:lnTo>
                    <a:lnTo>
                      <a:pt x="f466" y="f467"/>
                    </a:lnTo>
                    <a:lnTo>
                      <a:pt x="f14" y="f468"/>
                    </a:lnTo>
                    <a:lnTo>
                      <a:pt x="f87" y="f469"/>
                    </a:lnTo>
                    <a:lnTo>
                      <a:pt x="f40" y="f470"/>
                    </a:lnTo>
                    <a:lnTo>
                      <a:pt x="f41" y="f471"/>
                    </a:lnTo>
                    <a:lnTo>
                      <a:pt x="f472" y="f473"/>
                    </a:lnTo>
                    <a:lnTo>
                      <a:pt x="f42" y="f474"/>
                    </a:lnTo>
                    <a:lnTo>
                      <a:pt x="f475" y="f476"/>
                    </a:lnTo>
                    <a:lnTo>
                      <a:pt x="f52" y="f220"/>
                    </a:lnTo>
                    <a:lnTo>
                      <a:pt x="f477" y="f478"/>
                    </a:lnTo>
                    <a:lnTo>
                      <a:pt x="f479" y="f478"/>
                    </a:lnTo>
                    <a:lnTo>
                      <a:pt x="f480" y="f481"/>
                    </a:lnTo>
                    <a:lnTo>
                      <a:pt x="f482" y="f483"/>
                    </a:lnTo>
                    <a:lnTo>
                      <a:pt x="f482" y="f484"/>
                    </a:lnTo>
                    <a:lnTo>
                      <a:pt x="f480" y="f485"/>
                    </a:lnTo>
                    <a:lnTo>
                      <a:pt x="f479" y="f486"/>
                    </a:lnTo>
                    <a:lnTo>
                      <a:pt x="f487" y="f488"/>
                    </a:lnTo>
                    <a:lnTo>
                      <a:pt x="f489" y="f203"/>
                    </a:lnTo>
                    <a:lnTo>
                      <a:pt x="f490" y="f201"/>
                    </a:lnTo>
                    <a:lnTo>
                      <a:pt x="f491" y="f492"/>
                    </a:lnTo>
                    <a:lnTo>
                      <a:pt x="f493" y="f195"/>
                    </a:lnTo>
                    <a:lnTo>
                      <a:pt x="f494" y="f495"/>
                    </a:lnTo>
                    <a:lnTo>
                      <a:pt x="f496" y="f497"/>
                    </a:lnTo>
                    <a:lnTo>
                      <a:pt x="f498" y="f497"/>
                    </a:lnTo>
                    <a:lnTo>
                      <a:pt x="f499" y="f495"/>
                    </a:lnTo>
                    <a:lnTo>
                      <a:pt x="f500" y="f501"/>
                    </a:lnTo>
                    <a:lnTo>
                      <a:pt x="f502" y="f201"/>
                    </a:lnTo>
                    <a:lnTo>
                      <a:pt x="f503" y="f488"/>
                    </a:lnTo>
                    <a:lnTo>
                      <a:pt x="f504" y="f474"/>
                    </a:lnTo>
                    <a:lnTo>
                      <a:pt x="f505" y="f484"/>
                    </a:lnTo>
                    <a:lnTo>
                      <a:pt x="f506" y="f220"/>
                    </a:lnTo>
                    <a:lnTo>
                      <a:pt x="f507" y="f508"/>
                    </a:lnTo>
                    <a:lnTo>
                      <a:pt x="f509" y="f510"/>
                    </a:lnTo>
                    <a:lnTo>
                      <a:pt x="f511" y="f512"/>
                    </a:lnTo>
                    <a:lnTo>
                      <a:pt x="f513" y="f224"/>
                    </a:lnTo>
                    <a:lnTo>
                      <a:pt x="f514" y="f224"/>
                    </a:lnTo>
                    <a:lnTo>
                      <a:pt x="f515" y="f516"/>
                    </a:lnTo>
                    <a:lnTo>
                      <a:pt x="f517" y="f510"/>
                    </a:lnTo>
                    <a:lnTo>
                      <a:pt x="f518" y="f478"/>
                    </a:lnTo>
                    <a:lnTo>
                      <a:pt x="f519" y="f520"/>
                    </a:lnTo>
                    <a:lnTo>
                      <a:pt x="f521" y="f520"/>
                    </a:lnTo>
                    <a:lnTo>
                      <a:pt x="f522" y="f478"/>
                    </a:lnTo>
                    <a:lnTo>
                      <a:pt x="f523" y="f524"/>
                    </a:lnTo>
                    <a:lnTo>
                      <a:pt x="f525" y="f510"/>
                    </a:lnTo>
                    <a:lnTo>
                      <a:pt x="f526" y="f527"/>
                    </a:lnTo>
                    <a:lnTo>
                      <a:pt x="f528" y="f529"/>
                    </a:lnTo>
                    <a:lnTo>
                      <a:pt x="f530" y="f224"/>
                    </a:lnTo>
                    <a:lnTo>
                      <a:pt x="f531" y="f532"/>
                    </a:lnTo>
                    <a:lnTo>
                      <a:pt x="f533" y="f226"/>
                    </a:lnTo>
                    <a:lnTo>
                      <a:pt x="f534" y="f535"/>
                    </a:lnTo>
                    <a:lnTo>
                      <a:pt x="f531" y="f536"/>
                    </a:lnTo>
                    <a:lnTo>
                      <a:pt x="f537" y="f538"/>
                    </a:lnTo>
                    <a:lnTo>
                      <a:pt x="f539" y="f540"/>
                    </a:lnTo>
                    <a:lnTo>
                      <a:pt x="f539" y="f541"/>
                    </a:lnTo>
                    <a:lnTo>
                      <a:pt x="f537" y="f542"/>
                    </a:lnTo>
                    <a:lnTo>
                      <a:pt x="f543" y="f233"/>
                    </a:lnTo>
                    <a:lnTo>
                      <a:pt x="f544" y="f545"/>
                    </a:lnTo>
                    <a:lnTo>
                      <a:pt x="f546" y="f270"/>
                    </a:lnTo>
                    <a:lnTo>
                      <a:pt x="f547" y="f264"/>
                    </a:lnTo>
                    <a:lnTo>
                      <a:pt x="f548" y="f240"/>
                    </a:lnTo>
                    <a:lnTo>
                      <a:pt x="f549" y="f364"/>
                    </a:lnTo>
                    <a:lnTo>
                      <a:pt x="f550" y="f337"/>
                    </a:lnTo>
                    <a:lnTo>
                      <a:pt x="f551" y="f324"/>
                    </a:lnTo>
                    <a:lnTo>
                      <a:pt x="f551" y="f307"/>
                    </a:lnTo>
                    <a:lnTo>
                      <a:pt x="f550" y="f414"/>
                    </a:lnTo>
                    <a:lnTo>
                      <a:pt x="f548" y="f414"/>
                    </a:lnTo>
                    <a:lnTo>
                      <a:pt x="f552" y="f287"/>
                    </a:lnTo>
                    <a:lnTo>
                      <a:pt x="f534" y="f553"/>
                    </a:lnTo>
                    <a:lnTo>
                      <a:pt x="f544" y="f298"/>
                    </a:lnTo>
                    <a:lnTo>
                      <a:pt x="f554" y="f289"/>
                    </a:lnTo>
                    <a:lnTo>
                      <a:pt x="f537" y="f411"/>
                    </a:lnTo>
                    <a:lnTo>
                      <a:pt x="f537" y="f409"/>
                    </a:lnTo>
                    <a:lnTo>
                      <a:pt x="f531" y="f555"/>
                    </a:lnTo>
                    <a:lnTo>
                      <a:pt x="f556" y="f399"/>
                    </a:lnTo>
                    <a:lnTo>
                      <a:pt x="f557" y="f407"/>
                    </a:lnTo>
                    <a:lnTo>
                      <a:pt x="f550" y="f439"/>
                    </a:lnTo>
                    <a:lnTo>
                      <a:pt x="f558" y="f405"/>
                    </a:lnTo>
                    <a:lnTo>
                      <a:pt x="f559" y="f423"/>
                    </a:lnTo>
                    <a:lnTo>
                      <a:pt x="f560" y="f448"/>
                    </a:lnTo>
                    <a:lnTo>
                      <a:pt x="f561" y="f562"/>
                    </a:lnTo>
                    <a:lnTo>
                      <a:pt x="f563" y="f564"/>
                    </a:lnTo>
                    <a:lnTo>
                      <a:pt x="f565" y="f566"/>
                    </a:lnTo>
                    <a:lnTo>
                      <a:pt x="f567" y="f117"/>
                    </a:lnTo>
                    <a:lnTo>
                      <a:pt x="f565" y="f13"/>
                    </a:lnTo>
                    <a:lnTo>
                      <a:pt x="f563" y="f109"/>
                    </a:lnTo>
                    <a:lnTo>
                      <a:pt x="f561" y="f128"/>
                    </a:lnTo>
                    <a:lnTo>
                      <a:pt x="f560" y="f92"/>
                    </a:lnTo>
                    <a:lnTo>
                      <a:pt x="f568" y="f90"/>
                    </a:lnTo>
                    <a:lnTo>
                      <a:pt x="f569" y="f97"/>
                    </a:lnTo>
                    <a:lnTo>
                      <a:pt x="f569" y="f99"/>
                    </a:lnTo>
                    <a:lnTo>
                      <a:pt x="f559" y="f570"/>
                    </a:lnTo>
                    <a:lnTo>
                      <a:pt x="f571" y="f30"/>
                    </a:lnTo>
                    <a:lnTo>
                      <a:pt x="f563" y="f40"/>
                    </a:lnTo>
                    <a:lnTo>
                      <a:pt x="f572" y="f42"/>
                    </a:lnTo>
                    <a:lnTo>
                      <a:pt x="f573" y="f49"/>
                    </a:lnTo>
                    <a:lnTo>
                      <a:pt x="f574" y="f575"/>
                    </a:lnTo>
                    <a:lnTo>
                      <a:pt x="f576" y="f577"/>
                    </a:lnTo>
                    <a:lnTo>
                      <a:pt x="f578" y="f579"/>
                    </a:lnTo>
                    <a:lnTo>
                      <a:pt x="f580" y="f581"/>
                    </a:lnTo>
                    <a:lnTo>
                      <a:pt x="f582" y="f583"/>
                    </a:lnTo>
                    <a:lnTo>
                      <a:pt x="f584" y="f499"/>
                    </a:lnTo>
                    <a:lnTo>
                      <a:pt x="f585" y="f586"/>
                    </a:lnTo>
                    <a:lnTo>
                      <a:pt x="f587" y="f588"/>
                    </a:lnTo>
                    <a:lnTo>
                      <a:pt x="f589" y="f509"/>
                    </a:lnTo>
                    <a:lnTo>
                      <a:pt x="f590" y="f591"/>
                    </a:lnTo>
                    <a:lnTo>
                      <a:pt x="f592" y="f515"/>
                    </a:lnTo>
                    <a:lnTo>
                      <a:pt x="f593" y="f594"/>
                    </a:lnTo>
                    <a:lnTo>
                      <a:pt x="f595" y="f522"/>
                    </a:lnTo>
                    <a:lnTo>
                      <a:pt x="f596" y="f525"/>
                    </a:lnTo>
                    <a:lnTo>
                      <a:pt x="f597" y="f598"/>
                    </a:lnTo>
                    <a:lnTo>
                      <a:pt x="f599" y="f600"/>
                    </a:lnTo>
                    <a:lnTo>
                      <a:pt x="f601" y="f598"/>
                    </a:lnTo>
                    <a:lnTo>
                      <a:pt x="f602" y="f603"/>
                    </a:lnTo>
                    <a:lnTo>
                      <a:pt x="f604" y="f605"/>
                    </a:lnTo>
                    <a:lnTo>
                      <a:pt x="f606" y="f598"/>
                    </a:lnTo>
                    <a:lnTo>
                      <a:pt x="f607" y="f526"/>
                    </a:lnTo>
                    <a:lnTo>
                      <a:pt x="f608" y="f609"/>
                    </a:lnTo>
                    <a:lnTo>
                      <a:pt x="f610" y="f528"/>
                    </a:lnTo>
                    <a:lnTo>
                      <a:pt x="f611" y="f612"/>
                    </a:lnTo>
                    <a:lnTo>
                      <a:pt x="f613" y="f614"/>
                    </a:lnTo>
                    <a:lnTo>
                      <a:pt x="f615" y="f616"/>
                    </a:lnTo>
                    <a:lnTo>
                      <a:pt x="f617" y="f530"/>
                    </a:lnTo>
                    <a:lnTo>
                      <a:pt x="f618" y="f554"/>
                    </a:lnTo>
                    <a:lnTo>
                      <a:pt x="f618" y="f619"/>
                    </a:lnTo>
                    <a:lnTo>
                      <a:pt x="f620" y="f621"/>
                    </a:lnTo>
                    <a:lnTo>
                      <a:pt x="f622" y="f551"/>
                    </a:lnTo>
                    <a:lnTo>
                      <a:pt x="f623" y="f624"/>
                    </a:lnTo>
                    <a:lnTo>
                      <a:pt x="f625" y="f626"/>
                    </a:lnTo>
                    <a:lnTo>
                      <a:pt x="f627" y="f626"/>
                    </a:lnTo>
                    <a:lnTo>
                      <a:pt x="f628" y="f629"/>
                    </a:lnTo>
                    <a:lnTo>
                      <a:pt x="f630" y="f631"/>
                    </a:lnTo>
                    <a:lnTo>
                      <a:pt x="f632" y="f633"/>
                    </a:lnTo>
                    <a:lnTo>
                      <a:pt x="f634" y="f547"/>
                    </a:lnTo>
                    <a:lnTo>
                      <a:pt x="f635" y="f552"/>
                    </a:lnTo>
                    <a:lnTo>
                      <a:pt x="f636" y="f637"/>
                    </a:lnTo>
                    <a:lnTo>
                      <a:pt x="f638" y="f550"/>
                    </a:lnTo>
                    <a:lnTo>
                      <a:pt x="f639" y="f558"/>
                    </a:lnTo>
                    <a:lnTo>
                      <a:pt x="f640" y="f560"/>
                    </a:lnTo>
                    <a:lnTo>
                      <a:pt x="f640" y="f572"/>
                    </a:lnTo>
                    <a:lnTo>
                      <a:pt x="f641" y="f642"/>
                    </a:lnTo>
                    <a:lnTo>
                      <a:pt x="f7" y="f643"/>
                    </a:lnTo>
                    <a:lnTo>
                      <a:pt x="f644" y="f645"/>
                    </a:lnTo>
                    <a:lnTo>
                      <a:pt x="f646" y="f647"/>
                    </a:lnTo>
                    <a:lnTo>
                      <a:pt x="f635" y="f648"/>
                    </a:lnTo>
                    <a:lnTo>
                      <a:pt x="f649" y="f650"/>
                    </a:lnTo>
                    <a:lnTo>
                      <a:pt x="f651" y="f652"/>
                    </a:lnTo>
                    <a:lnTo>
                      <a:pt x="f653" y="f587"/>
                    </a:lnTo>
                    <a:lnTo>
                      <a:pt x="f654" y="f655"/>
                    </a:lnTo>
                    <a:lnTo>
                      <a:pt x="f656" y="f657"/>
                    </a:lnTo>
                    <a:lnTo>
                      <a:pt x="f658" y="f593"/>
                    </a:lnTo>
                    <a:lnTo>
                      <a:pt x="f659" y="f660"/>
                    </a:lnTo>
                    <a:lnTo>
                      <a:pt x="f661" y="f660"/>
                    </a:lnTo>
                    <a:lnTo>
                      <a:pt x="f607" y="f593"/>
                    </a:lnTo>
                    <a:lnTo>
                      <a:pt x="f662" y="f593"/>
                    </a:lnTo>
                    <a:lnTo>
                      <a:pt x="f663" y="f660"/>
                    </a:lnTo>
                    <a:lnTo>
                      <a:pt x="f596" y="f595"/>
                    </a:lnTo>
                    <a:lnTo>
                      <a:pt x="f664" y="f596"/>
                    </a:lnTo>
                    <a:lnTo>
                      <a:pt x="f665" y="f663"/>
                    </a:lnTo>
                    <a:lnTo>
                      <a:pt x="f665" y="f666"/>
                    </a:lnTo>
                    <a:lnTo>
                      <a:pt x="f667" y="f668"/>
                    </a:lnTo>
                    <a:lnTo>
                      <a:pt x="f669" y="f670"/>
                    </a:lnTo>
                    <a:lnTo>
                      <a:pt x="f671" y="f672"/>
                    </a:lnTo>
                    <a:lnTo>
                      <a:pt x="f673" y="f674"/>
                    </a:lnTo>
                    <a:lnTo>
                      <a:pt x="f675" y="f676"/>
                    </a:lnTo>
                    <a:lnTo>
                      <a:pt x="f596" y="f677"/>
                    </a:lnTo>
                    <a:lnTo>
                      <a:pt x="f678" y="f608"/>
                    </a:lnTo>
                    <a:lnTo>
                      <a:pt x="f590" y="f679"/>
                    </a:lnTo>
                    <a:lnTo>
                      <a:pt x="f587" y="f680"/>
                    </a:lnTo>
                    <a:lnTo>
                      <a:pt x="f681" y="f682"/>
                    </a:lnTo>
                    <a:lnTo>
                      <a:pt x="f683" y="f620"/>
                    </a:lnTo>
                    <a:lnTo>
                      <a:pt x="f660" y="f684"/>
                    </a:lnTo>
                    <a:lnTo>
                      <a:pt x="f669" y="f658"/>
                    </a:lnTo>
                    <a:lnTo>
                      <a:pt x="f685" y="f686"/>
                    </a:lnTo>
                    <a:lnTo>
                      <a:pt x="f687" y="f688"/>
                    </a:lnTo>
                    <a:lnTo>
                      <a:pt x="f689" y="f690"/>
                    </a:lnTo>
                    <a:lnTo>
                      <a:pt x="f689" y="f654"/>
                    </a:lnTo>
                    <a:lnTo>
                      <a:pt x="f691" y="f692"/>
                    </a:lnTo>
                    <a:lnTo>
                      <a:pt x="f673" y="f693"/>
                    </a:lnTo>
                    <a:lnTo>
                      <a:pt x="f663" y="f694"/>
                    </a:lnTo>
                    <a:lnTo>
                      <a:pt x="f695" y="f696"/>
                    </a:lnTo>
                    <a:lnTo>
                      <a:pt x="f697" y="f646"/>
                    </a:lnTo>
                    <a:lnTo>
                      <a:pt x="f697" y="f698"/>
                    </a:lnTo>
                    <a:lnTo>
                      <a:pt x="f665" y="f638"/>
                    </a:lnTo>
                    <a:lnTo>
                      <a:pt x="f593" y="f7"/>
                    </a:lnTo>
                    <a:lnTo>
                      <a:pt x="f699" y="f700"/>
                    </a:lnTo>
                    <a:lnTo>
                      <a:pt x="f681" y="f701"/>
                    </a:lnTo>
                    <a:lnTo>
                      <a:pt x="f702" y="f703"/>
                    </a:lnTo>
                    <a:lnTo>
                      <a:pt x="f704" y="f705"/>
                    </a:lnTo>
                    <a:lnTo>
                      <a:pt x="f706" y="f707"/>
                    </a:lnTo>
                    <a:lnTo>
                      <a:pt x="f708" y="f709"/>
                    </a:lnTo>
                    <a:lnTo>
                      <a:pt x="f710" y="f711"/>
                    </a:lnTo>
                    <a:lnTo>
                      <a:pt x="f712" y="f713"/>
                    </a:lnTo>
                    <a:lnTo>
                      <a:pt x="f706" y="f714"/>
                    </a:lnTo>
                    <a:lnTo>
                      <a:pt x="f715" y="f716"/>
                    </a:lnTo>
                    <a:lnTo>
                      <a:pt x="f717" y="f718"/>
                    </a:lnTo>
                    <a:lnTo>
                      <a:pt x="f719" y="f720"/>
                    </a:lnTo>
                    <a:lnTo>
                      <a:pt x="f721" y="f722"/>
                    </a:lnTo>
                    <a:lnTo>
                      <a:pt x="f723" y="f724"/>
                    </a:lnTo>
                    <a:lnTo>
                      <a:pt x="f721" y="f725"/>
                    </a:lnTo>
                    <a:lnTo>
                      <a:pt x="f721" y="f726"/>
                    </a:lnTo>
                    <a:lnTo>
                      <a:pt x="f723" y="f727"/>
                    </a:lnTo>
                    <a:lnTo>
                      <a:pt x="f728" y="f729"/>
                    </a:lnTo>
                    <a:lnTo>
                      <a:pt x="f730" y="f731"/>
                    </a:lnTo>
                    <a:lnTo>
                      <a:pt x="f732" y="f733"/>
                    </a:lnTo>
                    <a:lnTo>
                      <a:pt x="f734" y="f735"/>
                    </a:lnTo>
                    <a:lnTo>
                      <a:pt x="f736" y="f737"/>
                    </a:lnTo>
                    <a:lnTo>
                      <a:pt x="f572" y="f738"/>
                    </a:lnTo>
                    <a:lnTo>
                      <a:pt x="f565" y="f739"/>
                    </a:lnTo>
                    <a:lnTo>
                      <a:pt x="f563" y="f740"/>
                    </a:lnTo>
                    <a:lnTo>
                      <a:pt x="f741" y="f742"/>
                    </a:lnTo>
                    <a:lnTo>
                      <a:pt x="f559" y="f743"/>
                    </a:lnTo>
                    <a:lnTo>
                      <a:pt x="f558" y="f744"/>
                    </a:lnTo>
                    <a:lnTo>
                      <a:pt x="f551" y="f740"/>
                    </a:lnTo>
                    <a:lnTo>
                      <a:pt x="f557" y="f745"/>
                    </a:lnTo>
                    <a:lnTo>
                      <a:pt x="f746" y="f726"/>
                    </a:lnTo>
                    <a:lnTo>
                      <a:pt x="f531" y="f747"/>
                    </a:lnTo>
                    <a:lnTo>
                      <a:pt x="f539" y="f748"/>
                    </a:lnTo>
                    <a:lnTo>
                      <a:pt x="f749" y="f747"/>
                    </a:lnTo>
                    <a:lnTo>
                      <a:pt x="f528" y="f726"/>
                    </a:lnTo>
                    <a:lnTo>
                      <a:pt x="f526" y="f750"/>
                    </a:lnTo>
                    <a:lnTo>
                      <a:pt x="f751" y="f752"/>
                    </a:lnTo>
                    <a:lnTo>
                      <a:pt x="f753" y="f720"/>
                    </a:lnTo>
                    <a:lnTo>
                      <a:pt x="f754" y="f755"/>
                    </a:lnTo>
                    <a:lnTo>
                      <a:pt x="f518" y="f756"/>
                    </a:lnTo>
                    <a:lnTo>
                      <a:pt x="f514" y="f757"/>
                    </a:lnTo>
                    <a:lnTo>
                      <a:pt x="f758" y="f759"/>
                    </a:lnTo>
                    <a:lnTo>
                      <a:pt x="f506" y="f760"/>
                    </a:lnTo>
                    <a:lnTo>
                      <a:pt x="f503" y="f761"/>
                    </a:lnTo>
                    <a:lnTo>
                      <a:pt x="f762" y="f763"/>
                    </a:lnTo>
                    <a:lnTo>
                      <a:pt x="f762" y="f764"/>
                    </a:lnTo>
                    <a:lnTo>
                      <a:pt x="f502" y="f765"/>
                    </a:lnTo>
                    <a:lnTo>
                      <a:pt x="f502" y="f766"/>
                    </a:lnTo>
                    <a:lnTo>
                      <a:pt x="f762" y="f698"/>
                    </a:lnTo>
                    <a:lnTo>
                      <a:pt x="f500" y="f694"/>
                    </a:lnTo>
                    <a:lnTo>
                      <a:pt x="f767" y="f768"/>
                    </a:lnTo>
                    <a:lnTo>
                      <a:pt x="f498" y="f690"/>
                    </a:lnTo>
                    <a:lnTo>
                      <a:pt x="f769" y="f770"/>
                    </a:lnTo>
                    <a:lnTo>
                      <a:pt x="f479" y="f625"/>
                    </a:lnTo>
                    <a:lnTo>
                      <a:pt x="f49" y="f771"/>
                    </a:lnTo>
                    <a:lnTo>
                      <a:pt x="f41" y="f772"/>
                    </a:lnTo>
                    <a:lnTo>
                      <a:pt x="f87" y="f658"/>
                    </a:lnTo>
                    <a:lnTo>
                      <a:pt x="f30" y="f658"/>
                    </a:lnTo>
                    <a:lnTo>
                      <a:pt x="f66" y="f771"/>
                    </a:lnTo>
                    <a:lnTo>
                      <a:pt x="f773" y="f774"/>
                    </a:lnTo>
                    <a:lnTo>
                      <a:pt x="f108" y="f656"/>
                    </a:lnTo>
                    <a:lnTo>
                      <a:pt x="f109" y="f775"/>
                    </a:lnTo>
                    <a:lnTo>
                      <a:pt x="f115" y="f776"/>
                    </a:lnTo>
                    <a:lnTo>
                      <a:pt x="f777" y="f693"/>
                    </a:lnTo>
                    <a:lnTo>
                      <a:pt x="f778" y="f651"/>
                    </a:lnTo>
                    <a:lnTo>
                      <a:pt x="f779" y="f780"/>
                    </a:lnTo>
                    <a:lnTo>
                      <a:pt x="f779" y="f654"/>
                    </a:lnTo>
                    <a:lnTo>
                      <a:pt x="f450" y="f628"/>
                    </a:lnTo>
                    <a:lnTo>
                      <a:pt x="f778" y="f686"/>
                    </a:lnTo>
                    <a:lnTo>
                      <a:pt x="f450" y="f658"/>
                    </a:lnTo>
                    <a:lnTo>
                      <a:pt x="f781" y="f782"/>
                    </a:lnTo>
                    <a:lnTo>
                      <a:pt x="f783" y="f784"/>
                    </a:lnTo>
                    <a:lnTo>
                      <a:pt x="f431" y="f785"/>
                    </a:lnTo>
                    <a:lnTo>
                      <a:pt x="f786" y="f771"/>
                    </a:lnTo>
                    <a:lnTo>
                      <a:pt x="f442" y="f627"/>
                    </a:lnTo>
                    <a:lnTo>
                      <a:pt x="f300" y="f654"/>
                    </a:lnTo>
                    <a:lnTo>
                      <a:pt x="f318" y="f634"/>
                    </a:lnTo>
                    <a:lnTo>
                      <a:pt x="f363" y="f696"/>
                    </a:lnTo>
                    <a:lnTo>
                      <a:pt x="f238" y="f698"/>
                    </a:lnTo>
                    <a:lnTo>
                      <a:pt x="f268" y="f787"/>
                    </a:lnTo>
                    <a:lnTo>
                      <a:pt x="f788" y="f789"/>
                    </a:lnTo>
                    <a:lnTo>
                      <a:pt x="f540" y="f790"/>
                    </a:lnTo>
                    <a:lnTo>
                      <a:pt x="f791" y="f792"/>
                    </a:lnTo>
                    <a:lnTo>
                      <a:pt x="f228" y="f789"/>
                    </a:lnTo>
                    <a:lnTo>
                      <a:pt x="f227" y="f787"/>
                    </a:lnTo>
                    <a:lnTo>
                      <a:pt x="f226" y="f793"/>
                    </a:lnTo>
                    <a:lnTo>
                      <a:pt x="f224" y="f794"/>
                    </a:lnTo>
                    <a:lnTo>
                      <a:pt x="f223" y="f694"/>
                    </a:lnTo>
                    <a:lnTo>
                      <a:pt x="f795" y="f693"/>
                    </a:lnTo>
                    <a:lnTo>
                      <a:pt x="f524" y="f692"/>
                    </a:lnTo>
                    <a:lnTo>
                      <a:pt x="f508" y="f630"/>
                    </a:lnTo>
                    <a:lnTo>
                      <a:pt x="f478" y="f628"/>
                    </a:lnTo>
                    <a:lnTo>
                      <a:pt x="f796" y="f770"/>
                    </a:lnTo>
                    <a:lnTo>
                      <a:pt x="f797" y="f774"/>
                    </a:lnTo>
                    <a:lnTo>
                      <a:pt x="f471" y="f625"/>
                    </a:lnTo>
                    <a:lnTo>
                      <a:pt x="f798" y="f772"/>
                    </a:lnTo>
                    <a:lnTo>
                      <a:pt x="f469" y="f684"/>
                    </a:lnTo>
                    <a:lnTo>
                      <a:pt x="f799" y="f659"/>
                    </a:lnTo>
                    <a:lnTo>
                      <a:pt x="f800" y="f801"/>
                    </a:lnTo>
                    <a:lnTo>
                      <a:pt x="f802" y="f680"/>
                    </a:lnTo>
                    <a:lnTo>
                      <a:pt x="f195" y="f803"/>
                    </a:lnTo>
                    <a:lnTo>
                      <a:pt x="f495" y="f804"/>
                    </a:lnTo>
                    <a:lnTo>
                      <a:pt x="f805" y="f803"/>
                    </a:lnTo>
                    <a:lnTo>
                      <a:pt x="f806" y="f680"/>
                    </a:lnTo>
                    <a:lnTo>
                      <a:pt x="f807" y="f615"/>
                    </a:lnTo>
                    <a:lnTo>
                      <a:pt x="f808" y="f617"/>
                    </a:lnTo>
                    <a:lnTo>
                      <a:pt x="f462" y="f659"/>
                    </a:lnTo>
                    <a:lnTo>
                      <a:pt x="f809" y="f810"/>
                    </a:lnTo>
                    <a:lnTo>
                      <a:pt x="f811" y="f812"/>
                    </a:lnTo>
                    <a:lnTo>
                      <a:pt x="f813" y="f812"/>
                    </a:lnTo>
                    <a:lnTo>
                      <a:pt x="f814" y="f810"/>
                    </a:lnTo>
                    <a:lnTo>
                      <a:pt x="f815" y="f810"/>
                    </a:lnTo>
                    <a:lnTo>
                      <a:pt x="f457" y="f812"/>
                    </a:lnTo>
                    <a:lnTo>
                      <a:pt x="f816" y="f784"/>
                    </a:lnTo>
                    <a:lnTo>
                      <a:pt x="f816" y="f627"/>
                    </a:lnTo>
                    <a:lnTo>
                      <a:pt x="f173" y="f630"/>
                    </a:lnTo>
                    <a:lnTo>
                      <a:pt x="f817" y="f818"/>
                    </a:lnTo>
                    <a:lnTo>
                      <a:pt x="f167" y="f632"/>
                    </a:lnTo>
                    <a:lnTo>
                      <a:pt x="f819" y="f651"/>
                    </a:lnTo>
                    <a:lnTo>
                      <a:pt x="f161" y="f820"/>
                    </a:lnTo>
                    <a:lnTo>
                      <a:pt x="f155" y="f821"/>
                    </a:lnTo>
                    <a:lnTo>
                      <a:pt x="f822" y="f823"/>
                    </a:lnTo>
                    <a:lnTo>
                      <a:pt x="f824" y="f707"/>
                    </a:lnTo>
                    <a:lnTo>
                      <a:pt x="f452" y="f825"/>
                    </a:lnTo>
                    <a:lnTo>
                      <a:pt x="f826" y="f827"/>
                    </a:lnTo>
                    <a:lnTo>
                      <a:pt x="f165" y="f711"/>
                    </a:lnTo>
                    <a:lnTo>
                      <a:pt x="f165" y="f828"/>
                    </a:lnTo>
                    <a:lnTo>
                      <a:pt x="f826" y="f713"/>
                    </a:lnTo>
                    <a:lnTo>
                      <a:pt x="f824" y="f756"/>
                    </a:lnTo>
                    <a:lnTo>
                      <a:pt x="f149" y="f829"/>
                    </a:lnTo>
                    <a:lnTo>
                      <a:pt x="f830" y="f831"/>
                    </a:lnTo>
                    <a:lnTo>
                      <a:pt x="f434" y="f740"/>
                    </a:lnTo>
                    <a:lnTo>
                      <a:pt x="f832" y="f726"/>
                    </a:lnTo>
                    <a:lnTo>
                      <a:pt x="f833" y="f737"/>
                    </a:lnTo>
                    <a:lnTo>
                      <a:pt x="f834" y="f731"/>
                    </a:lnTo>
                    <a:lnTo>
                      <a:pt x="f835" y="f836"/>
                    </a:lnTo>
                    <a:lnTo>
                      <a:pt x="f837" y="f838"/>
                    </a:lnTo>
                    <a:lnTo>
                      <a:pt x="f839" y="f840"/>
                    </a:lnTo>
                    <a:lnTo>
                      <a:pt x="f422" y="f841"/>
                    </a:lnTo>
                    <a:lnTo>
                      <a:pt x="f842" y="f843"/>
                    </a:lnTo>
                    <a:lnTo>
                      <a:pt x="f844" y="f845"/>
                    </a:lnTo>
                    <a:lnTo>
                      <a:pt x="f846" y="f847"/>
                    </a:lnTo>
                    <a:lnTo>
                      <a:pt x="f848" y="f849"/>
                    </a:lnTo>
                    <a:lnTo>
                      <a:pt x="f850" y="f851"/>
                    </a:lnTo>
                    <a:lnTo>
                      <a:pt x="f852" y="f853"/>
                    </a:lnTo>
                    <a:lnTo>
                      <a:pt x="f854" y="f855"/>
                    </a:lnTo>
                    <a:lnTo>
                      <a:pt x="f854" y="f856"/>
                    </a:lnTo>
                    <a:lnTo>
                      <a:pt x="f857" y="f858"/>
                    </a:lnTo>
                    <a:lnTo>
                      <a:pt x="f852" y="f859"/>
                    </a:lnTo>
                    <a:lnTo>
                      <a:pt x="f420" y="f860"/>
                    </a:lnTo>
                    <a:lnTo>
                      <a:pt x="f848" y="f861"/>
                    </a:lnTo>
                    <a:lnTo>
                      <a:pt x="f862" y="f863"/>
                    </a:lnTo>
                    <a:lnTo>
                      <a:pt x="f417" y="f864"/>
                    </a:lnTo>
                    <a:lnTo>
                      <a:pt x="f412" y="f865"/>
                    </a:lnTo>
                    <a:lnTo>
                      <a:pt x="f866" y="f867"/>
                    </a:lnTo>
                    <a:lnTo>
                      <a:pt x="f868" y="f869"/>
                    </a:lnTo>
                    <a:lnTo>
                      <a:pt x="f870" y="f871"/>
                    </a:lnTo>
                    <a:lnTo>
                      <a:pt x="f872" y="f873"/>
                    </a:lnTo>
                    <a:lnTo>
                      <a:pt x="f874" y="f875"/>
                    </a:lnTo>
                    <a:lnTo>
                      <a:pt x="f870" y="f876"/>
                    </a:lnTo>
                    <a:lnTo>
                      <a:pt x="f877" y="f878"/>
                    </a:lnTo>
                    <a:lnTo>
                      <a:pt x="f406" y="f879"/>
                    </a:lnTo>
                    <a:lnTo>
                      <a:pt x="f880" y="f881"/>
                    </a:lnTo>
                    <a:lnTo>
                      <a:pt x="f412" y="f882"/>
                    </a:lnTo>
                    <a:lnTo>
                      <a:pt x="f883" y="f884"/>
                    </a:lnTo>
                    <a:lnTo>
                      <a:pt x="f885" y="f886"/>
                    </a:lnTo>
                    <a:lnTo>
                      <a:pt x="f887" y="f888"/>
                    </a:lnTo>
                    <a:lnTo>
                      <a:pt x="f844" y="f889"/>
                    </a:lnTo>
                    <a:lnTo>
                      <a:pt x="f420" y="f890"/>
                    </a:lnTo>
                    <a:lnTo>
                      <a:pt x="f854" y="f891"/>
                    </a:lnTo>
                    <a:lnTo>
                      <a:pt x="f424" y="f892"/>
                    </a:lnTo>
                    <a:lnTo>
                      <a:pt x="f893" y="f894"/>
                    </a:lnTo>
                    <a:lnTo>
                      <a:pt x="f895" y="f896"/>
                    </a:lnTo>
                    <a:lnTo>
                      <a:pt x="f897" y="f898"/>
                    </a:lnTo>
                    <a:lnTo>
                      <a:pt x="f854" y="f899"/>
                    </a:lnTo>
                    <a:lnTo>
                      <a:pt x="f857" y="f900"/>
                    </a:lnTo>
                    <a:lnTo>
                      <a:pt x="f901" y="f902"/>
                    </a:lnTo>
                    <a:lnTo>
                      <a:pt x="f903" y="f904"/>
                    </a:lnTo>
                    <a:lnTo>
                      <a:pt x="f848" y="f905"/>
                    </a:lnTo>
                    <a:lnTo>
                      <a:pt x="f862" y="f906"/>
                    </a:lnTo>
                    <a:lnTo>
                      <a:pt x="f907" y="f908"/>
                    </a:lnTo>
                    <a:lnTo>
                      <a:pt x="f883" y="f909"/>
                    </a:lnTo>
                    <a:lnTo>
                      <a:pt x="f910" y="f911"/>
                    </a:lnTo>
                    <a:lnTo>
                      <a:pt x="f404" y="f912"/>
                    </a:lnTo>
                    <a:lnTo>
                      <a:pt x="f913" y="f914"/>
                    </a:lnTo>
                    <a:lnTo>
                      <a:pt x="f915" y="f916"/>
                    </a:lnTo>
                    <a:lnTo>
                      <a:pt x="f917" y="f918"/>
                    </a:lnTo>
                    <a:lnTo>
                      <a:pt x="f919" y="f920"/>
                    </a:lnTo>
                    <a:lnTo>
                      <a:pt x="f921" y="f922"/>
                    </a:lnTo>
                    <a:lnTo>
                      <a:pt x="f923" y="f906"/>
                    </a:lnTo>
                    <a:lnTo>
                      <a:pt x="f924" y="f908"/>
                    </a:lnTo>
                    <a:lnTo>
                      <a:pt x="f925" y="f926"/>
                    </a:lnTo>
                    <a:lnTo>
                      <a:pt x="f927" y="f928"/>
                    </a:lnTo>
                    <a:lnTo>
                      <a:pt x="f929" y="f930"/>
                    </a:lnTo>
                    <a:lnTo>
                      <a:pt x="f931" y="f932"/>
                    </a:lnTo>
                    <a:lnTo>
                      <a:pt x="f933" y="f934"/>
                    </a:lnTo>
                    <a:lnTo>
                      <a:pt x="f935" y="f936"/>
                    </a:lnTo>
                    <a:lnTo>
                      <a:pt x="f937" y="f938"/>
                    </a:lnTo>
                    <a:lnTo>
                      <a:pt x="f939" y="f940"/>
                    </a:lnTo>
                    <a:lnTo>
                      <a:pt x="f941" y="f942"/>
                    </a:lnTo>
                    <a:lnTo>
                      <a:pt x="f380" y="f943"/>
                    </a:lnTo>
                    <a:lnTo>
                      <a:pt x="f383" y="f944"/>
                    </a:lnTo>
                    <a:lnTo>
                      <a:pt x="f945" y="f8"/>
                    </a:lnTo>
                    <a:lnTo>
                      <a:pt x="f946" y="f944"/>
                    </a:lnTo>
                    <a:lnTo>
                      <a:pt x="f86" y="f943"/>
                    </a:lnTo>
                    <a:lnTo>
                      <a:pt x="f947" y="f948"/>
                    </a:lnTo>
                    <a:lnTo>
                      <a:pt x="f949" y="f942"/>
                    </a:lnTo>
                    <a:lnTo>
                      <a:pt x="f950" y="f951"/>
                    </a:lnTo>
                    <a:lnTo>
                      <a:pt x="f952" y="f953"/>
                    </a:lnTo>
                    <a:lnTo>
                      <a:pt x="f954" y="f955"/>
                    </a:lnTo>
                    <a:lnTo>
                      <a:pt x="f362" y="f956"/>
                    </a:lnTo>
                    <a:lnTo>
                      <a:pt x="f957" y="f958"/>
                    </a:lnTo>
                    <a:lnTo>
                      <a:pt x="f959" y="f960"/>
                    </a:lnTo>
                    <a:lnTo>
                      <a:pt x="f961" y="f962"/>
                    </a:lnTo>
                    <a:lnTo>
                      <a:pt x="f351" y="f960"/>
                    </a:lnTo>
                    <a:lnTo>
                      <a:pt x="f963" y="f964"/>
                    </a:lnTo>
                    <a:lnTo>
                      <a:pt x="f965" y="f966"/>
                    </a:lnTo>
                    <a:lnTo>
                      <a:pt x="f130" y="f955"/>
                    </a:lnTo>
                    <a:lnTo>
                      <a:pt x="f130" y="f967"/>
                    </a:lnTo>
                    <a:lnTo>
                      <a:pt x="f968" y="f964"/>
                    </a:lnTo>
                    <a:lnTo>
                      <a:pt x="f969" y="f970"/>
                    </a:lnTo>
                    <a:lnTo>
                      <a:pt x="f971" y="f972"/>
                    </a:lnTo>
                    <a:lnTo>
                      <a:pt x="f973" y="f974"/>
                    </a:lnTo>
                    <a:lnTo>
                      <a:pt x="f975" y="f976"/>
                    </a:lnTo>
                    <a:lnTo>
                      <a:pt x="f975" y="f909"/>
                    </a:lnTo>
                    <a:lnTo>
                      <a:pt x="f340" y="f922"/>
                    </a:lnTo>
                    <a:lnTo>
                      <a:pt x="f132" y="f977"/>
                    </a:lnTo>
                    <a:lnTo>
                      <a:pt x="f341" y="f978"/>
                    </a:lnTo>
                    <a:lnTo>
                      <a:pt x="f979" y="f980"/>
                    </a:lnTo>
                    <a:lnTo>
                      <a:pt x="f981" y="f982"/>
                    </a:lnTo>
                    <a:lnTo>
                      <a:pt x="f339" y="f983"/>
                    </a:lnTo>
                    <a:lnTo>
                      <a:pt x="f133" y="f984"/>
                    </a:lnTo>
                    <a:lnTo>
                      <a:pt x="f336" y="f985"/>
                    </a:lnTo>
                    <a:lnTo>
                      <a:pt x="f986" y="f987"/>
                    </a:lnTo>
                    <a:lnTo>
                      <a:pt x="f988" y="f989"/>
                    </a:lnTo>
                    <a:lnTo>
                      <a:pt x="f990" y="f904"/>
                    </a:lnTo>
                    <a:lnTo>
                      <a:pt x="f991" y="f992"/>
                    </a:lnTo>
                    <a:lnTo>
                      <a:pt x="f143" y="f993"/>
                    </a:lnTo>
                    <a:lnTo>
                      <a:pt x="f12" y="f900"/>
                    </a:lnTo>
                    <a:lnTo>
                      <a:pt x="f328" y="f994"/>
                    </a:lnTo>
                    <a:lnTo>
                      <a:pt x="f21" y="f995"/>
                    </a:lnTo>
                    <a:lnTo>
                      <a:pt x="f39" y="f996"/>
                    </a:lnTo>
                    <a:lnTo>
                      <a:pt x="f320" y="f983"/>
                    </a:lnTo>
                    <a:lnTo>
                      <a:pt x="f997" y="f984"/>
                    </a:lnTo>
                    <a:lnTo>
                      <a:pt x="f998" y="f982"/>
                    </a:lnTo>
                    <a:lnTo>
                      <a:pt x="f999" y="f1000"/>
                    </a:lnTo>
                    <a:lnTo>
                      <a:pt x="f1001" y="f1002"/>
                    </a:lnTo>
                    <a:lnTo>
                      <a:pt x="f312" y="f996"/>
                    </a:lnTo>
                    <a:lnTo>
                      <a:pt x="f1003" y="f993"/>
                    </a:lnTo>
                    <a:lnTo>
                      <a:pt x="f1004" y="f1005"/>
                    </a:lnTo>
                    <a:lnTo>
                      <a:pt x="f1006" y="f1005"/>
                    </a:lnTo>
                    <a:lnTo>
                      <a:pt x="f1007" y="f1008"/>
                    </a:lnTo>
                    <a:lnTo>
                      <a:pt x="f297" y="f996"/>
                    </a:lnTo>
                    <a:lnTo>
                      <a:pt x="f1009" y="f1010"/>
                    </a:lnTo>
                    <a:lnTo>
                      <a:pt x="f1011" y="f996"/>
                    </a:lnTo>
                    <a:lnTo>
                      <a:pt x="f1012" y="f1005"/>
                    </a:lnTo>
                    <a:lnTo>
                      <a:pt x="f292" y="f1013"/>
                    </a:lnTo>
                    <a:lnTo>
                      <a:pt x="f1009" y="f1014"/>
                    </a:lnTo>
                    <a:lnTo>
                      <a:pt x="f293" y="f1015"/>
                    </a:lnTo>
                    <a:lnTo>
                      <a:pt x="f1016" y="f1017"/>
                    </a:lnTo>
                    <a:lnTo>
                      <a:pt x="f1018" y="f1019"/>
                    </a:lnTo>
                    <a:lnTo>
                      <a:pt x="f1020" y="f881"/>
                    </a:lnTo>
                    <a:lnTo>
                      <a:pt x="f1009" y="f1021"/>
                    </a:lnTo>
                    <a:lnTo>
                      <a:pt x="f1016" y="f1022"/>
                    </a:lnTo>
                    <a:lnTo>
                      <a:pt x="f293" y="f1023"/>
                    </a:lnTo>
                    <a:lnTo>
                      <a:pt x="f1024" y="f879"/>
                    </a:lnTo>
                    <a:lnTo>
                      <a:pt x="f297" y="f1025"/>
                    </a:lnTo>
                    <a:lnTo>
                      <a:pt x="f1026" y="f1025"/>
                    </a:lnTo>
                    <a:lnTo>
                      <a:pt x="f1027" y="f1028"/>
                    </a:lnTo>
                    <a:lnTo>
                      <a:pt x="f1029" y="f1030"/>
                    </a:lnTo>
                    <a:lnTo>
                      <a:pt x="f1029" y="f1031"/>
                    </a:lnTo>
                    <a:lnTo>
                      <a:pt x="f1026" y="f1032"/>
                    </a:lnTo>
                    <a:lnTo>
                      <a:pt x="f1026" y="f1033"/>
                    </a:lnTo>
                    <a:lnTo>
                      <a:pt x="f303" y="f1034"/>
                    </a:lnTo>
                    <a:lnTo>
                      <a:pt x="f1035" y="f1036"/>
                    </a:lnTo>
                    <a:lnTo>
                      <a:pt x="f1035" y="f1037"/>
                    </a:lnTo>
                    <a:lnTo>
                      <a:pt x="f305" y="f1038"/>
                    </a:lnTo>
                    <a:lnTo>
                      <a:pt x="f301" y="f1039"/>
                    </a:lnTo>
                    <a:lnTo>
                      <a:pt x="f1012" y="f1039"/>
                    </a:lnTo>
                    <a:lnTo>
                      <a:pt x="f1040" y="f1041"/>
                    </a:lnTo>
                    <a:lnTo>
                      <a:pt x="f1042" y="f1043"/>
                    </a:lnTo>
                    <a:lnTo>
                      <a:pt x="f286" y="f1044"/>
                    </a:lnTo>
                    <a:lnTo>
                      <a:pt x="f1045" y="f1046"/>
                    </a:lnTo>
                    <a:lnTo>
                      <a:pt x="f1047" y="f1048"/>
                    </a:lnTo>
                    <a:lnTo>
                      <a:pt x="f1049" y="f1050"/>
                    </a:lnTo>
                    <a:lnTo>
                      <a:pt x="f1051" y="f1052"/>
                    </a:lnTo>
                    <a:lnTo>
                      <a:pt x="f1053" y="f1054"/>
                    </a:lnTo>
                    <a:lnTo>
                      <a:pt x="f277" y="f1055"/>
                    </a:lnTo>
                    <a:lnTo>
                      <a:pt x="f1056" y="f1057"/>
                    </a:lnTo>
                    <a:lnTo>
                      <a:pt x="f1058" y="f860"/>
                    </a:lnTo>
                    <a:lnTo>
                      <a:pt x="f1059" y="f1060"/>
                    </a:lnTo>
                    <a:lnTo>
                      <a:pt x="f1061" y="f1062"/>
                    </a:lnTo>
                    <a:lnTo>
                      <a:pt x="f1059" y="f1063"/>
                    </a:lnTo>
                    <a:lnTo>
                      <a:pt x="f1061" y="f858"/>
                    </a:lnTo>
                    <a:lnTo>
                      <a:pt x="f1064" y="f856"/>
                    </a:lnTo>
                    <a:lnTo>
                      <a:pt x="f1065" y="f1066"/>
                    </a:lnTo>
                    <a:lnTo>
                      <a:pt x="f269" y="f1067"/>
                    </a:lnTo>
                    <a:lnTo>
                      <a:pt x="f1068" y="f1069"/>
                    </a:lnTo>
                    <a:lnTo>
                      <a:pt x="f1070" y="f849"/>
                    </a:lnTo>
                    <a:lnTo>
                      <a:pt x="f1071" y="f1072"/>
                    </a:lnTo>
                    <a:lnTo>
                      <a:pt x="f263" y="f845"/>
                    </a:lnTo>
                    <a:lnTo>
                      <a:pt x="f1073" y="f1074"/>
                    </a:lnTo>
                    <a:lnTo>
                      <a:pt x="f1075" y="f1076"/>
                    </a:lnTo>
                    <a:lnTo>
                      <a:pt x="f1077" y="f1078"/>
                    </a:lnTo>
                    <a:lnTo>
                      <a:pt x="f1075" y="f1079"/>
                    </a:lnTo>
                    <a:lnTo>
                      <a:pt x="f1080" y="f737"/>
                    </a:lnTo>
                    <a:lnTo>
                      <a:pt x="f262" y="f747"/>
                    </a:lnTo>
                    <a:lnTo>
                      <a:pt x="f1080" y="f1081"/>
                    </a:lnTo>
                    <a:lnTo>
                      <a:pt x="f261" y="f725"/>
                    </a:lnTo>
                    <a:lnTo>
                      <a:pt x="f259" y="f1082"/>
                    </a:lnTo>
                    <a:lnTo>
                      <a:pt x="f1083" y="f743"/>
                    </a:lnTo>
                    <a:lnTo>
                      <a:pt x="f252" y="f831"/>
                    </a:lnTo>
                    <a:lnTo>
                      <a:pt x="f1084" y="f1085"/>
                    </a:lnTo>
                    <a:lnTo>
                      <a:pt x="f1086" y="f744"/>
                    </a:lnTo>
                    <a:lnTo>
                      <a:pt x="f246" y="f745"/>
                    </a:lnTo>
                    <a:lnTo>
                      <a:pt x="f1087" y="f1081"/>
                    </a:lnTo>
                    <a:lnTo>
                      <a:pt x="f196" y="f1081"/>
                    </a:lnTo>
                    <a:lnTo>
                      <a:pt x="f1088" y="f750"/>
                    </a:lnTo>
                    <a:lnTo>
                      <a:pt x="f1089" y="f1090"/>
                    </a:lnTo>
                    <a:lnTo>
                      <a:pt x="f172" y="f740"/>
                    </a:lnTo>
                    <a:lnTo>
                      <a:pt x="f166" y="f1091"/>
                    </a:lnTo>
                    <a:lnTo>
                      <a:pt x="f221" y="f1092"/>
                    </a:lnTo>
                    <a:lnTo>
                      <a:pt x="f1093" y="f726"/>
                    </a:lnTo>
                    <a:lnTo>
                      <a:pt x="f1094" y="f1095"/>
                    </a:lnTo>
                    <a:lnTo>
                      <a:pt x="f1096" y="f726"/>
                    </a:lnTo>
                    <a:lnTo>
                      <a:pt x="f1097" y="f750"/>
                    </a:lnTo>
                    <a:lnTo>
                      <a:pt x="f1098" y="f742"/>
                    </a:lnTo>
                    <a:lnTo>
                      <a:pt x="f1099" y="f829"/>
                    </a:lnTo>
                    <a:lnTo>
                      <a:pt x="f1100" y="f713"/>
                    </a:lnTo>
                    <a:lnTo>
                      <a:pt x="f1101" y="f1102"/>
                    </a:lnTo>
                    <a:lnTo>
                      <a:pt x="f152" y="f1103"/>
                    </a:lnTo>
                    <a:lnTo>
                      <a:pt x="f1100" y="f705"/>
                    </a:lnTo>
                    <a:lnTo>
                      <a:pt x="f1098" y="f7"/>
                    </a:lnTo>
                    <a:lnTo>
                      <a:pt x="f1104" y="f698"/>
                    </a:lnTo>
                    <a:lnTo>
                      <a:pt x="f1105" y="f646"/>
                    </a:lnTo>
                    <a:lnTo>
                      <a:pt x="f1104" y="f635"/>
                    </a:lnTo>
                    <a:lnTo>
                      <a:pt x="f1101" y="f649"/>
                    </a:lnTo>
                    <a:lnTo>
                      <a:pt x="f150" y="f693"/>
                    </a:lnTo>
                    <a:lnTo>
                      <a:pt x="f1106" y="f780"/>
                    </a:lnTo>
                    <a:lnTo>
                      <a:pt x="f1107" y="f768"/>
                    </a:lnTo>
                    <a:lnTo>
                      <a:pt x="f1108" y="f690"/>
                    </a:lnTo>
                    <a:lnTo>
                      <a:pt x="f1109" y="f1110"/>
                    </a:lnTo>
                    <a:lnTo>
                      <a:pt x="f1111" y="f622"/>
                    </a:lnTo>
                    <a:lnTo>
                      <a:pt x="f1112" y="f682"/>
                    </a:lnTo>
                    <a:lnTo>
                      <a:pt x="f1113" y="f613"/>
                    </a:lnTo>
                    <a:lnTo>
                      <a:pt x="f1114" y="f1115"/>
                    </a:lnTo>
                    <a:lnTo>
                      <a:pt x="f1116" y="f607"/>
                    </a:lnTo>
                    <a:lnTo>
                      <a:pt x="f1117" y="f1118"/>
                    </a:lnTo>
                    <a:lnTo>
                      <a:pt x="f1119" y="f1120"/>
                    </a:lnTo>
                    <a:lnTo>
                      <a:pt x="f1119" y="f1121"/>
                    </a:lnTo>
                    <a:lnTo>
                      <a:pt x="f146" y="f1122"/>
                    </a:lnTo>
                    <a:lnTo>
                      <a:pt x="f1123" y="f670"/>
                    </a:lnTo>
                    <a:lnTo>
                      <a:pt x="f1124" y="f668"/>
                    </a:lnTo>
                    <a:lnTo>
                      <a:pt x="f1125" y="f668"/>
                    </a:lnTo>
                    <a:lnTo>
                      <a:pt x="f1106" y="f1126"/>
                    </a:lnTo>
                    <a:lnTo>
                      <a:pt x="f1111" y="f670"/>
                    </a:lnTo>
                    <a:lnTo>
                      <a:pt x="f1127" y="f1128"/>
                    </a:lnTo>
                    <a:lnTo>
                      <a:pt x="f1129" y="f1130"/>
                    </a:lnTo>
                    <a:lnTo>
                      <a:pt x="f1131" y="f599"/>
                    </a:lnTo>
                    <a:lnTo>
                      <a:pt x="f1131" y="f1132"/>
                    </a:lnTo>
                    <a:lnTo>
                      <a:pt x="f1133" y="f597"/>
                    </a:lnTo>
                    <a:lnTo>
                      <a:pt x="f1134" y="f695"/>
                    </a:lnTo>
                    <a:lnTo>
                      <a:pt x="f1135" y="f1136"/>
                    </a:lnTo>
                    <a:lnTo>
                      <a:pt x="f1135" y="f655"/>
                    </a:lnTo>
                    <a:lnTo>
                      <a:pt x="f1129" y="f589"/>
                    </a:lnTo>
                    <a:lnTo>
                      <a:pt x="f1137" y="f589"/>
                    </a:lnTo>
                    <a:lnTo>
                      <a:pt x="f1101" y="f657"/>
                    </a:lnTo>
                    <a:lnTo>
                      <a:pt x="f1098" y="f595"/>
                    </a:lnTo>
                    <a:lnTo>
                      <a:pt x="f1096" y="f697"/>
                    </a:lnTo>
                    <a:lnTo>
                      <a:pt x="f1094" y="f667"/>
                    </a:lnTo>
                    <a:lnTo>
                      <a:pt x="f1138" y="f678"/>
                    </a:lnTo>
                    <a:lnTo>
                      <a:pt x="f1139" y="f590"/>
                    </a:lnTo>
                    <a:lnTo>
                      <a:pt x="f216" y="f681"/>
                    </a:lnTo>
                    <a:lnTo>
                      <a:pt x="f1093" y="f702"/>
                    </a:lnTo>
                    <a:lnTo>
                      <a:pt x="f1140" y="f1141"/>
                    </a:lnTo>
                    <a:lnTo>
                      <a:pt x="f1097" y="f715"/>
                    </a:lnTo>
                    <a:lnTo>
                      <a:pt x="f1142" y="f1143"/>
                    </a:lnTo>
                    <a:lnTo>
                      <a:pt x="f1144" y="f1145"/>
                    </a:lnTo>
                    <a:lnTo>
                      <a:pt x="f1112" y="f717"/>
                    </a:lnTo>
                    <a:lnTo>
                      <a:pt x="f1113" y="f1146"/>
                    </a:lnTo>
                    <a:lnTo>
                      <a:pt x="f1112" y="f578"/>
                    </a:lnTo>
                    <a:lnTo>
                      <a:pt x="f1135" y="f650"/>
                    </a:lnTo>
                    <a:lnTo>
                      <a:pt x="f1131" y="f650"/>
                    </a:lnTo>
                    <a:lnTo>
                      <a:pt x="f1147" y="f1148"/>
                    </a:lnTo>
                    <a:lnTo>
                      <a:pt x="f1100" y="f719"/>
                    </a:lnTo>
                    <a:lnTo>
                      <a:pt x="f1098" y="f650"/>
                    </a:lnTo>
                    <a:lnTo>
                      <a:pt x="f1098" y="f728"/>
                    </a:lnTo>
                    <a:lnTo>
                      <a:pt x="f1099" y="f647"/>
                    </a:lnTo>
                    <a:lnTo>
                      <a:pt x="f1099" y="f730"/>
                    </a:lnTo>
                    <a:lnTo>
                      <a:pt x="f1097" y="f730"/>
                    </a:lnTo>
                    <a:lnTo>
                      <a:pt x="f1096" y="f645"/>
                    </a:lnTo>
                    <a:lnTo>
                      <a:pt x="f154" y="f645"/>
                    </a:lnTo>
                    <a:lnTo>
                      <a:pt x="f1093" y="f1149"/>
                    </a:lnTo>
                    <a:lnTo>
                      <a:pt x="f1139" y="f1149"/>
                    </a:lnTo>
                    <a:lnTo>
                      <a:pt x="f1150" y="f730"/>
                    </a:lnTo>
                    <a:lnTo>
                      <a:pt x="f216" y="f645"/>
                    </a:lnTo>
                    <a:lnTo>
                      <a:pt x="f1150" y="f643"/>
                    </a:lnTo>
                    <a:lnTo>
                      <a:pt x="f1151" y="f642"/>
                    </a:lnTo>
                    <a:lnTo>
                      <a:pt x="f154" y="f1152"/>
                    </a:lnTo>
                    <a:lnTo>
                      <a:pt x="f1153" y="f567"/>
                    </a:lnTo>
                    <a:lnTo>
                      <a:pt x="f1138" y="f563"/>
                    </a:lnTo>
                    <a:lnTo>
                      <a:pt x="f154" y="f741"/>
                    </a:lnTo>
                    <a:lnTo>
                      <a:pt x="f1096" y="f1154"/>
                    </a:lnTo>
                    <a:lnTo>
                      <a:pt x="f1096" y="f621"/>
                    </a:lnTo>
                    <a:lnTo>
                      <a:pt x="f1104" y="f547"/>
                    </a:lnTo>
                    <a:lnTo>
                      <a:pt x="f1096" y="f746"/>
                    </a:lnTo>
                    <a:lnTo>
                      <a:pt x="f1155" y="f533"/>
                    </a:lnTo>
                    <a:lnTo>
                      <a:pt x="f1151" y="f533"/>
                    </a:lnTo>
                    <a:lnTo>
                      <a:pt x="f214" y="f547"/>
                    </a:lnTo>
                    <a:lnTo>
                      <a:pt x="f225" y="f637"/>
                    </a:lnTo>
                    <a:lnTo>
                      <a:pt x="f1156" y="f637"/>
                    </a:lnTo>
                    <a:lnTo>
                      <a:pt x="f1157" y="f1158"/>
                    </a:lnTo>
                    <a:lnTo>
                      <a:pt x="f1159" y="f1160"/>
                    </a:lnTo>
                    <a:lnTo>
                      <a:pt x="f1161" y="f556"/>
                    </a:lnTo>
                    <a:lnTo>
                      <a:pt x="f160" y="f533"/>
                    </a:lnTo>
                    <a:lnTo>
                      <a:pt x="f1162" y="f533"/>
                    </a:lnTo>
                    <a:lnTo>
                      <a:pt x="f237" y="f556"/>
                    </a:lnTo>
                    <a:lnTo>
                      <a:pt x="f239" y="f1160"/>
                    </a:lnTo>
                    <a:lnTo>
                      <a:pt x="f170" y="f557"/>
                    </a:lnTo>
                    <a:lnTo>
                      <a:pt x="f172" y="f548"/>
                    </a:lnTo>
                    <a:lnTo>
                      <a:pt x="f1163" y="f548"/>
                    </a:lnTo>
                    <a:lnTo>
                      <a:pt x="f211" y="f633"/>
                    </a:lnTo>
                    <a:lnTo>
                      <a:pt x="f1089" y="f547"/>
                    </a:lnTo>
                    <a:lnTo>
                      <a:pt x="f1089" y="f546"/>
                    </a:lnTo>
                    <a:lnTo>
                      <a:pt x="f176" y="f556"/>
                    </a:lnTo>
                    <a:lnTo>
                      <a:pt x="f178" y="f534"/>
                    </a:lnTo>
                    <a:lnTo>
                      <a:pt x="f209" y="f534"/>
                    </a:lnTo>
                    <a:lnTo>
                      <a:pt x="f1164" y="f556"/>
                    </a:lnTo>
                    <a:lnTo>
                      <a:pt x="f196" y="f556"/>
                    </a:lnTo>
                    <a:lnTo>
                      <a:pt x="f202" y="f534"/>
                    </a:lnTo>
                    <a:lnTo>
                      <a:pt x="f202" y="f1165"/>
                    </a:lnTo>
                    <a:lnTo>
                      <a:pt x="f200" y="f531"/>
                    </a:lnTo>
                    <a:lnTo>
                      <a:pt x="f200" y="f554"/>
                    </a:lnTo>
                    <a:lnTo>
                      <a:pt x="f198" y="f543"/>
                    </a:lnTo>
                    <a:lnTo>
                      <a:pt x="f198" y="f539"/>
                    </a:lnTo>
                    <a:lnTo>
                      <a:pt x="f200" y="f1166"/>
                    </a:lnTo>
                    <a:lnTo>
                      <a:pt x="f202" y="f530"/>
                    </a:lnTo>
                    <a:lnTo>
                      <a:pt x="f1087" y="f749"/>
                    </a:lnTo>
                    <a:lnTo>
                      <a:pt x="f192" y="f1167"/>
                    </a:lnTo>
                    <a:lnTo>
                      <a:pt x="f248" y="f1168"/>
                    </a:lnTo>
                    <a:lnTo>
                      <a:pt x="f248" y="f1169"/>
                    </a:lnTo>
                    <a:lnTo>
                      <a:pt x="f190" y="f525"/>
                    </a:lnTo>
                    <a:lnTo>
                      <a:pt x="f204" y="f1170"/>
                    </a:lnTo>
                    <a:lnTo>
                      <a:pt x="f1171" y="f518"/>
                    </a:lnTo>
                    <a:lnTo>
                      <a:pt x="f1172" y="f1173"/>
                    </a:lnTo>
                    <a:lnTo>
                      <a:pt x="f241" y="f511"/>
                    </a:lnTo>
                    <a:lnTo>
                      <a:pt x="f166" y="f507"/>
                    </a:lnTo>
                    <a:lnTo>
                      <a:pt x="f1174" y="f1175"/>
                    </a:lnTo>
                    <a:lnTo>
                      <a:pt x="f212" y="f503"/>
                    </a:lnTo>
                    <a:lnTo>
                      <a:pt x="f1176" y="f500"/>
                    </a:lnTo>
                    <a:lnTo>
                      <a:pt x="f156" y="f1177"/>
                    </a:lnTo>
                    <a:lnTo>
                      <a:pt x="f1094" y="f583"/>
                    </a:lnTo>
                    <a:lnTo>
                      <a:pt x="f1131" y="f581"/>
                    </a:lnTo>
                    <a:lnTo>
                      <a:pt x="f1111" y="f579"/>
                    </a:lnTo>
                    <a:lnTo>
                      <a:pt x="f148" y="f480"/>
                    </a:lnTo>
                    <a:lnTo>
                      <a:pt x="f1178" y="f1179"/>
                    </a:lnTo>
                    <a:lnTo>
                      <a:pt x="f146" y="f489"/>
                    </a:lnTo>
                    <a:lnTo>
                      <a:pt x="f6" y="f48"/>
                    </a:lnTo>
                    <a:lnTo>
                      <a:pt x="f6" y="f472"/>
                    </a:lnTo>
                    <a:lnTo>
                      <a:pt x="f1117" y="f24"/>
                    </a:lnTo>
                    <a:lnTo>
                      <a:pt x="f1180" y="f16"/>
                    </a:lnTo>
                    <a:lnTo>
                      <a:pt x="f1181" y="f14"/>
                    </a:lnTo>
                    <a:lnTo>
                      <a:pt x="f1125" y="f466"/>
                    </a:lnTo>
                    <a:lnTo>
                      <a:pt x="f1108" y="f70"/>
                    </a:lnTo>
                    <a:lnTo>
                      <a:pt x="f1112" y="f465"/>
                    </a:lnTo>
                    <a:lnTo>
                      <a:pt x="f1182" y="f570"/>
                    </a:lnTo>
                    <a:lnTo>
                      <a:pt x="f1129" y="f773"/>
                    </a:lnTo>
                    <a:lnTo>
                      <a:pt x="f1142" y="f1183"/>
                    </a:lnTo>
                    <a:lnTo>
                      <a:pt x="f1098" y="f141"/>
                    </a:lnTo>
                    <a:lnTo>
                      <a:pt x="f154" y="f127"/>
                    </a:lnTo>
                    <a:lnTo>
                      <a:pt x="f1184" y="f121"/>
                    </a:lnTo>
                    <a:lnTo>
                      <a:pt x="f225" y="f113"/>
                    </a:lnTo>
                    <a:lnTo>
                      <a:pt x="f234" y="f777"/>
                    </a:lnTo>
                    <a:lnTo>
                      <a:pt x="f159" y="f450"/>
                    </a:lnTo>
                    <a:lnTo>
                      <a:pt x="f159" y="f1185"/>
                    </a:lnTo>
                    <a:lnTo>
                      <a:pt x="f1159" y="f399"/>
                    </a:lnTo>
                    <a:lnTo>
                      <a:pt x="f1159" y="f419"/>
                    </a:lnTo>
                    <a:lnTo>
                      <a:pt x="f1186" y="f323"/>
                    </a:lnTo>
                    <a:lnTo>
                      <a:pt x="f1161" y="f283"/>
                    </a:lnTo>
                    <a:lnTo>
                      <a:pt x="f212" y="f334"/>
                    </a:lnTo>
                    <a:lnTo>
                      <a:pt x="f162" y="f253"/>
                    </a:lnTo>
                    <a:lnTo>
                      <a:pt x="f1187" y="f346"/>
                    </a:lnTo>
                    <a:lnTo>
                      <a:pt x="f241" y="f334"/>
                    </a:lnTo>
                    <a:lnTo>
                      <a:pt x="f172" y="f255"/>
                    </a:lnTo>
                    <a:lnTo>
                      <a:pt x="f1163" y="f346"/>
                    </a:lnTo>
                    <a:lnTo>
                      <a:pt x="f243" y="f364"/>
                    </a:lnTo>
                    <a:lnTo>
                      <a:pt x="f1188" y="f260"/>
                    </a:lnTo>
                    <a:lnTo>
                      <a:pt x="f1189" y="f278"/>
                    </a:lnTo>
                    <a:lnTo>
                      <a:pt x="f1188" y="f242"/>
                    </a:lnTo>
                    <a:lnTo>
                      <a:pt x="f243" y="f247"/>
                    </a:lnTo>
                    <a:lnTo>
                      <a:pt x="f211" y="f236"/>
                    </a:lnTo>
                    <a:lnTo>
                      <a:pt x="f1089" y="f245"/>
                    </a:lnTo>
                    <a:lnTo>
                      <a:pt x="f1190" y="f266"/>
                    </a:lnTo>
                    <a:lnTo>
                      <a:pt x="f1088" y="f275"/>
                    </a:lnTo>
                    <a:lnTo>
                      <a:pt x="f1191" y="f235"/>
                    </a:lnTo>
                    <a:lnTo>
                      <a:pt x="f1088" y="f545"/>
                    </a:lnTo>
                    <a:lnTo>
                      <a:pt x="f1190" y="f541"/>
                    </a:lnTo>
                    <a:lnTo>
                      <a:pt x="f1089" y="f791"/>
                    </a:lnTo>
                    <a:lnTo>
                      <a:pt x="f211" y="f1192"/>
                    </a:lnTo>
                    <a:lnTo>
                      <a:pt x="f174" y="f1193"/>
                    </a:lnTo>
                    <a:lnTo>
                      <a:pt x="f174" y="f1194"/>
                    </a:lnTo>
                    <a:lnTo>
                      <a:pt x="f211" y="f529"/>
                    </a:lnTo>
                    <a:lnTo>
                      <a:pt x="f1089" y="f512"/>
                    </a:lnTo>
                    <a:lnTo>
                      <a:pt x="f176" y="f516"/>
                    </a:lnTo>
                    <a:lnTo>
                      <a:pt x="f1190" y="f527"/>
                    </a:lnTo>
                    <a:lnTo>
                      <a:pt x="f180" y="f1195"/>
                    </a:lnTo>
                    <a:lnTo>
                      <a:pt x="f1191" y="f223"/>
                    </a:lnTo>
                    <a:lnTo>
                      <a:pt x="f209" y="f1196"/>
                    </a:lnTo>
                    <a:lnTo>
                      <a:pt x="f209" y="f510"/>
                    </a:lnTo>
                    <a:lnTo>
                      <a:pt x="f1191" y="f1197"/>
                    </a:lnTo>
                    <a:lnTo>
                      <a:pt x="f180" y="f478"/>
                    </a:lnTo>
                    <a:lnTo>
                      <a:pt x="f176" y="f796"/>
                    </a:lnTo>
                    <a:lnTo>
                      <a:pt x="f176" y="f1198"/>
                    </a:lnTo>
                    <a:lnTo>
                      <a:pt x="f178" y="f476"/>
                    </a:lnTo>
                    <a:lnTo>
                      <a:pt x="f1191" y="f486"/>
                    </a:lnTo>
                    <a:lnTo>
                      <a:pt x="f1199" y="f1200"/>
                    </a:lnTo>
                    <a:lnTo>
                      <a:pt x="f184" y="f1201"/>
                    </a:lnTo>
                    <a:lnTo>
                      <a:pt x="f202" y="f470"/>
                    </a:lnTo>
                    <a:lnTo>
                      <a:pt x="f246" y="f1202"/>
                    </a:lnTo>
                    <a:lnTo>
                      <a:pt x="f250" y="f1203"/>
                    </a:lnTo>
                    <a:lnTo>
                      <a:pt x="f1204" y="f203"/>
                    </a:lnTo>
                    <a:lnTo>
                      <a:pt x="f256" y="f205"/>
                    </a:lnTo>
                    <a:lnTo>
                      <a:pt x="f1205" y="f471"/>
                    </a:lnTo>
                    <a:lnTo>
                      <a:pt x="f1206" y="f1207"/>
                    </a:lnTo>
                    <a:lnTo>
                      <a:pt x="f1208" y="f1209"/>
                    </a:lnTo>
                    <a:lnTo>
                      <a:pt x="f1210" y="f798"/>
                    </a:lnTo>
                    <a:lnTo>
                      <a:pt x="f1077" y="f1211"/>
                    </a:lnTo>
                    <a:lnTo>
                      <a:pt x="f1212" y="f492"/>
                    </a:lnTo>
                    <a:lnTo>
                      <a:pt x="f1070" y="f1213"/>
                    </a:lnTo>
                    <a:lnTo>
                      <a:pt x="f1214" y="f798"/>
                    </a:lnTo>
                    <a:lnTo>
                      <a:pt x="f1215" y="f1209"/>
                    </a:lnTo>
                    <a:lnTo>
                      <a:pt x="f1216" y="f203"/>
                    </a:lnTo>
                    <a:lnTo>
                      <a:pt x="f1217" y="f1218"/>
                    </a:lnTo>
                    <a:lnTo>
                      <a:pt x="f1219" y="f201"/>
                    </a:lnTo>
                    <a:lnTo>
                      <a:pt x="f1056" y="f799"/>
                    </a:lnTo>
                    <a:lnTo>
                      <a:pt x="f1220" y="f497"/>
                    </a:lnTo>
                    <a:lnTo>
                      <a:pt x="f277" y="f1221"/>
                    </a:lnTo>
                    <a:lnTo>
                      <a:pt x="f1053" y="f191"/>
                    </a:lnTo>
                    <a:lnTo>
                      <a:pt x="f1222" y="f1223"/>
                    </a:lnTo>
                    <a:lnTo>
                      <a:pt x="f1224" y="f189"/>
                    </a:lnTo>
                    <a:lnTo>
                      <a:pt x="f1012" y="f806"/>
                    </a:lnTo>
                    <a:lnTo>
                      <a:pt x="f1029" y="f1225"/>
                    </a:lnTo>
                    <a:lnTo>
                      <a:pt x="f1226" y="f1227"/>
                    </a:lnTo>
                    <a:lnTo>
                      <a:pt x="f312" y="f462"/>
                    </a:lnTo>
                    <a:lnTo>
                      <a:pt x="f316" y="f1228"/>
                    </a:lnTo>
                    <a:lnTo>
                      <a:pt x="f1229" y="f814"/>
                    </a:lnTo>
                    <a:lnTo>
                      <a:pt x="f1230" y="f458"/>
                    </a:lnTo>
                    <a:lnTo>
                      <a:pt x="f317" y="f171"/>
                    </a:lnTo>
                    <a:lnTo>
                      <a:pt x="f1230" y="f453"/>
                    </a:lnTo>
                    <a:lnTo>
                      <a:pt x="f1231" y="f1232"/>
                    </a:lnTo>
                    <a:lnTo>
                      <a:pt x="f999" y="f167"/>
                    </a:lnTo>
                    <a:lnTo>
                      <a:pt x="f1233" y="f167"/>
                    </a:lnTo>
                    <a:lnTo>
                      <a:pt x="f1003" y="f1232"/>
                    </a:lnTo>
                    <a:lnTo>
                      <a:pt x="f1234" y="f165"/>
                    </a:lnTo>
                    <a:lnTo>
                      <a:pt x="f306" y="f1235"/>
                    </a:lnTo>
                    <a:lnTo>
                      <a:pt x="f1236" y="f155"/>
                    </a:lnTo>
                    <a:lnTo>
                      <a:pt x="f1035" y="f151"/>
                    </a:lnTo>
                    <a:lnTo>
                      <a:pt x="f1029" y="f447"/>
                    </a:lnTo>
                    <a:lnTo>
                      <a:pt x="f1024" y="f446"/>
                    </a:lnTo>
                    <a:lnTo>
                      <a:pt x="f292" y="f145"/>
                    </a:lnTo>
                    <a:lnTo>
                      <a:pt x="f1237" y="f444"/>
                    </a:lnTo>
                    <a:lnTo>
                      <a:pt x="f1040" y="f432"/>
                    </a:lnTo>
                    <a:lnTo>
                      <a:pt x="f1238" y="f1239"/>
                    </a:lnTo>
                    <a:lnTo>
                      <a:pt x="f1238" y="f1240"/>
                    </a:lnTo>
                    <a:lnTo>
                      <a:pt x="f1040" y="f857"/>
                    </a:lnTo>
                    <a:lnTo>
                      <a:pt x="f1237" y="f848"/>
                    </a:lnTo>
                    <a:lnTo>
                      <a:pt x="f1012" y="f885"/>
                    </a:lnTo>
                    <a:lnTo>
                      <a:pt x="f295" y="f417"/>
                    </a:lnTo>
                    <a:lnTo>
                      <a:pt x="f1241" y="f1242"/>
                    </a:lnTo>
                    <a:lnTo>
                      <a:pt x="f306" y="f413"/>
                    </a:lnTo>
                    <a:lnTo>
                      <a:pt x="f1243" y="f880"/>
                    </a:lnTo>
                    <a:lnTo>
                      <a:pt x="f1230" y="f406"/>
                    </a:lnTo>
                    <a:lnTo>
                      <a:pt x="f1244" y="f1245"/>
                    </a:lnTo>
                    <a:lnTo>
                      <a:pt x="f1246" y="f877"/>
                    </a:lnTo>
                    <a:lnTo>
                      <a:pt x="f1247" y="f1248"/>
                    </a:lnTo>
                    <a:lnTo>
                      <a:pt x="f37" y="f1249"/>
                    </a:lnTo>
                    <a:lnTo>
                      <a:pt x="f29" y="f917"/>
                    </a:lnTo>
                    <a:lnTo>
                      <a:pt x="f27" y="f1250"/>
                    </a:lnTo>
                    <a:lnTo>
                      <a:pt x="f325" y="f1251"/>
                    </a:lnTo>
                    <a:lnTo>
                      <a:pt x="f1252" y="f1253"/>
                    </a:lnTo>
                    <a:lnTo>
                      <a:pt x="f1254" y="f1250"/>
                    </a:lnTo>
                    <a:lnTo>
                      <a:pt x="f326" y="f919"/>
                    </a:lnTo>
                    <a:lnTo>
                      <a:pt x="f53" y="f1253"/>
                    </a:lnTo>
                    <a:lnTo>
                      <a:pt x="f327" y="f1255"/>
                    </a:lnTo>
                    <a:lnTo>
                      <a:pt x="f53" y="f921"/>
                    </a:lnTo>
                    <a:lnTo>
                      <a:pt x="f1256" y="f1257"/>
                    </a:lnTo>
                    <a:lnTo>
                      <a:pt x="f1254" y="f1258"/>
                    </a:lnTo>
                    <a:lnTo>
                      <a:pt x="f21" y="f1259"/>
                    </a:lnTo>
                    <a:lnTo>
                      <a:pt x="f328" y="f1260"/>
                    </a:lnTo>
                    <a:lnTo>
                      <a:pt x="f15" y="f1261"/>
                    </a:lnTo>
                    <a:lnTo>
                      <a:pt x="f1262" y="f1263"/>
                    </a:lnTo>
                    <a:lnTo>
                      <a:pt x="f1264" y="f1265"/>
                    </a:lnTo>
                    <a:lnTo>
                      <a:pt x="f1266" y="f1267"/>
                    </a:lnTo>
                    <a:lnTo>
                      <a:pt x="f136" y="f1268"/>
                    </a:lnTo>
                    <a:lnTo>
                      <a:pt x="f135" y="f929"/>
                    </a:lnTo>
                    <a:lnTo>
                      <a:pt x="f336" y="f1269"/>
                    </a:lnTo>
                    <a:lnTo>
                      <a:pt x="f135" y="f1270"/>
                    </a:lnTo>
                    <a:lnTo>
                      <a:pt x="f988" y="f388"/>
                    </a:lnTo>
                    <a:lnTo>
                      <a:pt x="f142" y="f1271"/>
                    </a:lnTo>
                    <a:lnTo>
                      <a:pt x="f15" y="f1272"/>
                    </a:lnTo>
                    <a:lnTo>
                      <a:pt x="f1273" y="f1274"/>
                    </a:lnTo>
                    <a:lnTo>
                      <a:pt x="f1252" y="f380"/>
                    </a:lnTo>
                    <a:lnTo>
                      <a:pt x="f1275" y="f1276"/>
                    </a:lnTo>
                    <a:lnTo>
                      <a:pt x="f1252" y="f383"/>
                    </a:lnTo>
                    <a:lnTo>
                      <a:pt x="f1277" y="f1278"/>
                    </a:lnTo>
                    <a:lnTo>
                      <a:pt x="f1254" y="f1279"/>
                    </a:lnTo>
                    <a:lnTo>
                      <a:pt x="f326" y="f1280"/>
                    </a:lnTo>
                    <a:lnTo>
                      <a:pt x="f327" y="f1281"/>
                    </a:lnTo>
                    <a:lnTo>
                      <a:pt x="f328" y="f98"/>
                    </a:lnTo>
                    <a:lnTo>
                      <a:pt x="f333" y="f950"/>
                    </a:lnTo>
                    <a:lnTo>
                      <a:pt x="f335" y="f954"/>
                    </a:lnTo>
                    <a:lnTo>
                      <a:pt x="f135" y="f112"/>
                    </a:lnTo>
                    <a:lnTo>
                      <a:pt x="f338" y="f75"/>
                    </a:lnTo>
                    <a:lnTo>
                      <a:pt x="f341" y="f357"/>
                    </a:lnTo>
                    <a:lnTo>
                      <a:pt x="f1282" y="f74"/>
                    </a:lnTo>
                    <a:lnTo>
                      <a:pt x="f1283" y="f72"/>
                    </a:lnTo>
                    <a:lnTo>
                      <a:pt x="f1284" y="f71"/>
                    </a:lnTo>
                    <a:lnTo>
                      <a:pt x="f1285" y="f1286"/>
                    </a:lnTo>
                    <a:lnTo>
                      <a:pt x="f63" y="f1287"/>
                    </a:lnTo>
                    <a:lnTo>
                      <a:pt x="f1288" y="f1289"/>
                    </a:lnTo>
                    <a:lnTo>
                      <a:pt x="f1290" y="f1291"/>
                    </a:lnTo>
                    <a:lnTo>
                      <a:pt x="f350" y="f979"/>
                    </a:lnTo>
                    <a:lnTo>
                      <a:pt x="f1292" y="f991"/>
                    </a:lnTo>
                    <a:lnTo>
                      <a:pt x="f352" y="f331"/>
                    </a:lnTo>
                    <a:lnTo>
                      <a:pt x="f1293" y="f53"/>
                    </a:lnTo>
                    <a:lnTo>
                      <a:pt x="f1293" y="f1275"/>
                    </a:lnTo>
                    <a:lnTo>
                      <a:pt x="f352" y="f39"/>
                    </a:lnTo>
                    <a:lnTo>
                      <a:pt x="f1293" y="f35"/>
                    </a:lnTo>
                    <a:lnTo>
                      <a:pt x="f1294" y="f322"/>
                    </a:lnTo>
                    <a:lnTo>
                      <a:pt x="f1295" y="f1296"/>
                    </a:lnTo>
                    <a:lnTo>
                      <a:pt x="f1297" y="f1298"/>
                    </a:lnTo>
                    <a:lnTo>
                      <a:pt x="f114" y="f1230"/>
                    </a:lnTo>
                    <a:lnTo>
                      <a:pt x="f360" y="f1299"/>
                    </a:lnTo>
                    <a:lnTo>
                      <a:pt x="f98" y="f1300"/>
                    </a:lnTo>
                    <a:lnTo>
                      <a:pt x="f947" y="f1301"/>
                    </a:lnTo>
                    <a:lnTo>
                      <a:pt x="f86" y="f1035"/>
                    </a:lnTo>
                    <a:lnTo>
                      <a:pt x="f1279" y="f305"/>
                    </a:lnTo>
                    <a:lnTo>
                      <a:pt x="f1302" y="f303"/>
                    </a:lnTo>
                    <a:lnTo>
                      <a:pt x="f1303" y="f301"/>
                    </a:lnTo>
                    <a:lnTo>
                      <a:pt x="f1304" y="f295"/>
                    </a:lnTo>
                    <a:lnTo>
                      <a:pt x="f1305" y="f292"/>
                    </a:lnTo>
                    <a:lnTo>
                      <a:pt x="f388" y="f1306"/>
                    </a:lnTo>
                    <a:lnTo>
                      <a:pt x="f1307" y="f1308"/>
                    </a:lnTo>
                    <a:lnTo>
                      <a:pt x="f390" y="f1309"/>
                    </a:lnTo>
                    <a:lnTo>
                      <a:pt x="f1261" y="f1310"/>
                    </a:lnTo>
                    <a:lnTo>
                      <a:pt x="f1260" y="f1049"/>
                    </a:lnTo>
                    <a:lnTo>
                      <a:pt x="f1311" y="f1312"/>
                    </a:lnTo>
                    <a:lnTo>
                      <a:pt x="f1313" y="f1314"/>
                    </a:lnTo>
                    <a:lnTo>
                      <a:pt x="f1313" y="f276"/>
                    </a:lnTo>
                    <a:lnTo>
                      <a:pt x="f1311" y="f273"/>
                    </a:lnTo>
                    <a:lnTo>
                      <a:pt x="f1315" y="f1061"/>
                    </a:lnTo>
                    <a:lnTo>
                      <a:pt x="f1316" y="f1065"/>
                    </a:lnTo>
                    <a:lnTo>
                      <a:pt x="f1317" y="f1318"/>
                    </a:lnTo>
                    <a:lnTo>
                      <a:pt x="f1313" y="f1319"/>
                    </a:lnTo>
                    <a:lnTo>
                      <a:pt x="f1320" y="f265"/>
                    </a:lnTo>
                    <a:lnTo>
                      <a:pt x="f1321" y="f1212"/>
                    </a:lnTo>
                    <a:lnTo>
                      <a:pt x="f1321" y="f1210"/>
                    </a:lnTo>
                    <a:lnTo>
                      <a:pt x="f1322" y="f1323"/>
                    </a:lnTo>
                    <a:lnTo>
                      <a:pt x="f1313" y="f254"/>
                    </a:lnTo>
                    <a:lnTo>
                      <a:pt x="f1315" y="f1204"/>
                    </a:lnTo>
                    <a:lnTo>
                      <a:pt x="f392" y="f1324"/>
                    </a:lnTo>
                    <a:lnTo>
                      <a:pt x="f1320" y="f250"/>
                    </a:lnTo>
                    <a:lnTo>
                      <a:pt x="f1325" y="f1326"/>
                    </a:lnTo>
                    <a:lnTo>
                      <a:pt x="f1327" y="f1328"/>
                    </a:lnTo>
                    <a:lnTo>
                      <a:pt x="f1329" y="f1086"/>
                    </a:lnTo>
                    <a:lnTo>
                      <a:pt x="f1330" y="f188"/>
                    </a:lnTo>
                    <a:lnTo>
                      <a:pt x="f1257" y="f200"/>
                    </a:lnTo>
                    <a:lnTo>
                      <a:pt x="f1331" y="f182"/>
                    </a:lnTo>
                    <a:lnTo>
                      <a:pt x="f393" y="f176"/>
                    </a:lnTo>
                    <a:lnTo>
                      <a:pt x="f1332" y="f243"/>
                    </a:lnTo>
                    <a:lnTo>
                      <a:pt x="f1333" y="f170"/>
                    </a:lnTo>
                    <a:lnTo>
                      <a:pt x="f1331" y="f1187"/>
                    </a:lnTo>
                    <a:lnTo>
                      <a:pt x="f1257" y="f1174"/>
                    </a:lnTo>
                    <a:lnTo>
                      <a:pt x="f1334" y="f160"/>
                    </a:lnTo>
                    <a:lnTo>
                      <a:pt x="f1334" y="f1157"/>
                    </a:lnTo>
                    <a:lnTo>
                      <a:pt x="f1257" y="f225"/>
                    </a:lnTo>
                    <a:lnTo>
                      <a:pt x="f1331" y="f1184"/>
                    </a:lnTo>
                    <a:lnTo>
                      <a:pt x="f1327" y="f1151"/>
                    </a:lnTo>
                    <a:lnTo>
                      <a:pt x="f1331" y="f1155"/>
                    </a:lnTo>
                    <a:lnTo>
                      <a:pt x="f1334" y="f1105"/>
                    </a:lnTo>
                    <a:lnTo>
                      <a:pt x="f1335" y="f1099"/>
                    </a:lnTo>
                    <a:lnTo>
                      <a:pt x="f921" y="f1147"/>
                    </a:lnTo>
                    <a:lnTo>
                      <a:pt x="f1336" y="f1131"/>
                    </a:lnTo>
                    <a:lnTo>
                      <a:pt x="f397" y="f1131"/>
                    </a:lnTo>
                    <a:lnTo>
                      <a:pt x="f1337" y="f1137"/>
                    </a:lnTo>
                    <a:lnTo>
                      <a:pt x="f1338" y="f1147"/>
                    </a:lnTo>
                    <a:lnTo>
                      <a:pt x="f400" y="f1147"/>
                    </a:lnTo>
                    <a:lnTo>
                      <a:pt x="f872" y="f1142"/>
                    </a:lnTo>
                    <a:lnTo>
                      <a:pt x="f910" y="f1131"/>
                    </a:lnTo>
                    <a:lnTo>
                      <a:pt x="f1339" y="f1133"/>
                    </a:lnTo>
                    <a:lnTo>
                      <a:pt x="f1340" y="f1135"/>
                    </a:lnTo>
                    <a:lnTo>
                      <a:pt x="f1341" y="f1127"/>
                    </a:lnTo>
                    <a:lnTo>
                      <a:pt x="f1342" y="f1343"/>
                    </a:lnTo>
                    <a:lnTo>
                      <a:pt x="f839" y="f1111"/>
                    </a:lnTo>
                    <a:lnTo>
                      <a:pt x="f1344" y="f1106"/>
                    </a:lnTo>
                    <a:lnTo>
                      <a:pt x="f432" y="f1178"/>
                    </a:lnTo>
                    <a:lnTo>
                      <a:pt x="f1345" y="f1119"/>
                    </a:lnTo>
                    <a:lnTo>
                      <a:pt x="f144" y="f6"/>
                    </a:lnTo>
                    <a:close/>
                  </a:path>
                </a:pathLst>
              </a:custGeom>
              <a:gradFill>
                <a:gsLst>
                  <a:gs pos="0">
                    <a:srgbClr val="00A5D5"/>
                  </a:gs>
                  <a:gs pos="100000">
                    <a:srgbClr val="4DD7FF"/>
                  </a:gs>
                </a:gsLst>
                <a:lin ang="54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  <p:sp>
            <p:nvSpPr>
              <p:cNvPr id="103" name="Freeform 8">
                <a:extLst>
                  <a:ext uri="{FF2B5EF4-FFF2-40B4-BE49-F238E27FC236}">
                    <a16:creationId xmlns:a16="http://schemas.microsoft.com/office/drawing/2014/main" id="{88C7B83B-F31E-4920-8C91-309E23B7AD76}"/>
                  </a:ext>
                </a:extLst>
              </p:cNvPr>
              <p:cNvSpPr/>
              <p:nvPr/>
            </p:nvSpPr>
            <p:spPr>
              <a:xfrm>
                <a:off x="4126851" y="2141579"/>
                <a:ext cx="107542" cy="97090"/>
              </a:xfrm>
              <a:custGeom>
                <a:avLst/>
                <a:gdLst>
                  <a:gd name="f0" fmla="val 10800000"/>
                  <a:gd name="f1" fmla="val 5400000"/>
                  <a:gd name="f2" fmla="val 360"/>
                  <a:gd name="f3" fmla="val 180"/>
                  <a:gd name="f4" fmla="val w"/>
                  <a:gd name="f5" fmla="val h"/>
                  <a:gd name="f6" fmla="val 0"/>
                  <a:gd name="f7" fmla="val 1431"/>
                  <a:gd name="f8" fmla="val 1678"/>
                  <a:gd name="f9" fmla="val 749"/>
                  <a:gd name="f10" fmla="val 753"/>
                  <a:gd name="f11" fmla="val 1"/>
                  <a:gd name="f12" fmla="val 754"/>
                  <a:gd name="f13" fmla="val 3"/>
                  <a:gd name="f14" fmla="val 755"/>
                  <a:gd name="f15" fmla="val 8"/>
                  <a:gd name="f16" fmla="val 757"/>
                  <a:gd name="f17" fmla="val 13"/>
                  <a:gd name="f18" fmla="val 762"/>
                  <a:gd name="f19" fmla="val 21"/>
                  <a:gd name="f20" fmla="val 770"/>
                  <a:gd name="f21" fmla="val 27"/>
                  <a:gd name="f22" fmla="val 781"/>
                  <a:gd name="f23" fmla="val 30"/>
                  <a:gd name="f24" fmla="val 803"/>
                  <a:gd name="f25" fmla="val 32"/>
                  <a:gd name="f26" fmla="val 813"/>
                  <a:gd name="f27" fmla="val 33"/>
                  <a:gd name="f28" fmla="val 818"/>
                  <a:gd name="f29" fmla="val 36"/>
                  <a:gd name="f30" fmla="val 821"/>
                  <a:gd name="f31" fmla="val 39"/>
                  <a:gd name="f32" fmla="val 823"/>
                  <a:gd name="f33" fmla="val 47"/>
                  <a:gd name="f34" fmla="val 825"/>
                  <a:gd name="f35" fmla="val 51"/>
                  <a:gd name="f36" fmla="val 830"/>
                  <a:gd name="f37" fmla="val 55"/>
                  <a:gd name="f38" fmla="val 837"/>
                  <a:gd name="f39" fmla="val 60"/>
                  <a:gd name="f40" fmla="val 842"/>
                  <a:gd name="f41" fmla="val 67"/>
                  <a:gd name="f42" fmla="val 846"/>
                  <a:gd name="f43" fmla="val 74"/>
                  <a:gd name="f44" fmla="val 851"/>
                  <a:gd name="f45" fmla="val 80"/>
                  <a:gd name="f46" fmla="val 857"/>
                  <a:gd name="f47" fmla="val 84"/>
                  <a:gd name="f48" fmla="val 862"/>
                  <a:gd name="f49" fmla="val 83"/>
                  <a:gd name="f50" fmla="val 870"/>
                  <a:gd name="f51" fmla="val 880"/>
                  <a:gd name="f52" fmla="val 892"/>
                  <a:gd name="f53" fmla="val 66"/>
                  <a:gd name="f54" fmla="val 906"/>
                  <a:gd name="f55" fmla="val 58"/>
                  <a:gd name="f56" fmla="val 920"/>
                  <a:gd name="f57" fmla="val 50"/>
                  <a:gd name="f58" fmla="val 934"/>
                  <a:gd name="f59" fmla="val 42"/>
                  <a:gd name="f60" fmla="val 946"/>
                  <a:gd name="f61" fmla="val 34"/>
                  <a:gd name="f62" fmla="val 957"/>
                  <a:gd name="f63" fmla="val 28"/>
                  <a:gd name="f64" fmla="val 966"/>
                  <a:gd name="f65" fmla="val 24"/>
                  <a:gd name="f66" fmla="val 971"/>
                  <a:gd name="f67" fmla="val 22"/>
                  <a:gd name="f68" fmla="val 976"/>
                  <a:gd name="f69" fmla="val 23"/>
                  <a:gd name="f70" fmla="val 978"/>
                  <a:gd name="f71" fmla="val 26"/>
                  <a:gd name="f72" fmla="val 979"/>
                  <a:gd name="f73" fmla="val 31"/>
                  <a:gd name="f74" fmla="val 977"/>
                  <a:gd name="f75" fmla="val 49"/>
                  <a:gd name="f76" fmla="val 52"/>
                  <a:gd name="f77" fmla="val 984"/>
                  <a:gd name="f78" fmla="val 990"/>
                  <a:gd name="f79" fmla="val 48"/>
                  <a:gd name="f80" fmla="val 997"/>
                  <a:gd name="f81" fmla="val 43"/>
                  <a:gd name="f82" fmla="val 1003"/>
                  <a:gd name="f83" fmla="val 37"/>
                  <a:gd name="f84" fmla="val 1010"/>
                  <a:gd name="f85" fmla="val 1017"/>
                  <a:gd name="f86" fmla="val 1022"/>
                  <a:gd name="f87" fmla="val 1031"/>
                  <a:gd name="f88" fmla="val 1043"/>
                  <a:gd name="f89" fmla="val 1057"/>
                  <a:gd name="f90" fmla="val 1070"/>
                  <a:gd name="f91" fmla="val 1082"/>
                  <a:gd name="f92" fmla="val 1090"/>
                  <a:gd name="f93" fmla="val 38"/>
                  <a:gd name="f94" fmla="val 1094"/>
                  <a:gd name="f95" fmla="val 45"/>
                  <a:gd name="f96" fmla="val 1096"/>
                  <a:gd name="f97" fmla="val 1097"/>
                  <a:gd name="f98" fmla="val 1098"/>
                  <a:gd name="f99" fmla="val 79"/>
                  <a:gd name="f100" fmla="val 90"/>
                  <a:gd name="f101" fmla="val 100"/>
                  <a:gd name="f102" fmla="val 106"/>
                  <a:gd name="f103" fmla="val 1099"/>
                  <a:gd name="f104" fmla="val 110"/>
                  <a:gd name="f105" fmla="val 1104"/>
                  <a:gd name="f106" fmla="val 112"/>
                  <a:gd name="f107" fmla="val 1110"/>
                  <a:gd name="f108" fmla="val 114"/>
                  <a:gd name="f109" fmla="val 1117"/>
                  <a:gd name="f110" fmla="val 116"/>
                  <a:gd name="f111" fmla="val 1122"/>
                  <a:gd name="f112" fmla="val 121"/>
                  <a:gd name="f113" fmla="val 1126"/>
                  <a:gd name="f114" fmla="val 125"/>
                  <a:gd name="f115" fmla="val 1133"/>
                  <a:gd name="f116" fmla="val 132"/>
                  <a:gd name="f117" fmla="val 1141"/>
                  <a:gd name="f118" fmla="val 139"/>
                  <a:gd name="f119" fmla="val 1150"/>
                  <a:gd name="f120" fmla="val 146"/>
                  <a:gd name="f121" fmla="val 1157"/>
                  <a:gd name="f122" fmla="val 153"/>
                  <a:gd name="f123" fmla="val 1164"/>
                  <a:gd name="f124" fmla="val 157"/>
                  <a:gd name="f125" fmla="val 1168"/>
                  <a:gd name="f126" fmla="val 159"/>
                  <a:gd name="f127" fmla="val 1173"/>
                  <a:gd name="f128" fmla="val 1180"/>
                  <a:gd name="f129" fmla="val 1187"/>
                  <a:gd name="f130" fmla="val 148"/>
                  <a:gd name="f131" fmla="val 1196"/>
                  <a:gd name="f132" fmla="val 142"/>
                  <a:gd name="f133" fmla="val 1203"/>
                  <a:gd name="f134" fmla="val 138"/>
                  <a:gd name="f135" fmla="val 1208"/>
                  <a:gd name="f136" fmla="val 136"/>
                  <a:gd name="f137" fmla="val 1212"/>
                  <a:gd name="f138" fmla="val 137"/>
                  <a:gd name="f139" fmla="val 1215"/>
                  <a:gd name="f140" fmla="val 1217"/>
                  <a:gd name="f141" fmla="val 149"/>
                  <a:gd name="f142" fmla="val 1219"/>
                  <a:gd name="f143" fmla="val 158"/>
                  <a:gd name="f144" fmla="val 1222"/>
                  <a:gd name="f145" fmla="val 164"/>
                  <a:gd name="f146" fmla="val 1229"/>
                  <a:gd name="f147" fmla="val 170"/>
                  <a:gd name="f148" fmla="val 1238"/>
                  <a:gd name="f149" fmla="val 176"/>
                  <a:gd name="f150" fmla="val 1233"/>
                  <a:gd name="f151" fmla="val 184"/>
                  <a:gd name="f152" fmla="val 1231"/>
                  <a:gd name="f153" fmla="val 190"/>
                  <a:gd name="f154" fmla="val 1228"/>
                  <a:gd name="f155" fmla="val 199"/>
                  <a:gd name="f156" fmla="val 1230"/>
                  <a:gd name="f157" fmla="val 203"/>
                  <a:gd name="f158" fmla="val 1232"/>
                  <a:gd name="f159" fmla="val 205"/>
                  <a:gd name="f160" fmla="val 1234"/>
                  <a:gd name="f161" fmla="val 206"/>
                  <a:gd name="f162" fmla="val 1237"/>
                  <a:gd name="f163" fmla="val 207"/>
                  <a:gd name="f164" fmla="val 1242"/>
                  <a:gd name="f165" fmla="val 211"/>
                  <a:gd name="f166" fmla="val 1245"/>
                  <a:gd name="f167" fmla="val 212"/>
                  <a:gd name="f168" fmla="val 1247"/>
                  <a:gd name="f169" fmla="val 213"/>
                  <a:gd name="f170" fmla="val 1248"/>
                  <a:gd name="f171" fmla="val 1252"/>
                  <a:gd name="f172" fmla="val 209"/>
                  <a:gd name="f173" fmla="val 1253"/>
                  <a:gd name="f174" fmla="val 1254"/>
                  <a:gd name="f175" fmla="val 208"/>
                  <a:gd name="f176" fmla="val 1256"/>
                  <a:gd name="f177" fmla="val 1259"/>
                  <a:gd name="f178" fmla="val 1261"/>
                  <a:gd name="f179" fmla="val 210"/>
                  <a:gd name="f180" fmla="val 1262"/>
                  <a:gd name="f181" fmla="val 1264"/>
                  <a:gd name="f182" fmla="val 214"/>
                  <a:gd name="f183" fmla="val 1265"/>
                  <a:gd name="f184" fmla="val 216"/>
                  <a:gd name="f185" fmla="val 1269"/>
                  <a:gd name="f186" fmla="val 220"/>
                  <a:gd name="f187" fmla="val 1274"/>
                  <a:gd name="f188" fmla="val 221"/>
                  <a:gd name="f189" fmla="val 1280"/>
                  <a:gd name="f190" fmla="val 1286"/>
                  <a:gd name="f191" fmla="val 219"/>
                  <a:gd name="f192" fmla="val 1291"/>
                  <a:gd name="f193" fmla="val 1295"/>
                  <a:gd name="f194" fmla="val 222"/>
                  <a:gd name="f195" fmla="val 1298"/>
                  <a:gd name="f196" fmla="val 230"/>
                  <a:gd name="f197" fmla="val 1299"/>
                  <a:gd name="f198" fmla="val 240"/>
                  <a:gd name="f199" fmla="val 259"/>
                  <a:gd name="f200" fmla="val 1300"/>
                  <a:gd name="f201" fmla="val 261"/>
                  <a:gd name="f202" fmla="val 1303"/>
                  <a:gd name="f203" fmla="val 260"/>
                  <a:gd name="f204" fmla="val 1307"/>
                  <a:gd name="f205" fmla="val 258"/>
                  <a:gd name="f206" fmla="val 1325"/>
                  <a:gd name="f207" fmla="val 249"/>
                  <a:gd name="f208" fmla="val 1330"/>
                  <a:gd name="f209" fmla="val 1335"/>
                  <a:gd name="f210" fmla="val 250"/>
                  <a:gd name="f211" fmla="val 1341"/>
                  <a:gd name="f212" fmla="val 254"/>
                  <a:gd name="f213" fmla="val 1342"/>
                  <a:gd name="f214" fmla="val 256"/>
                  <a:gd name="f215" fmla="val 1343"/>
                  <a:gd name="f216" fmla="val 264"/>
                  <a:gd name="f217" fmla="val 270"/>
                  <a:gd name="f218" fmla="val 1332"/>
                  <a:gd name="f219" fmla="val 288"/>
                  <a:gd name="f220" fmla="val 1326"/>
                  <a:gd name="f221" fmla="val 297"/>
                  <a:gd name="f222" fmla="val 1322"/>
                  <a:gd name="f223" fmla="val 306"/>
                  <a:gd name="f224" fmla="val 1320"/>
                  <a:gd name="f225" fmla="val 313"/>
                  <a:gd name="f226" fmla="val 1318"/>
                  <a:gd name="f227" fmla="val 322"/>
                  <a:gd name="f228" fmla="val 1315"/>
                  <a:gd name="f229" fmla="val 334"/>
                  <a:gd name="f230" fmla="val 1309"/>
                  <a:gd name="f231" fmla="val 344"/>
                  <a:gd name="f232" fmla="val 352"/>
                  <a:gd name="f233" fmla="val 355"/>
                  <a:gd name="f234" fmla="val 1288"/>
                  <a:gd name="f235" fmla="val 1277"/>
                  <a:gd name="f236" fmla="val 354"/>
                  <a:gd name="f237" fmla="val 1266"/>
                  <a:gd name="f238" fmla="val 1255"/>
                  <a:gd name="f239" fmla="val 349"/>
                  <a:gd name="f240" fmla="val 347"/>
                  <a:gd name="f241" fmla="val 1241"/>
                  <a:gd name="f242" fmla="val 346"/>
                  <a:gd name="f243" fmla="val 1213"/>
                  <a:gd name="f244" fmla="val 350"/>
                  <a:gd name="f245" fmla="val 1206"/>
                  <a:gd name="f246" fmla="val 1204"/>
                  <a:gd name="f247" fmla="val 361"/>
                  <a:gd name="f248" fmla="val 370"/>
                  <a:gd name="f249" fmla="val 1199"/>
                  <a:gd name="f250" fmla="val 380"/>
                  <a:gd name="f251" fmla="val 1193"/>
                  <a:gd name="f252" fmla="val 392"/>
                  <a:gd name="f253" fmla="val 1186"/>
                  <a:gd name="f254" fmla="val 405"/>
                  <a:gd name="f255" fmla="val 1178"/>
                  <a:gd name="f256" fmla="val 418"/>
                  <a:gd name="f257" fmla="val 1171"/>
                  <a:gd name="f258" fmla="val 425"/>
                  <a:gd name="f259" fmla="val 1161"/>
                  <a:gd name="f260" fmla="val 434"/>
                  <a:gd name="f261" fmla="val 442"/>
                  <a:gd name="f262" fmla="val 1137"/>
                  <a:gd name="f263" fmla="val 452"/>
                  <a:gd name="f264" fmla="val 1114"/>
                  <a:gd name="f265" fmla="val 470"/>
                  <a:gd name="f266" fmla="val 1103"/>
                  <a:gd name="f267" fmla="val 477"/>
                  <a:gd name="f268" fmla="val 484"/>
                  <a:gd name="f269" fmla="val 1091"/>
                  <a:gd name="f270" fmla="val 488"/>
                  <a:gd name="f271" fmla="val 1088"/>
                  <a:gd name="f272" fmla="val 494"/>
                  <a:gd name="f273" fmla="val 1087"/>
                  <a:gd name="f274" fmla="val 504"/>
                  <a:gd name="f275" fmla="val 514"/>
                  <a:gd name="f276" fmla="val 1089"/>
                  <a:gd name="f277" fmla="val 526"/>
                  <a:gd name="f278" fmla="val 538"/>
                  <a:gd name="f279" fmla="val 1092"/>
                  <a:gd name="f280" fmla="val 549"/>
                  <a:gd name="f281" fmla="val 1093"/>
                  <a:gd name="f282" fmla="val 557"/>
                  <a:gd name="f283" fmla="val 563"/>
                  <a:gd name="f284" fmla="val 580"/>
                  <a:gd name="f285" fmla="val 1075"/>
                  <a:gd name="f286" fmla="val 590"/>
                  <a:gd name="f287" fmla="val 1067"/>
                  <a:gd name="f288" fmla="val 600"/>
                  <a:gd name="f289" fmla="val 1060"/>
                  <a:gd name="f290" fmla="val 609"/>
                  <a:gd name="f291" fmla="val 1055"/>
                  <a:gd name="f292" fmla="val 617"/>
                  <a:gd name="f293" fmla="val 1051"/>
                  <a:gd name="f294" fmla="val 623"/>
                  <a:gd name="f295" fmla="val 1049"/>
                  <a:gd name="f296" fmla="val 627"/>
                  <a:gd name="f297" fmla="val 1050"/>
                  <a:gd name="f298" fmla="val 631"/>
                  <a:gd name="f299" fmla="val 634"/>
                  <a:gd name="f300" fmla="val 638"/>
                  <a:gd name="f301" fmla="val 1065"/>
                  <a:gd name="f302" fmla="val 643"/>
                  <a:gd name="f303" fmla="val 646"/>
                  <a:gd name="f304" fmla="val 1077"/>
                  <a:gd name="f305" fmla="val 1085"/>
                  <a:gd name="f306" fmla="val 645"/>
                  <a:gd name="f307" fmla="val 1108"/>
                  <a:gd name="f308" fmla="val 642"/>
                  <a:gd name="f309" fmla="val 1111"/>
                  <a:gd name="f310" fmla="val 1112"/>
                  <a:gd name="f311" fmla="val 633"/>
                  <a:gd name="f312" fmla="val 1113"/>
                  <a:gd name="f313" fmla="val 628"/>
                  <a:gd name="f314" fmla="val 1115"/>
                  <a:gd name="f315" fmla="val 619"/>
                  <a:gd name="f316" fmla="val 1118"/>
                  <a:gd name="f317" fmla="val 618"/>
                  <a:gd name="f318" fmla="val 621"/>
                  <a:gd name="f319" fmla="val 626"/>
                  <a:gd name="f320" fmla="val 1160"/>
                  <a:gd name="f321" fmla="val 630"/>
                  <a:gd name="f322" fmla="val 637"/>
                  <a:gd name="f323" fmla="val 1167"/>
                  <a:gd name="f324" fmla="val 641"/>
                  <a:gd name="f325" fmla="val 1172"/>
                  <a:gd name="f326" fmla="val 1181"/>
                  <a:gd name="f327" fmla="val 1194"/>
                  <a:gd name="f328" fmla="val 639"/>
                  <a:gd name="f329" fmla="val 636"/>
                  <a:gd name="f330" fmla="val 1276"/>
                  <a:gd name="f331" fmla="val 635"/>
                  <a:gd name="f332" fmla="val 1287"/>
                  <a:gd name="f333" fmla="val 1293"/>
                  <a:gd name="f334" fmla="val 650"/>
                  <a:gd name="f335" fmla="val 1306"/>
                  <a:gd name="f336" fmla="val 660"/>
                  <a:gd name="f337" fmla="val 671"/>
                  <a:gd name="f338" fmla="val 1311"/>
                  <a:gd name="f339" fmla="val 678"/>
                  <a:gd name="f340" fmla="val 1314"/>
                  <a:gd name="f341" fmla="val 680"/>
                  <a:gd name="f342" fmla="val 679"/>
                  <a:gd name="f343" fmla="val 1323"/>
                  <a:gd name="f344" fmla="val 677"/>
                  <a:gd name="f345" fmla="val 1327"/>
                  <a:gd name="f346" fmla="val 674"/>
                  <a:gd name="f347" fmla="val 670"/>
                  <a:gd name="f348" fmla="val 1338"/>
                  <a:gd name="f349" fmla="val 673"/>
                  <a:gd name="f350" fmla="val 1340"/>
                  <a:gd name="f351" fmla="val 691"/>
                  <a:gd name="f352" fmla="val 702"/>
                  <a:gd name="f353" fmla="val 711"/>
                  <a:gd name="f354" fmla="val 1347"/>
                  <a:gd name="f355" fmla="val 719"/>
                  <a:gd name="f356" fmla="val 1353"/>
                  <a:gd name="f357" fmla="val 724"/>
                  <a:gd name="f358" fmla="val 1358"/>
                  <a:gd name="f359" fmla="val 729"/>
                  <a:gd name="f360" fmla="val 1361"/>
                  <a:gd name="f361" fmla="val 734"/>
                  <a:gd name="f362" fmla="val 1360"/>
                  <a:gd name="f363" fmla="val 740"/>
                  <a:gd name="f364" fmla="val 1357"/>
                  <a:gd name="f365" fmla="val 746"/>
                  <a:gd name="f366" fmla="val 1352"/>
                  <a:gd name="f367" fmla="val 752"/>
                  <a:gd name="f368" fmla="val 759"/>
                  <a:gd name="f369" fmla="val 764"/>
                  <a:gd name="f370" fmla="val 1350"/>
                  <a:gd name="f371" fmla="val 771"/>
                  <a:gd name="f372" fmla="val 779"/>
                  <a:gd name="f373" fmla="val 1369"/>
                  <a:gd name="f374" fmla="val 792"/>
                  <a:gd name="f375" fmla="val 1374"/>
                  <a:gd name="f376" fmla="val 800"/>
                  <a:gd name="f377" fmla="val 1377"/>
                  <a:gd name="f378" fmla="val 811"/>
                  <a:gd name="f379" fmla="val 1379"/>
                  <a:gd name="f380" fmla="val 1381"/>
                  <a:gd name="f381" fmla="val 832"/>
                  <a:gd name="f382" fmla="val 1382"/>
                  <a:gd name="f383" fmla="val 838"/>
                  <a:gd name="f384" fmla="val 1385"/>
                  <a:gd name="f385" fmla="val 1393"/>
                  <a:gd name="f386" fmla="val 1401"/>
                  <a:gd name="f387" fmla="val 849"/>
                  <a:gd name="f388" fmla="val 1409"/>
                  <a:gd name="f389" fmla="val 853"/>
                  <a:gd name="f390" fmla="val 1414"/>
                  <a:gd name="f391" fmla="val 856"/>
                  <a:gd name="f392" fmla="val 1419"/>
                  <a:gd name="f393" fmla="val 1425"/>
                  <a:gd name="f394" fmla="val 869"/>
                  <a:gd name="f395" fmla="val 1428"/>
                  <a:gd name="f396" fmla="val 876"/>
                  <a:gd name="f397" fmla="val 883"/>
                  <a:gd name="f398" fmla="val 1430"/>
                  <a:gd name="f399" fmla="val 887"/>
                  <a:gd name="f400" fmla="val 1427"/>
                  <a:gd name="f401" fmla="val 891"/>
                  <a:gd name="f402" fmla="val 1422"/>
                  <a:gd name="f403" fmla="val 898"/>
                  <a:gd name="f404" fmla="val 908"/>
                  <a:gd name="f405" fmla="val 1404"/>
                  <a:gd name="f406" fmla="val 919"/>
                  <a:gd name="f407" fmla="val 1392"/>
                  <a:gd name="f408" fmla="val 932"/>
                  <a:gd name="f409" fmla="val 958"/>
                  <a:gd name="f410" fmla="val 1359"/>
                  <a:gd name="f411" fmla="val 972"/>
                  <a:gd name="f412" fmla="val 1349"/>
                  <a:gd name="f413" fmla="val 983"/>
                  <a:gd name="f414" fmla="val 994"/>
                  <a:gd name="f415" fmla="val 1337"/>
                  <a:gd name="f416" fmla="val 1001"/>
                  <a:gd name="f417" fmla="val 1006"/>
                  <a:gd name="f418" fmla="val 1336"/>
                  <a:gd name="f419" fmla="val 1012"/>
                  <a:gd name="f420" fmla="val 1367"/>
                  <a:gd name="f421" fmla="val 1013"/>
                  <a:gd name="f422" fmla="val 1015"/>
                  <a:gd name="f423" fmla="val 1021"/>
                  <a:gd name="f424" fmla="val 1388"/>
                  <a:gd name="f425" fmla="val 1394"/>
                  <a:gd name="f426" fmla="val 1042"/>
                  <a:gd name="f427" fmla="val 1400"/>
                  <a:gd name="f428" fmla="val 1054"/>
                  <a:gd name="f429" fmla="val 1403"/>
                  <a:gd name="f430" fmla="val 1074"/>
                  <a:gd name="f431" fmla="val 1079"/>
                  <a:gd name="f432" fmla="val 1399"/>
                  <a:gd name="f433" fmla="val 1080"/>
                  <a:gd name="f434" fmla="val 1391"/>
                  <a:gd name="f435" fmla="val 1386"/>
                  <a:gd name="f436" fmla="val 1073"/>
                  <a:gd name="f437" fmla="val 1071"/>
                  <a:gd name="f438" fmla="val 1346"/>
                  <a:gd name="f439" fmla="val 1076"/>
                  <a:gd name="f440" fmla="val 1078"/>
                  <a:gd name="f441" fmla="val 1321"/>
                  <a:gd name="f442" fmla="val 1083"/>
                  <a:gd name="f443" fmla="val 1105"/>
                  <a:gd name="f444" fmla="val 1289"/>
                  <a:gd name="f445" fmla="val 1121"/>
                  <a:gd name="f446" fmla="val 1282"/>
                  <a:gd name="f447" fmla="val 1273"/>
                  <a:gd name="f448" fmla="val 1142"/>
                  <a:gd name="f449" fmla="val 1151"/>
                  <a:gd name="f450" fmla="val 1159"/>
                  <a:gd name="f451" fmla="val 1257"/>
                  <a:gd name="f452" fmla="val 1250"/>
                  <a:gd name="f453" fmla="val 1166"/>
                  <a:gd name="f454" fmla="val 1227"/>
                  <a:gd name="f455" fmla="val 1148"/>
                  <a:gd name="f456" fmla="val 1216"/>
                  <a:gd name="f457" fmla="val 1147"/>
                  <a:gd name="f458" fmla="val 1205"/>
                  <a:gd name="f459" fmla="val 1156"/>
                  <a:gd name="f460" fmla="val 1211"/>
                  <a:gd name="f461" fmla="val 1209"/>
                  <a:gd name="f462" fmla="val 1195"/>
                  <a:gd name="f463" fmla="val 1202"/>
                  <a:gd name="f464" fmla="val 1189"/>
                  <a:gd name="f465" fmla="val 1210"/>
                  <a:gd name="f466" fmla="val 1207"/>
                  <a:gd name="f467" fmla="val 1214"/>
                  <a:gd name="f468" fmla="val 1179"/>
                  <a:gd name="f469" fmla="val 1220"/>
                  <a:gd name="f470" fmla="val 1183"/>
                  <a:gd name="f471" fmla="val 1239"/>
                  <a:gd name="f472" fmla="val 1267"/>
                  <a:gd name="f473" fmla="val 1278"/>
                  <a:gd name="f474" fmla="val 1198"/>
                  <a:gd name="f475" fmla="val 1296"/>
                  <a:gd name="f476" fmla="val 1355"/>
                  <a:gd name="f477" fmla="val 1366"/>
                  <a:gd name="f478" fmla="val 1372"/>
                  <a:gd name="f479" fmla="val 1376"/>
                  <a:gd name="f480" fmla="val 1380"/>
                  <a:gd name="f481" fmla="val 1236"/>
                  <a:gd name="f482" fmla="val 1398"/>
                  <a:gd name="f483" fmla="val 1402"/>
                  <a:gd name="f484" fmla="val 1405"/>
                  <a:gd name="f485" fmla="val 1225"/>
                  <a:gd name="f486" fmla="val 1407"/>
                  <a:gd name="f487" fmla="val 1224"/>
                  <a:gd name="f488" fmla="val 1412"/>
                  <a:gd name="f489" fmla="val 1218"/>
                  <a:gd name="f490" fmla="val 1190"/>
                  <a:gd name="f491" fmla="val 1413"/>
                  <a:gd name="f492" fmla="val 1169"/>
                  <a:gd name="f493" fmla="val 1415"/>
                  <a:gd name="f494" fmla="val 1423"/>
                  <a:gd name="f495" fmla="val 1426"/>
                  <a:gd name="f496" fmla="val 1139"/>
                  <a:gd name="f497" fmla="val 1429"/>
                  <a:gd name="f498" fmla="val 1109"/>
                  <a:gd name="f499" fmla="val 1081"/>
                  <a:gd name="f500" fmla="val 1420"/>
                  <a:gd name="f501" fmla="val 1418"/>
                  <a:gd name="f502" fmla="val 1044"/>
                  <a:gd name="f503" fmla="val 1040"/>
                  <a:gd name="f504" fmla="val 1032"/>
                  <a:gd name="f505" fmla="val 1023"/>
                  <a:gd name="f506" fmla="val 1004"/>
                  <a:gd name="f507" fmla="val 1433"/>
                  <a:gd name="f508" fmla="val 998"/>
                  <a:gd name="f509" fmla="val 1435"/>
                  <a:gd name="f510" fmla="val 993"/>
                  <a:gd name="f511" fmla="val 1438"/>
                  <a:gd name="f512" fmla="val 1443"/>
                  <a:gd name="f513" fmla="val 988"/>
                  <a:gd name="f514" fmla="val 1449"/>
                  <a:gd name="f515" fmla="val 1454"/>
                  <a:gd name="f516" fmla="val 989"/>
                  <a:gd name="f517" fmla="val 1459"/>
                  <a:gd name="f518" fmla="val 1468"/>
                  <a:gd name="f519" fmla="val 1475"/>
                  <a:gd name="f520" fmla="val 1002"/>
                  <a:gd name="f521" fmla="val 1485"/>
                  <a:gd name="f522" fmla="val 1487"/>
                  <a:gd name="f523" fmla="val 1486"/>
                  <a:gd name="f524" fmla="val 987"/>
                  <a:gd name="f525" fmla="val 982"/>
                  <a:gd name="f526" fmla="val 1488"/>
                  <a:gd name="f527" fmla="val 1491"/>
                  <a:gd name="f528" fmla="val 973"/>
                  <a:gd name="f529" fmla="val 1496"/>
                  <a:gd name="f530" fmla="val 961"/>
                  <a:gd name="f531" fmla="val 1506"/>
                  <a:gd name="f532" fmla="val 955"/>
                  <a:gd name="f533" fmla="val 1510"/>
                  <a:gd name="f534" fmla="val 951"/>
                  <a:gd name="f535" fmla="val 1512"/>
                  <a:gd name="f536" fmla="val 948"/>
                  <a:gd name="f537" fmla="val 947"/>
                  <a:gd name="f538" fmla="val 1501"/>
                  <a:gd name="f539" fmla="val 950"/>
                  <a:gd name="f540" fmla="val 1497"/>
                  <a:gd name="f541" fmla="val 1493"/>
                  <a:gd name="f542" fmla="val 942"/>
                  <a:gd name="f543" fmla="val 938"/>
                  <a:gd name="f544" fmla="val 935"/>
                  <a:gd name="f545" fmla="val 1500"/>
                  <a:gd name="f546" fmla="val 931"/>
                  <a:gd name="f547" fmla="val 926"/>
                  <a:gd name="f548" fmla="val 1499"/>
                  <a:gd name="f549" fmla="val 921"/>
                  <a:gd name="f550" fmla="val 1494"/>
                  <a:gd name="f551" fmla="val 917"/>
                  <a:gd name="f552" fmla="val 915"/>
                  <a:gd name="f553" fmla="val 1484"/>
                  <a:gd name="f554" fmla="val 912"/>
                  <a:gd name="f555" fmla="val 1482"/>
                  <a:gd name="f556" fmla="val 909"/>
                  <a:gd name="f557" fmla="val 907"/>
                  <a:gd name="f558" fmla="val 1504"/>
                  <a:gd name="f559" fmla="val 1514"/>
                  <a:gd name="f560" fmla="val 1529"/>
                  <a:gd name="f561" fmla="val 1534"/>
                  <a:gd name="f562" fmla="val 904"/>
                  <a:gd name="f563" fmla="val 1540"/>
                  <a:gd name="f564" fmla="val 1547"/>
                  <a:gd name="f565" fmla="val 894"/>
                  <a:gd name="f566" fmla="val 1554"/>
                  <a:gd name="f567" fmla="val 1560"/>
                  <a:gd name="f568" fmla="val 1563"/>
                  <a:gd name="f569" fmla="val 893"/>
                  <a:gd name="f570" fmla="val 1566"/>
                  <a:gd name="f571" fmla="val 1568"/>
                  <a:gd name="f572" fmla="val 1570"/>
                  <a:gd name="f573" fmla="val 895"/>
                  <a:gd name="f574" fmla="val 1572"/>
                  <a:gd name="f575" fmla="val 1574"/>
                  <a:gd name="f576" fmla="val 1575"/>
                  <a:gd name="f577" fmla="val 884"/>
                  <a:gd name="f578" fmla="val 1581"/>
                  <a:gd name="f579" fmla="val 878"/>
                  <a:gd name="f580" fmla="val 1584"/>
                  <a:gd name="f581" fmla="val 873"/>
                  <a:gd name="f582" fmla="val 1585"/>
                  <a:gd name="f583" fmla="val 867"/>
                  <a:gd name="f584" fmla="val 1583"/>
                  <a:gd name="f585" fmla="val 1580"/>
                  <a:gd name="f586" fmla="val 866"/>
                  <a:gd name="f587" fmla="val 1578"/>
                  <a:gd name="f588" fmla="val 1577"/>
                  <a:gd name="f589" fmla="val 865"/>
                  <a:gd name="f590" fmla="val 1576"/>
                  <a:gd name="f591" fmla="val 863"/>
                  <a:gd name="f592" fmla="val 861"/>
                  <a:gd name="f593" fmla="val 854"/>
                  <a:gd name="f594" fmla="val 833"/>
                  <a:gd name="f595" fmla="val 1589"/>
                  <a:gd name="f596" fmla="val 824"/>
                  <a:gd name="f597" fmla="val 1605"/>
                  <a:gd name="f598" fmla="val 822"/>
                  <a:gd name="f599" fmla="val 1612"/>
                  <a:gd name="f600" fmla="val 1618"/>
                  <a:gd name="f601" fmla="val 1623"/>
                  <a:gd name="f602" fmla="val 829"/>
                  <a:gd name="f603" fmla="val 1627"/>
                  <a:gd name="f604" fmla="val 831"/>
                  <a:gd name="f605" fmla="val 1631"/>
                  <a:gd name="f606" fmla="val 1636"/>
                  <a:gd name="f607" fmla="val 827"/>
                  <a:gd name="f608" fmla="val 1642"/>
                  <a:gd name="f609" fmla="val 826"/>
                  <a:gd name="f610" fmla="val 1649"/>
                  <a:gd name="f611" fmla="val 1654"/>
                  <a:gd name="f612" fmla="val 1656"/>
                  <a:gd name="f613" fmla="val 1658"/>
                  <a:gd name="f614" fmla="val 1664"/>
                  <a:gd name="f615" fmla="val 807"/>
                  <a:gd name="f616" fmla="val 1653"/>
                  <a:gd name="f617" fmla="val 795"/>
                  <a:gd name="f618" fmla="val 1652"/>
                  <a:gd name="f619" fmla="val 788"/>
                  <a:gd name="f620" fmla="val 1651"/>
                  <a:gd name="f621" fmla="val 782"/>
                  <a:gd name="f622" fmla="val 1648"/>
                  <a:gd name="f623" fmla="val 778"/>
                  <a:gd name="f624" fmla="val 1645"/>
                  <a:gd name="f625" fmla="val 777"/>
                  <a:gd name="f626" fmla="val 1637"/>
                  <a:gd name="f627" fmla="val 776"/>
                  <a:gd name="f628" fmla="val 772"/>
                  <a:gd name="f629" fmla="val 1625"/>
                  <a:gd name="f630" fmla="val 1620"/>
                  <a:gd name="f631" fmla="val 1617"/>
                  <a:gd name="f632" fmla="val 750"/>
                  <a:gd name="f633" fmla="val 1616"/>
                  <a:gd name="f634" fmla="val 745"/>
                  <a:gd name="f635" fmla="val 1615"/>
                  <a:gd name="f636" fmla="val 741"/>
                  <a:gd name="f637" fmla="val 735"/>
                  <a:gd name="f638" fmla="val 1611"/>
                  <a:gd name="f639" fmla="val 733"/>
                  <a:gd name="f640" fmla="val 1610"/>
                  <a:gd name="f641" fmla="val 1606"/>
                  <a:gd name="f642" fmla="val 732"/>
                  <a:gd name="f643" fmla="val 730"/>
                  <a:gd name="f644" fmla="val 725"/>
                  <a:gd name="f645" fmla="val 1607"/>
                  <a:gd name="f646" fmla="val 720"/>
                  <a:gd name="f647" fmla="val 715"/>
                  <a:gd name="f648" fmla="val 709"/>
                  <a:gd name="f649" fmla="val 1609"/>
                  <a:gd name="f650" fmla="val 706"/>
                  <a:gd name="f651" fmla="val 699"/>
                  <a:gd name="f652" fmla="val 697"/>
                  <a:gd name="f653" fmla="val 693"/>
                  <a:gd name="f654" fmla="val 690"/>
                  <a:gd name="f655" fmla="val 1621"/>
                  <a:gd name="f656" fmla="val 1643"/>
                  <a:gd name="f657" fmla="val 1650"/>
                  <a:gd name="f658" fmla="val 665"/>
                  <a:gd name="f659" fmla="val 1657"/>
                  <a:gd name="f660" fmla="val 661"/>
                  <a:gd name="f661" fmla="val 1666"/>
                  <a:gd name="f662" fmla="val 658"/>
                  <a:gd name="f663" fmla="val 1674"/>
                  <a:gd name="f664" fmla="val 655"/>
                  <a:gd name="f665" fmla="val 1677"/>
                  <a:gd name="f666" fmla="val 1675"/>
                  <a:gd name="f667" fmla="val 632"/>
                  <a:gd name="f668" fmla="val 1672"/>
                  <a:gd name="f669" fmla="val 624"/>
                  <a:gd name="f670" fmla="val 1668"/>
                  <a:gd name="f671" fmla="val 616"/>
                  <a:gd name="f672" fmla="val 1665"/>
                  <a:gd name="f673" fmla="val 612"/>
                  <a:gd name="f674" fmla="val 1663"/>
                  <a:gd name="f675" fmla="val 613"/>
                  <a:gd name="f676" fmla="val 1655"/>
                  <a:gd name="f677" fmla="val 614"/>
                  <a:gd name="f678" fmla="val 611"/>
                  <a:gd name="f679" fmla="val 606"/>
                  <a:gd name="f680" fmla="val 598"/>
                  <a:gd name="f681" fmla="val 578"/>
                  <a:gd name="f682" fmla="val 569"/>
                  <a:gd name="f683" fmla="val 1659"/>
                  <a:gd name="f684" fmla="val 561"/>
                  <a:gd name="f685" fmla="val 1661"/>
                  <a:gd name="f686" fmla="val 1660"/>
                  <a:gd name="f687" fmla="val 553"/>
                  <a:gd name="f688" fmla="val 543"/>
                  <a:gd name="f689" fmla="val 537"/>
                  <a:gd name="f690" fmla="val 530"/>
                  <a:gd name="f691" fmla="val 1644"/>
                  <a:gd name="f692" fmla="val 521"/>
                  <a:gd name="f693" fmla="val 1647"/>
                  <a:gd name="f694" fmla="val 500"/>
                  <a:gd name="f695" fmla="val 491"/>
                  <a:gd name="f696" fmla="val 485"/>
                  <a:gd name="f697" fmla="val 481"/>
                  <a:gd name="f698" fmla="val 479"/>
                  <a:gd name="f699" fmla="val 478"/>
                  <a:gd name="f700" fmla="val 482"/>
                  <a:gd name="f701" fmla="val 1641"/>
                  <a:gd name="f702" fmla="val 1639"/>
                  <a:gd name="f703" fmla="val 1638"/>
                  <a:gd name="f704" fmla="val 499"/>
                  <a:gd name="f705" fmla="val 502"/>
                  <a:gd name="f706" fmla="val 1634"/>
                  <a:gd name="f707" fmla="val 503"/>
                  <a:gd name="f708" fmla="val 1629"/>
                  <a:gd name="f709" fmla="val 501"/>
                  <a:gd name="f710" fmla="val 1619"/>
                  <a:gd name="f711" fmla="val 497"/>
                  <a:gd name="f712" fmla="val 492"/>
                  <a:gd name="f713" fmla="val 486"/>
                  <a:gd name="f714" fmla="val 1624"/>
                  <a:gd name="f715" fmla="val 473"/>
                  <a:gd name="f716" fmla="val 468"/>
                  <a:gd name="f717" fmla="val 465"/>
                  <a:gd name="f718" fmla="val 1597"/>
                  <a:gd name="f719" fmla="val 1590"/>
                  <a:gd name="f720" fmla="val 464"/>
                  <a:gd name="f721" fmla="val 1586"/>
                  <a:gd name="f722" fmla="val 455"/>
                  <a:gd name="f723" fmla="val 451"/>
                  <a:gd name="f724" fmla="val 449"/>
                  <a:gd name="f725" fmla="val 457"/>
                  <a:gd name="f726" fmla="val 1559"/>
                  <a:gd name="f727" fmla="val 1555"/>
                  <a:gd name="f728" fmla="val 466"/>
                  <a:gd name="f729" fmla="val 1552"/>
                  <a:gd name="f730" fmla="val 467"/>
                  <a:gd name="f731" fmla="val 1545"/>
                  <a:gd name="f732" fmla="val 1537"/>
                  <a:gd name="f733" fmla="val 461"/>
                  <a:gd name="f734" fmla="val 1531"/>
                  <a:gd name="f735" fmla="val 1527"/>
                  <a:gd name="f736" fmla="val 454"/>
                  <a:gd name="f737" fmla="val 1524"/>
                  <a:gd name="f738" fmla="val 1520"/>
                  <a:gd name="f739" fmla="val 1518"/>
                  <a:gd name="f740" fmla="val 1513"/>
                  <a:gd name="f741" fmla="val 1509"/>
                  <a:gd name="f742" fmla="val 458"/>
                  <a:gd name="f743" fmla="val 447"/>
                  <a:gd name="f744" fmla="val 1502"/>
                  <a:gd name="f745" fmla="val 422"/>
                  <a:gd name="f746" fmla="val 1492"/>
                  <a:gd name="f747" fmla="val 411"/>
                  <a:gd name="f748" fmla="val 404"/>
                  <a:gd name="f749" fmla="val 1481"/>
                  <a:gd name="f750" fmla="val 397"/>
                  <a:gd name="f751" fmla="val 1471"/>
                  <a:gd name="f752" fmla="val 389"/>
                  <a:gd name="f753" fmla="val 1462"/>
                  <a:gd name="f754" fmla="val 382"/>
                  <a:gd name="f755" fmla="val 1456"/>
                  <a:gd name="f756" fmla="val 374"/>
                  <a:gd name="f757" fmla="val 1452"/>
                  <a:gd name="f758" fmla="val 368"/>
                  <a:gd name="f759" fmla="val 353"/>
                  <a:gd name="f760" fmla="val 345"/>
                  <a:gd name="f761" fmla="val 1457"/>
                  <a:gd name="f762" fmla="val 338"/>
                  <a:gd name="f763" fmla="val 330"/>
                  <a:gd name="f764" fmla="val 311"/>
                  <a:gd name="f765" fmla="val 1444"/>
                  <a:gd name="f766" fmla="val 301"/>
                  <a:gd name="f767" fmla="val 1442"/>
                  <a:gd name="f768" fmla="val 295"/>
                  <a:gd name="f769" fmla="val 1448"/>
                  <a:gd name="f770" fmla="val 280"/>
                  <a:gd name="f771" fmla="val 1455"/>
                  <a:gd name="f772" fmla="val 271"/>
                  <a:gd name="f773" fmla="val 1461"/>
                  <a:gd name="f774" fmla="val 1465"/>
                  <a:gd name="f775" fmla="val 255"/>
                  <a:gd name="f776" fmla="val 1466"/>
                  <a:gd name="f777" fmla="val 244"/>
                  <a:gd name="f778" fmla="val 1464"/>
                  <a:gd name="f779" fmla="val 234"/>
                  <a:gd name="f780" fmla="val 227"/>
                  <a:gd name="f781" fmla="val 1458"/>
                  <a:gd name="f782" fmla="val 202"/>
                  <a:gd name="f783" fmla="val 182"/>
                  <a:gd name="f784" fmla="val 165"/>
                  <a:gd name="f785" fmla="val 1447"/>
                  <a:gd name="f786" fmla="val 150"/>
                  <a:gd name="f787" fmla="val 1432"/>
                  <a:gd name="f788" fmla="val 134"/>
                  <a:gd name="f789" fmla="val 128"/>
                  <a:gd name="f790" fmla="val 1411"/>
                  <a:gd name="f791" fmla="val 122"/>
                  <a:gd name="f792" fmla="val 117"/>
                  <a:gd name="f793" fmla="val 1396"/>
                  <a:gd name="f794" fmla="val 113"/>
                  <a:gd name="f795" fmla="val 1390"/>
                  <a:gd name="f796" fmla="val 108"/>
                  <a:gd name="f797" fmla="val 103"/>
                  <a:gd name="f798" fmla="val 97"/>
                  <a:gd name="f799" fmla="val 1375"/>
                  <a:gd name="f800" fmla="val 85"/>
                  <a:gd name="f801" fmla="val 78"/>
                  <a:gd name="f802" fmla="val 1334"/>
                  <a:gd name="f803" fmla="val 91"/>
                  <a:gd name="f804" fmla="val 1328"/>
                  <a:gd name="f805" fmla="val 96"/>
                  <a:gd name="f806" fmla="val 98"/>
                  <a:gd name="f807" fmla="val 1319"/>
                  <a:gd name="f808" fmla="val 1312"/>
                  <a:gd name="f809" fmla="val 94"/>
                  <a:gd name="f810" fmla="val 89"/>
                  <a:gd name="f811" fmla="val 81"/>
                  <a:gd name="f812" fmla="val 76"/>
                  <a:gd name="f813" fmla="val 70"/>
                  <a:gd name="f814" fmla="val 62"/>
                  <a:gd name="f815" fmla="val 1270"/>
                  <a:gd name="f816" fmla="val 1275"/>
                  <a:gd name="f817" fmla="val 1279"/>
                  <a:gd name="f818" fmla="val 18"/>
                  <a:gd name="f819" fmla="val 15"/>
                  <a:gd name="f820" fmla="val 11"/>
                  <a:gd name="f821" fmla="val 1251"/>
                  <a:gd name="f822" fmla="val 4"/>
                  <a:gd name="f823" fmla="val 1246"/>
                  <a:gd name="f824" fmla="val 1240"/>
                  <a:gd name="f825" fmla="val 1226"/>
                  <a:gd name="f826" fmla="val 35"/>
                  <a:gd name="f827" fmla="val 1221"/>
                  <a:gd name="f828" fmla="val 40"/>
                  <a:gd name="f829" fmla="val 1223"/>
                  <a:gd name="f830" fmla="val 75"/>
                  <a:gd name="f831" fmla="val 86"/>
                  <a:gd name="f832" fmla="val 95"/>
                  <a:gd name="f833" fmla="val 101"/>
                  <a:gd name="f834" fmla="val 102"/>
                  <a:gd name="f835" fmla="val 104"/>
                  <a:gd name="f836" fmla="val 109"/>
                  <a:gd name="f837" fmla="val 1176"/>
                  <a:gd name="f838" fmla="val 120"/>
                  <a:gd name="f839" fmla="val 131"/>
                  <a:gd name="f840" fmla="val 141"/>
                  <a:gd name="f841" fmla="val 1155"/>
                  <a:gd name="f842" fmla="val 151"/>
                  <a:gd name="f843" fmla="val 1152"/>
                  <a:gd name="f844" fmla="val 1144"/>
                  <a:gd name="f845" fmla="val 147"/>
                  <a:gd name="f846" fmla="val 1140"/>
                  <a:gd name="f847" fmla="val 156"/>
                  <a:gd name="f848" fmla="val 1138"/>
                  <a:gd name="f849" fmla="val 1135"/>
                  <a:gd name="f850" fmla="val 174"/>
                  <a:gd name="f851" fmla="val 1131"/>
                  <a:gd name="f852" fmla="val 177"/>
                  <a:gd name="f853" fmla="val 175"/>
                  <a:gd name="f854" fmla="val 1102"/>
                  <a:gd name="f855" fmla="val 169"/>
                  <a:gd name="f856" fmla="val 162"/>
                  <a:gd name="f857" fmla="val 1086"/>
                  <a:gd name="f858" fmla="val 173"/>
                  <a:gd name="f859" fmla="val 178"/>
                  <a:gd name="f860" fmla="val 179"/>
                  <a:gd name="f861" fmla="val 1058"/>
                  <a:gd name="f862" fmla="val 1056"/>
                  <a:gd name="f863" fmla="val 168"/>
                  <a:gd name="f864" fmla="val 1059"/>
                  <a:gd name="f865" fmla="val 1062"/>
                  <a:gd name="f866" fmla="val 140"/>
                  <a:gd name="f867" fmla="val 1069"/>
                  <a:gd name="f868" fmla="val 124"/>
                  <a:gd name="f869" fmla="val 1068"/>
                  <a:gd name="f870" fmla="val 1066"/>
                  <a:gd name="f871" fmla="val 118"/>
                  <a:gd name="f872" fmla="val 1047"/>
                  <a:gd name="f873" fmla="val 119"/>
                  <a:gd name="f874" fmla="val 1036"/>
                  <a:gd name="f875" fmla="val 1029"/>
                  <a:gd name="f876" fmla="val 1016"/>
                  <a:gd name="f877" fmla="val 115"/>
                  <a:gd name="f878" fmla="val 1008"/>
                  <a:gd name="f879" fmla="val 143"/>
                  <a:gd name="f880" fmla="val 999"/>
                  <a:gd name="f881" fmla="val 154"/>
                  <a:gd name="f882" fmla="val 161"/>
                  <a:gd name="f883" fmla="val 187"/>
                  <a:gd name="f884" fmla="val 969"/>
                  <a:gd name="f885" fmla="val 192"/>
                  <a:gd name="f886" fmla="val 937"/>
                  <a:gd name="f887" fmla="val 188"/>
                  <a:gd name="f888" fmla="val 191"/>
                  <a:gd name="f889" fmla="val 200"/>
                  <a:gd name="f890" fmla="val 897"/>
                  <a:gd name="f891" fmla="val 889"/>
                  <a:gd name="f892" fmla="val 215"/>
                  <a:gd name="f893" fmla="val 877"/>
                  <a:gd name="f894" fmla="val 871"/>
                  <a:gd name="f895" fmla="val 860"/>
                  <a:gd name="f896" fmla="val 223"/>
                  <a:gd name="f897" fmla="val 848"/>
                  <a:gd name="f898" fmla="val 231"/>
                  <a:gd name="f899" fmla="val 845"/>
                  <a:gd name="f900" fmla="val 237"/>
                  <a:gd name="f901" fmla="val 247"/>
                  <a:gd name="f902" fmla="val 847"/>
                  <a:gd name="f903" fmla="val 253"/>
                  <a:gd name="f904" fmla="val 262"/>
                  <a:gd name="f905" fmla="val 840"/>
                  <a:gd name="f906" fmla="val 268"/>
                  <a:gd name="f907" fmla="val 816"/>
                  <a:gd name="f908" fmla="val 266"/>
                  <a:gd name="f909" fmla="val 810"/>
                  <a:gd name="f910" fmla="val 799"/>
                  <a:gd name="f911" fmla="val 263"/>
                  <a:gd name="f912" fmla="val 787"/>
                  <a:gd name="f913" fmla="val 267"/>
                  <a:gd name="f914" fmla="val 775"/>
                  <a:gd name="f915" fmla="val 269"/>
                  <a:gd name="f916" fmla="val 773"/>
                  <a:gd name="f917" fmla="val 273"/>
                  <a:gd name="f918" fmla="val 274"/>
                  <a:gd name="f919" fmla="val 769"/>
                  <a:gd name="f920" fmla="val 275"/>
                  <a:gd name="f921" fmla="val 766"/>
                  <a:gd name="f922" fmla="val 758"/>
                  <a:gd name="f923" fmla="val 265"/>
                  <a:gd name="f924" fmla="val 284"/>
                  <a:gd name="f925" fmla="val 283"/>
                  <a:gd name="f926" fmla="val 723"/>
                  <a:gd name="f927" fmla="val 722"/>
                  <a:gd name="f928" fmla="val 721"/>
                  <a:gd name="f929" fmla="val 717"/>
                  <a:gd name="f930" fmla="val 713"/>
                  <a:gd name="f931" fmla="val 710"/>
                  <a:gd name="f932" fmla="val 708"/>
                  <a:gd name="f933" fmla="val 704"/>
                  <a:gd name="f934" fmla="val 703"/>
                  <a:gd name="f935" fmla="val 257"/>
                  <a:gd name="f936" fmla="val 246"/>
                  <a:gd name="f937" fmla="val 701"/>
                  <a:gd name="f938" fmla="val 229"/>
                  <a:gd name="f939" fmla="val 698"/>
                  <a:gd name="f940" fmla="val 225"/>
                  <a:gd name="f941" fmla="val 218"/>
                  <a:gd name="f942" fmla="val 217"/>
                  <a:gd name="f943" fmla="val 189"/>
                  <a:gd name="f944" fmla="val 181"/>
                  <a:gd name="f945" fmla="val 653"/>
                  <a:gd name="f946" fmla="val 644"/>
                  <a:gd name="f947" fmla="val 605"/>
                  <a:gd name="f948" fmla="val 163"/>
                  <a:gd name="f949" fmla="val 596"/>
                  <a:gd name="f950" fmla="val 583"/>
                  <a:gd name="f951" fmla="val 567"/>
                  <a:gd name="f952" fmla="val 183"/>
                  <a:gd name="f953" fmla="val 556"/>
                  <a:gd name="f954" fmla="val 550"/>
                  <a:gd name="f955" fmla="val 542"/>
                  <a:gd name="f956" fmla="val 533"/>
                  <a:gd name="f957" fmla="val 524"/>
                  <a:gd name="f958" fmla="val 228"/>
                  <a:gd name="f959" fmla="val 518"/>
                  <a:gd name="f960" fmla="val 239"/>
                  <a:gd name="f961" fmla="val 511"/>
                  <a:gd name="f962" fmla="val 510"/>
                  <a:gd name="f963" fmla="val 276"/>
                  <a:gd name="f964" fmla="val 519"/>
                  <a:gd name="f965" fmla="val 292"/>
                  <a:gd name="f966" fmla="val 300"/>
                  <a:gd name="f967" fmla="val 304"/>
                  <a:gd name="f968" fmla="val 535"/>
                  <a:gd name="f969" fmla="val 309"/>
                  <a:gd name="f970" fmla="val 314"/>
                  <a:gd name="f971" fmla="val 540"/>
                  <a:gd name="f972" fmla="val 331"/>
                  <a:gd name="f973" fmla="val 545"/>
                  <a:gd name="f974" fmla="val 339"/>
                  <a:gd name="f975" fmla="val 546"/>
                  <a:gd name="f976" fmla="val 372"/>
                  <a:gd name="f977" fmla="val 390"/>
                  <a:gd name="f978" fmla="val 529"/>
                  <a:gd name="f979" fmla="val 401"/>
                  <a:gd name="f980" fmla="val 525"/>
                  <a:gd name="f981" fmla="val 522"/>
                  <a:gd name="f982" fmla="val 407"/>
                  <a:gd name="f983" fmla="val 515"/>
                  <a:gd name="f984" fmla="val 415"/>
                  <a:gd name="f985" fmla="val 419"/>
                  <a:gd name="f986" fmla="val 436"/>
                  <a:gd name="f987" fmla="val 498"/>
                  <a:gd name="f988" fmla="val 505"/>
                  <a:gd name="f989" fmla="val 475"/>
                  <a:gd name="f990" fmla="val 513"/>
                  <a:gd name="f991" fmla="val 472"/>
                  <a:gd name="f992" fmla="val 520"/>
                  <a:gd name="f993" fmla="val 471"/>
                  <a:gd name="f994" fmla="val 489"/>
                  <a:gd name="f995" fmla="val 559"/>
                  <a:gd name="f996" fmla="val 562"/>
                  <a:gd name="f997" fmla="val 445"/>
                  <a:gd name="f998" fmla="val 441"/>
                  <a:gd name="f999" fmla="val 570"/>
                  <a:gd name="f1000" fmla="val 432"/>
                  <a:gd name="f1001" fmla="val 576"/>
                  <a:gd name="f1002" fmla="val 424"/>
                  <a:gd name="f1003" fmla="val 575"/>
                  <a:gd name="f1004" fmla="val 421"/>
                  <a:gd name="f1005" fmla="val 571"/>
                  <a:gd name="f1006" fmla="val 414"/>
                  <a:gd name="f1007" fmla="val 554"/>
                  <a:gd name="f1008" fmla="val 406"/>
                  <a:gd name="f1009" fmla="val 551"/>
                  <a:gd name="f1010" fmla="val 400"/>
                  <a:gd name="f1011" fmla="val 547"/>
                  <a:gd name="f1012" fmla="val 396"/>
                  <a:gd name="f1013" fmla="val 395"/>
                  <a:gd name="f1014" fmla="val 393"/>
                  <a:gd name="f1015" fmla="val 531"/>
                  <a:gd name="f1016" fmla="val 527"/>
                  <a:gd name="f1017" fmla="val 364"/>
                  <a:gd name="f1018" fmla="val 516"/>
                  <a:gd name="f1019" fmla="val 523"/>
                  <a:gd name="f1020" fmla="val 329"/>
                  <a:gd name="f1021" fmla="val 319"/>
                  <a:gd name="f1022" fmla="val 310"/>
                  <a:gd name="f1023" fmla="val 302"/>
                  <a:gd name="f1024" fmla="val 290"/>
                  <a:gd name="f1025" fmla="val 278"/>
                  <a:gd name="f1026" fmla="val 560"/>
                  <a:gd name="f1027" fmla="val 552"/>
                  <a:gd name="f1028" fmla="val 197"/>
                  <a:gd name="f1029" fmla="val 558"/>
                  <a:gd name="f1030" fmla="val 194"/>
                  <a:gd name="f1031" fmla="val 564"/>
                  <a:gd name="f1032" fmla="val 587"/>
                  <a:gd name="f1033" fmla="val 594"/>
                  <a:gd name="f1034" fmla="val 185"/>
                  <a:gd name="f1035" fmla="val 601"/>
                  <a:gd name="f1036" fmla="val 604"/>
                  <a:gd name="f1037" fmla="val 620"/>
                  <a:gd name="f1038" fmla="val 133"/>
                  <a:gd name="f1039" fmla="val 126"/>
                  <a:gd name="f1040" fmla="val 648"/>
                  <a:gd name="f1041" fmla="val 651"/>
                  <a:gd name="f1042" fmla="val 105"/>
                  <a:gd name="f1043" fmla="val 99"/>
                  <a:gd name="f1044" fmla="val 77"/>
                  <a:gd name="f1045" fmla="val 640"/>
                  <a:gd name="f1046" fmla="val 69"/>
                  <a:gd name="f1047" fmla="val 649"/>
                  <a:gd name="f1048" fmla="val 44"/>
                  <a:gd name="f1049" fmla="val 41"/>
                  <a:gd name="f1050" fmla="val 663"/>
                  <a:gd name="f1051" fmla="val 664"/>
                  <a:gd name="f1052" fmla="val 666"/>
                  <a:gd name="f1053" fmla="val 17"/>
                  <a:gd name="f1054" fmla="val 686"/>
                  <a:gd name="f1055" fmla="val 10"/>
                  <a:gd name="f1056" fmla="val 6"/>
                  <a:gd name="f1057" fmla="val 736"/>
                  <a:gd name="f1058" fmla="+- 0 0 -90"/>
                  <a:gd name="f1059" fmla="*/ f4 1 1431"/>
                  <a:gd name="f1060" fmla="*/ f5 1 1678"/>
                  <a:gd name="f1061" fmla="+- f8 0 f6"/>
                  <a:gd name="f1062" fmla="+- f7 0 f6"/>
                  <a:gd name="f1063" fmla="*/ f1058 f0 1"/>
                  <a:gd name="f1064" fmla="*/ f1062 1 1431"/>
                  <a:gd name="f1065" fmla="*/ f1061 1 1678"/>
                  <a:gd name="f1066" fmla="*/ f1063 1 f3"/>
                  <a:gd name="f1067" fmla="*/ 830 1 f1064"/>
                  <a:gd name="f1068" fmla="*/ 55 1 f1065"/>
                  <a:gd name="f1069" fmla="*/ 966 1 f1064"/>
                  <a:gd name="f1070" fmla="*/ 24 1 f1065"/>
                  <a:gd name="f1071" fmla="*/ 1022 1 f1064"/>
                  <a:gd name="f1072" fmla="*/ 26 1 f1065"/>
                  <a:gd name="f1073" fmla="*/ 1104 1 f1064"/>
                  <a:gd name="f1074" fmla="*/ 112 1 f1065"/>
                  <a:gd name="f1075" fmla="*/ 1203 1 f1064"/>
                  <a:gd name="f1076" fmla="*/ 138 1 f1065"/>
                  <a:gd name="f1077" fmla="*/ 1237 1 f1064"/>
                  <a:gd name="f1078" fmla="*/ 207 1 f1065"/>
                  <a:gd name="f1079" fmla="*/ 1274 1 f1064"/>
                  <a:gd name="f1080" fmla="*/ 221 1 f1065"/>
                  <a:gd name="f1081" fmla="*/ 1342 1 f1064"/>
                  <a:gd name="f1082" fmla="*/ 256 1 f1065"/>
                  <a:gd name="f1083" fmla="*/ 1266 1 f1064"/>
                  <a:gd name="f1084" fmla="*/ 352 1 f1065"/>
                  <a:gd name="f1085" fmla="*/ 1150 1 f1064"/>
                  <a:gd name="f1086" fmla="*/ 442 1 f1065"/>
                  <a:gd name="f1087" fmla="*/ 1075 1 f1064"/>
                  <a:gd name="f1088" fmla="*/ 590 1 f1065"/>
                  <a:gd name="f1089" fmla="*/ 1111 1 f1064"/>
                  <a:gd name="f1090" fmla="*/ 638 1 f1065"/>
                  <a:gd name="f1091" fmla="*/ 1194 1 f1064"/>
                  <a:gd name="f1092" fmla="*/ 641 1 f1065"/>
                  <a:gd name="f1093" fmla="*/ 1327 1 f1064"/>
                  <a:gd name="f1094" fmla="*/ 674 1 f1065"/>
                  <a:gd name="f1095" fmla="*/ 1347 1 f1064"/>
                  <a:gd name="f1096" fmla="*/ 759 1 f1065"/>
                  <a:gd name="f1097" fmla="*/ 1419 1 f1064"/>
                  <a:gd name="f1098" fmla="*/ 862 1 f1065"/>
                  <a:gd name="f1099" fmla="*/ 1337 1 f1064"/>
                  <a:gd name="f1100" fmla="*/ 1001 1 f1065"/>
                  <a:gd name="f1101" fmla="*/ 1394 1 f1064"/>
                  <a:gd name="f1102" fmla="*/ 1080 1 f1065"/>
                  <a:gd name="f1103" fmla="*/ 1273 1 f1064"/>
                  <a:gd name="f1104" fmla="*/ 1142 1 f1065"/>
                  <a:gd name="f1105" fmla="*/ 1211 1 f1064"/>
                  <a:gd name="f1106" fmla="*/ 1167 1 f1065"/>
                  <a:gd name="f1107" fmla="*/ 1178 1 f1064"/>
                  <a:gd name="f1108" fmla="*/ 1207 1 f1065"/>
                  <a:gd name="f1109" fmla="*/ 1214 1 f1064"/>
                  <a:gd name="f1110" fmla="*/ 1355 1 f1065"/>
                  <a:gd name="f1111" fmla="*/ 1224 1 f1064"/>
                  <a:gd name="f1112" fmla="*/ 1409 1 f1065"/>
                  <a:gd name="f1113" fmla="*/ 1094 1 f1064"/>
                  <a:gd name="f1114" fmla="*/ 1428 1 f1065"/>
                  <a:gd name="f1115" fmla="*/ 988 1 f1064"/>
                  <a:gd name="f1116" fmla="*/ 1454 1 f1065"/>
                  <a:gd name="f1117" fmla="*/ 947 1 f1064"/>
                  <a:gd name="f1118" fmla="*/ 1506 1 f1065"/>
                  <a:gd name="f1119" fmla="*/ 909 1 f1064"/>
                  <a:gd name="f1120" fmla="*/ 1484 1 f1065"/>
                  <a:gd name="f1121" fmla="*/ 895 1 f1064"/>
                  <a:gd name="f1122" fmla="*/ 1572 1 f1065"/>
                  <a:gd name="f1123" fmla="*/ 846 1 f1064"/>
                  <a:gd name="f1124" fmla="*/ 1578 1 f1065"/>
                  <a:gd name="f1125" fmla="*/ 1658 1 f1065"/>
                  <a:gd name="f1126" fmla="*/ 750 1 f1064"/>
                  <a:gd name="f1127" fmla="*/ 1616 1 f1065"/>
                  <a:gd name="f1128" fmla="*/ 706 1 f1064"/>
                  <a:gd name="f1129" fmla="*/ 1607 1 f1065"/>
                  <a:gd name="f1130" fmla="*/ 624 1 f1064"/>
                  <a:gd name="f1131" fmla="*/ 1668 1 f1065"/>
                  <a:gd name="f1132" fmla="*/ 553 1 f1064"/>
                  <a:gd name="f1133" fmla="*/ 1656 1 f1065"/>
                  <a:gd name="f1134" fmla="*/ 499 1 f1064"/>
                  <a:gd name="f1135" fmla="*/ 1637 1 f1065"/>
                  <a:gd name="f1136" fmla="*/ 455 1 f1064"/>
                  <a:gd name="f1137" fmla="*/ 1577 1 f1065"/>
                  <a:gd name="f1138" fmla="*/ 468 1 f1064"/>
                  <a:gd name="f1139" fmla="*/ 1513 1 f1065"/>
                  <a:gd name="f1140" fmla="*/ 345 1 f1064"/>
                  <a:gd name="f1141" fmla="*/ 1457 1 f1065"/>
                  <a:gd name="f1142" fmla="*/ 212 1 f1064"/>
                  <a:gd name="f1143" fmla="*/ 1458 1 f1065"/>
                  <a:gd name="f1144" fmla="*/ 117 1 f1064"/>
                  <a:gd name="f1145" fmla="*/ 1400 1 f1065"/>
                  <a:gd name="f1146" fmla="*/ 97 1 f1064"/>
                  <a:gd name="f1147" fmla="*/ 1312 1 f1065"/>
                  <a:gd name="f1148" fmla="*/ 11 1 f1064"/>
                  <a:gd name="f1149" fmla="*/ 1270 1 f1065"/>
                  <a:gd name="f1150" fmla="*/ 75 1 f1064"/>
                  <a:gd name="f1151" fmla="*/ 1221 1 f1065"/>
                  <a:gd name="f1152" fmla="*/ 148 1 f1064"/>
                  <a:gd name="f1153" fmla="*/ 1144 1 f1065"/>
                  <a:gd name="f1154" fmla="*/ 164 1 f1064"/>
                  <a:gd name="f1155" fmla="*/ 1089 1 f1065"/>
                  <a:gd name="f1156" fmla="*/ 131 1 f1064"/>
                  <a:gd name="f1157" fmla="*/ 1069 1 f1065"/>
                  <a:gd name="f1158" fmla="*/ 169 1 f1064"/>
                  <a:gd name="f1159" fmla="*/ 983 1 f1065"/>
                  <a:gd name="f1160" fmla="*/ 215 1 f1064"/>
                  <a:gd name="f1161" fmla="*/ 854 1 f1065"/>
                  <a:gd name="f1162" fmla="*/ 267 1 f1064"/>
                  <a:gd name="f1163" fmla="*/ 775 1 f1065"/>
                  <a:gd name="f1164" fmla="*/ 270 1 f1064"/>
                  <a:gd name="f1165" fmla="*/ 722 1 f1065"/>
                  <a:gd name="f1166" fmla="*/ 221 1 f1064"/>
                  <a:gd name="f1167" fmla="*/ 701 1 f1065"/>
                  <a:gd name="f1168" fmla="*/ 168 1 f1064"/>
                  <a:gd name="f1169" fmla="*/ 261 1 f1064"/>
                  <a:gd name="f1170" fmla="*/ 511 1 f1065"/>
                  <a:gd name="f1171" fmla="*/ 390 1 f1064"/>
                  <a:gd name="f1172" fmla="*/ 529 1 f1065"/>
                  <a:gd name="f1173" fmla="*/ 526 1 f1064"/>
                  <a:gd name="f1174" fmla="*/ 473 1 f1065"/>
                  <a:gd name="f1175" fmla="*/ 554 1 f1064"/>
                  <a:gd name="f1176" fmla="*/ 406 1 f1065"/>
                  <a:gd name="f1177" fmla="*/ 543 1 f1064"/>
                  <a:gd name="f1178" fmla="*/ 302 1 f1065"/>
                  <a:gd name="f1179" fmla="*/ 587 1 f1064"/>
                  <a:gd name="f1180" fmla="*/ 189 1 f1065"/>
                  <a:gd name="f1181" fmla="*/ 641 1 f1064"/>
                  <a:gd name="f1182" fmla="*/ 94 1 f1065"/>
                  <a:gd name="f1183" fmla="*/ 698 1 f1064"/>
                  <a:gd name="f1184" fmla="*/ 17 1 f1065"/>
                  <a:gd name="f1185" fmla="*/ 0 1 f1064"/>
                  <a:gd name="f1186" fmla="*/ f7 1 f1064"/>
                  <a:gd name="f1187" fmla="*/ 0 1 f1065"/>
                  <a:gd name="f1188" fmla="*/ f8 1 f1065"/>
                  <a:gd name="f1189" fmla="+- f1066 0 f1"/>
                  <a:gd name="f1190" fmla="*/ f1185 f1059 1"/>
                  <a:gd name="f1191" fmla="*/ f1186 f1059 1"/>
                  <a:gd name="f1192" fmla="*/ f1188 f1060 1"/>
                  <a:gd name="f1193" fmla="*/ f1187 f1060 1"/>
                  <a:gd name="f1194" fmla="*/ f1067 f1059 1"/>
                  <a:gd name="f1195" fmla="*/ f1068 f1060 1"/>
                  <a:gd name="f1196" fmla="*/ f1069 f1059 1"/>
                  <a:gd name="f1197" fmla="*/ f1070 f1060 1"/>
                  <a:gd name="f1198" fmla="*/ f1071 f1059 1"/>
                  <a:gd name="f1199" fmla="*/ f1072 f1060 1"/>
                  <a:gd name="f1200" fmla="*/ f1073 f1059 1"/>
                  <a:gd name="f1201" fmla="*/ f1074 f1060 1"/>
                  <a:gd name="f1202" fmla="*/ f1075 f1059 1"/>
                  <a:gd name="f1203" fmla="*/ f1076 f1060 1"/>
                  <a:gd name="f1204" fmla="*/ f1077 f1059 1"/>
                  <a:gd name="f1205" fmla="*/ f1078 f1060 1"/>
                  <a:gd name="f1206" fmla="*/ f1079 f1059 1"/>
                  <a:gd name="f1207" fmla="*/ f1080 f1060 1"/>
                  <a:gd name="f1208" fmla="*/ f1081 f1059 1"/>
                  <a:gd name="f1209" fmla="*/ f1082 f1060 1"/>
                  <a:gd name="f1210" fmla="*/ f1083 f1059 1"/>
                  <a:gd name="f1211" fmla="*/ f1084 f1060 1"/>
                  <a:gd name="f1212" fmla="*/ f1085 f1059 1"/>
                  <a:gd name="f1213" fmla="*/ f1086 f1060 1"/>
                  <a:gd name="f1214" fmla="*/ f1087 f1059 1"/>
                  <a:gd name="f1215" fmla="*/ f1088 f1060 1"/>
                  <a:gd name="f1216" fmla="*/ f1089 f1059 1"/>
                  <a:gd name="f1217" fmla="*/ f1090 f1060 1"/>
                  <a:gd name="f1218" fmla="*/ f1091 f1059 1"/>
                  <a:gd name="f1219" fmla="*/ f1092 f1060 1"/>
                  <a:gd name="f1220" fmla="*/ f1093 f1059 1"/>
                  <a:gd name="f1221" fmla="*/ f1094 f1060 1"/>
                  <a:gd name="f1222" fmla="*/ f1095 f1059 1"/>
                  <a:gd name="f1223" fmla="*/ f1096 f1060 1"/>
                  <a:gd name="f1224" fmla="*/ f1097 f1059 1"/>
                  <a:gd name="f1225" fmla="*/ f1098 f1060 1"/>
                  <a:gd name="f1226" fmla="*/ f1099 f1059 1"/>
                  <a:gd name="f1227" fmla="*/ f1100 f1060 1"/>
                  <a:gd name="f1228" fmla="*/ f1101 f1059 1"/>
                  <a:gd name="f1229" fmla="*/ f1102 f1060 1"/>
                  <a:gd name="f1230" fmla="*/ f1103 f1059 1"/>
                  <a:gd name="f1231" fmla="*/ f1104 f1060 1"/>
                  <a:gd name="f1232" fmla="*/ f1105 f1059 1"/>
                  <a:gd name="f1233" fmla="*/ f1106 f1060 1"/>
                  <a:gd name="f1234" fmla="*/ f1107 f1059 1"/>
                  <a:gd name="f1235" fmla="*/ f1108 f1060 1"/>
                  <a:gd name="f1236" fmla="*/ f1109 f1059 1"/>
                  <a:gd name="f1237" fmla="*/ f1110 f1060 1"/>
                  <a:gd name="f1238" fmla="*/ f1111 f1059 1"/>
                  <a:gd name="f1239" fmla="*/ f1112 f1060 1"/>
                  <a:gd name="f1240" fmla="*/ f1113 f1059 1"/>
                  <a:gd name="f1241" fmla="*/ f1114 f1060 1"/>
                  <a:gd name="f1242" fmla="*/ f1115 f1059 1"/>
                  <a:gd name="f1243" fmla="*/ f1116 f1060 1"/>
                  <a:gd name="f1244" fmla="*/ f1117 f1059 1"/>
                  <a:gd name="f1245" fmla="*/ f1118 f1060 1"/>
                  <a:gd name="f1246" fmla="*/ f1119 f1059 1"/>
                  <a:gd name="f1247" fmla="*/ f1120 f1060 1"/>
                  <a:gd name="f1248" fmla="*/ f1121 f1059 1"/>
                  <a:gd name="f1249" fmla="*/ f1122 f1060 1"/>
                  <a:gd name="f1250" fmla="*/ f1123 f1059 1"/>
                  <a:gd name="f1251" fmla="*/ f1124 f1060 1"/>
                  <a:gd name="f1252" fmla="*/ f1125 f1060 1"/>
                  <a:gd name="f1253" fmla="*/ f1126 f1059 1"/>
                  <a:gd name="f1254" fmla="*/ f1127 f1060 1"/>
                  <a:gd name="f1255" fmla="*/ f1128 f1059 1"/>
                  <a:gd name="f1256" fmla="*/ f1129 f1060 1"/>
                  <a:gd name="f1257" fmla="*/ f1130 f1059 1"/>
                  <a:gd name="f1258" fmla="*/ f1131 f1060 1"/>
                  <a:gd name="f1259" fmla="*/ f1132 f1059 1"/>
                  <a:gd name="f1260" fmla="*/ f1133 f1060 1"/>
                  <a:gd name="f1261" fmla="*/ f1134 f1059 1"/>
                  <a:gd name="f1262" fmla="*/ f1135 f1060 1"/>
                  <a:gd name="f1263" fmla="*/ f1136 f1059 1"/>
                  <a:gd name="f1264" fmla="*/ f1137 f1060 1"/>
                  <a:gd name="f1265" fmla="*/ f1138 f1059 1"/>
                  <a:gd name="f1266" fmla="*/ f1139 f1060 1"/>
                  <a:gd name="f1267" fmla="*/ f1140 f1059 1"/>
                  <a:gd name="f1268" fmla="*/ f1141 f1060 1"/>
                  <a:gd name="f1269" fmla="*/ f1142 f1059 1"/>
                  <a:gd name="f1270" fmla="*/ f1143 f1060 1"/>
                  <a:gd name="f1271" fmla="*/ f1144 f1059 1"/>
                  <a:gd name="f1272" fmla="*/ f1145 f1060 1"/>
                  <a:gd name="f1273" fmla="*/ f1146 f1059 1"/>
                  <a:gd name="f1274" fmla="*/ f1147 f1060 1"/>
                  <a:gd name="f1275" fmla="*/ f1148 f1059 1"/>
                  <a:gd name="f1276" fmla="*/ f1149 f1060 1"/>
                  <a:gd name="f1277" fmla="*/ f1150 f1059 1"/>
                  <a:gd name="f1278" fmla="*/ f1151 f1060 1"/>
                  <a:gd name="f1279" fmla="*/ f1152 f1059 1"/>
                  <a:gd name="f1280" fmla="*/ f1153 f1060 1"/>
                  <a:gd name="f1281" fmla="*/ f1154 f1059 1"/>
                  <a:gd name="f1282" fmla="*/ f1155 f1060 1"/>
                  <a:gd name="f1283" fmla="*/ f1156 f1059 1"/>
                  <a:gd name="f1284" fmla="*/ f1157 f1060 1"/>
                  <a:gd name="f1285" fmla="*/ f1158 f1059 1"/>
                  <a:gd name="f1286" fmla="*/ f1159 f1060 1"/>
                  <a:gd name="f1287" fmla="*/ f1160 f1059 1"/>
                  <a:gd name="f1288" fmla="*/ f1161 f1060 1"/>
                  <a:gd name="f1289" fmla="*/ f1162 f1059 1"/>
                  <a:gd name="f1290" fmla="*/ f1163 f1060 1"/>
                  <a:gd name="f1291" fmla="*/ f1164 f1059 1"/>
                  <a:gd name="f1292" fmla="*/ f1165 f1060 1"/>
                  <a:gd name="f1293" fmla="*/ f1166 f1059 1"/>
                  <a:gd name="f1294" fmla="*/ f1167 f1060 1"/>
                  <a:gd name="f1295" fmla="*/ f1168 f1059 1"/>
                  <a:gd name="f1296" fmla="*/ f1169 f1059 1"/>
                  <a:gd name="f1297" fmla="*/ f1170 f1060 1"/>
                  <a:gd name="f1298" fmla="*/ f1171 f1059 1"/>
                  <a:gd name="f1299" fmla="*/ f1172 f1060 1"/>
                  <a:gd name="f1300" fmla="*/ f1173 f1059 1"/>
                  <a:gd name="f1301" fmla="*/ f1174 f1060 1"/>
                  <a:gd name="f1302" fmla="*/ f1175 f1059 1"/>
                  <a:gd name="f1303" fmla="*/ f1176 f1060 1"/>
                  <a:gd name="f1304" fmla="*/ f1177 f1059 1"/>
                  <a:gd name="f1305" fmla="*/ f1178 f1060 1"/>
                  <a:gd name="f1306" fmla="*/ f1179 f1059 1"/>
                  <a:gd name="f1307" fmla="*/ f1180 f1060 1"/>
                  <a:gd name="f1308" fmla="*/ f1181 f1059 1"/>
                  <a:gd name="f1309" fmla="*/ f1182 f1060 1"/>
                  <a:gd name="f1310" fmla="*/ f1183 f1059 1"/>
                  <a:gd name="f1311" fmla="*/ f1184 f106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189">
                    <a:pos x="f1194" y="f1195"/>
                  </a:cxn>
                  <a:cxn ang="f1189">
                    <a:pos x="f1196" y="f1197"/>
                  </a:cxn>
                  <a:cxn ang="f1189">
                    <a:pos x="f1198" y="f1199"/>
                  </a:cxn>
                  <a:cxn ang="f1189">
                    <a:pos x="f1200" y="f1201"/>
                  </a:cxn>
                  <a:cxn ang="f1189">
                    <a:pos x="f1202" y="f1203"/>
                  </a:cxn>
                  <a:cxn ang="f1189">
                    <a:pos x="f1204" y="f1205"/>
                  </a:cxn>
                  <a:cxn ang="f1189">
                    <a:pos x="f1206" y="f1207"/>
                  </a:cxn>
                  <a:cxn ang="f1189">
                    <a:pos x="f1208" y="f1209"/>
                  </a:cxn>
                  <a:cxn ang="f1189">
                    <a:pos x="f1210" y="f1211"/>
                  </a:cxn>
                  <a:cxn ang="f1189">
                    <a:pos x="f1212" y="f1213"/>
                  </a:cxn>
                  <a:cxn ang="f1189">
                    <a:pos x="f1214" y="f1215"/>
                  </a:cxn>
                  <a:cxn ang="f1189">
                    <a:pos x="f1216" y="f1217"/>
                  </a:cxn>
                  <a:cxn ang="f1189">
                    <a:pos x="f1218" y="f1219"/>
                  </a:cxn>
                  <a:cxn ang="f1189">
                    <a:pos x="f1220" y="f1221"/>
                  </a:cxn>
                  <a:cxn ang="f1189">
                    <a:pos x="f1222" y="f1223"/>
                  </a:cxn>
                  <a:cxn ang="f1189">
                    <a:pos x="f1224" y="f1225"/>
                  </a:cxn>
                  <a:cxn ang="f1189">
                    <a:pos x="f1226" y="f1227"/>
                  </a:cxn>
                  <a:cxn ang="f1189">
                    <a:pos x="f1228" y="f1229"/>
                  </a:cxn>
                  <a:cxn ang="f1189">
                    <a:pos x="f1230" y="f1231"/>
                  </a:cxn>
                  <a:cxn ang="f1189">
                    <a:pos x="f1232" y="f1233"/>
                  </a:cxn>
                  <a:cxn ang="f1189">
                    <a:pos x="f1234" y="f1235"/>
                  </a:cxn>
                  <a:cxn ang="f1189">
                    <a:pos x="f1236" y="f1237"/>
                  </a:cxn>
                  <a:cxn ang="f1189">
                    <a:pos x="f1238" y="f1239"/>
                  </a:cxn>
                  <a:cxn ang="f1189">
                    <a:pos x="f1240" y="f1241"/>
                  </a:cxn>
                  <a:cxn ang="f1189">
                    <a:pos x="f1242" y="f1243"/>
                  </a:cxn>
                  <a:cxn ang="f1189">
                    <a:pos x="f1244" y="f1245"/>
                  </a:cxn>
                  <a:cxn ang="f1189">
                    <a:pos x="f1246" y="f1247"/>
                  </a:cxn>
                  <a:cxn ang="f1189">
                    <a:pos x="f1248" y="f1249"/>
                  </a:cxn>
                  <a:cxn ang="f1189">
                    <a:pos x="f1250" y="f1251"/>
                  </a:cxn>
                  <a:cxn ang="f1189">
                    <a:pos x="f1194" y="f1252"/>
                  </a:cxn>
                  <a:cxn ang="f1189">
                    <a:pos x="f1253" y="f1254"/>
                  </a:cxn>
                  <a:cxn ang="f1189">
                    <a:pos x="f1255" y="f1256"/>
                  </a:cxn>
                  <a:cxn ang="f1189">
                    <a:pos x="f1257" y="f1258"/>
                  </a:cxn>
                  <a:cxn ang="f1189">
                    <a:pos x="f1259" y="f1260"/>
                  </a:cxn>
                  <a:cxn ang="f1189">
                    <a:pos x="f1261" y="f1262"/>
                  </a:cxn>
                  <a:cxn ang="f1189">
                    <a:pos x="f1263" y="f1264"/>
                  </a:cxn>
                  <a:cxn ang="f1189">
                    <a:pos x="f1265" y="f1266"/>
                  </a:cxn>
                  <a:cxn ang="f1189">
                    <a:pos x="f1267" y="f1268"/>
                  </a:cxn>
                  <a:cxn ang="f1189">
                    <a:pos x="f1269" y="f1270"/>
                  </a:cxn>
                  <a:cxn ang="f1189">
                    <a:pos x="f1271" y="f1272"/>
                  </a:cxn>
                  <a:cxn ang="f1189">
                    <a:pos x="f1273" y="f1274"/>
                  </a:cxn>
                  <a:cxn ang="f1189">
                    <a:pos x="f1275" y="f1276"/>
                  </a:cxn>
                  <a:cxn ang="f1189">
                    <a:pos x="f1277" y="f1278"/>
                  </a:cxn>
                  <a:cxn ang="f1189">
                    <a:pos x="f1279" y="f1280"/>
                  </a:cxn>
                  <a:cxn ang="f1189">
                    <a:pos x="f1281" y="f1282"/>
                  </a:cxn>
                  <a:cxn ang="f1189">
                    <a:pos x="f1283" y="f1284"/>
                  </a:cxn>
                  <a:cxn ang="f1189">
                    <a:pos x="f1285" y="f1286"/>
                  </a:cxn>
                  <a:cxn ang="f1189">
                    <a:pos x="f1287" y="f1288"/>
                  </a:cxn>
                  <a:cxn ang="f1189">
                    <a:pos x="f1289" y="f1290"/>
                  </a:cxn>
                  <a:cxn ang="f1189">
                    <a:pos x="f1291" y="f1292"/>
                  </a:cxn>
                  <a:cxn ang="f1189">
                    <a:pos x="f1293" y="f1294"/>
                  </a:cxn>
                  <a:cxn ang="f1189">
                    <a:pos x="f1295" y="f1215"/>
                  </a:cxn>
                  <a:cxn ang="f1189">
                    <a:pos x="f1296" y="f1297"/>
                  </a:cxn>
                  <a:cxn ang="f1189">
                    <a:pos x="f1298" y="f1299"/>
                  </a:cxn>
                  <a:cxn ang="f1189">
                    <a:pos x="f1300" y="f1301"/>
                  </a:cxn>
                  <a:cxn ang="f1189">
                    <a:pos x="f1302" y="f1303"/>
                  </a:cxn>
                  <a:cxn ang="f1189">
                    <a:pos x="f1304" y="f1305"/>
                  </a:cxn>
                  <a:cxn ang="f1189">
                    <a:pos x="f1306" y="f1307"/>
                  </a:cxn>
                  <a:cxn ang="f1189">
                    <a:pos x="f1308" y="f1309"/>
                  </a:cxn>
                  <a:cxn ang="f1189">
                    <a:pos x="f1310" y="f1311"/>
                  </a:cxn>
                </a:cxnLst>
                <a:rect l="f1190" t="f1193" r="f1191" b="f1192"/>
                <a:pathLst>
                  <a:path w="1431" h="1678">
                    <a:moveTo>
                      <a:pt x="f9" y="f6"/>
                    </a:moveTo>
                    <a:lnTo>
                      <a:pt x="f10" y="f11"/>
                    </a:lnTo>
                    <a:lnTo>
                      <a:pt x="f12" y="f13"/>
                    </a:lnTo>
                    <a:lnTo>
                      <a:pt x="f14" y="f15"/>
                    </a:lnTo>
                    <a:lnTo>
                      <a:pt x="f16" y="f17"/>
                    </a:lnTo>
                    <a:lnTo>
                      <a:pt x="f18" y="f19"/>
                    </a:lnTo>
                    <a:lnTo>
                      <a:pt x="f20" y="f21"/>
                    </a:lnTo>
                    <a:lnTo>
                      <a:pt x="f22" y="f23"/>
                    </a:lnTo>
                    <a:lnTo>
                      <a:pt x="f24" y="f25"/>
                    </a:lnTo>
                    <a:lnTo>
                      <a:pt x="f26" y="f27"/>
                    </a:lnTo>
                    <a:lnTo>
                      <a:pt x="f28" y="f29"/>
                    </a:lnTo>
                    <a:lnTo>
                      <a:pt x="f30" y="f31"/>
                    </a:lnTo>
                    <a:lnTo>
                      <a:pt x="f32" y="f33"/>
                    </a:lnTo>
                    <a:lnTo>
                      <a:pt x="f34" y="f35"/>
                    </a:lnTo>
                    <a:lnTo>
                      <a:pt x="f36" y="f37"/>
                    </a:lnTo>
                    <a:lnTo>
                      <a:pt x="f38" y="f39"/>
                    </a:lnTo>
                    <a:lnTo>
                      <a:pt x="f40" y="f41"/>
                    </a:lnTo>
                    <a:lnTo>
                      <a:pt x="f42" y="f43"/>
                    </a:lnTo>
                    <a:lnTo>
                      <a:pt x="f44" y="f45"/>
                    </a:lnTo>
                    <a:lnTo>
                      <a:pt x="f46" y="f47"/>
                    </a:lnTo>
                    <a:lnTo>
                      <a:pt x="f48" y="f49"/>
                    </a:lnTo>
                    <a:lnTo>
                      <a:pt x="f50" y="f45"/>
                    </a:lnTo>
                    <a:lnTo>
                      <a:pt x="f51" y="f43"/>
                    </a:lnTo>
                    <a:lnTo>
                      <a:pt x="f52" y="f53"/>
                    </a:lnTo>
                    <a:lnTo>
                      <a:pt x="f54" y="f55"/>
                    </a:lnTo>
                    <a:lnTo>
                      <a:pt x="f56" y="f57"/>
                    </a:lnTo>
                    <a:lnTo>
                      <a:pt x="f58" y="f59"/>
                    </a:lnTo>
                    <a:lnTo>
                      <a:pt x="f60" y="f61"/>
                    </a:lnTo>
                    <a:lnTo>
                      <a:pt x="f62" y="f63"/>
                    </a:lnTo>
                    <a:lnTo>
                      <a:pt x="f64" y="f65"/>
                    </a:lnTo>
                    <a:lnTo>
                      <a:pt x="f66" y="f67"/>
                    </a:lnTo>
                    <a:lnTo>
                      <a:pt x="f68" y="f69"/>
                    </a:lnTo>
                    <a:lnTo>
                      <a:pt x="f70" y="f71"/>
                    </a:lnTo>
                    <a:lnTo>
                      <a:pt x="f72" y="f73"/>
                    </a:lnTo>
                    <a:lnTo>
                      <a:pt x="f70" y="f29"/>
                    </a:lnTo>
                    <a:lnTo>
                      <a:pt x="f74" y="f59"/>
                    </a:lnTo>
                    <a:lnTo>
                      <a:pt x="f74" y="f75"/>
                    </a:lnTo>
                    <a:lnTo>
                      <a:pt x="f72" y="f76"/>
                    </a:lnTo>
                    <a:lnTo>
                      <a:pt x="f77" y="f35"/>
                    </a:lnTo>
                    <a:lnTo>
                      <a:pt x="f78" y="f79"/>
                    </a:lnTo>
                    <a:lnTo>
                      <a:pt x="f80" y="f81"/>
                    </a:lnTo>
                    <a:lnTo>
                      <a:pt x="f82" y="f83"/>
                    </a:lnTo>
                    <a:lnTo>
                      <a:pt x="f84" y="f25"/>
                    </a:lnTo>
                    <a:lnTo>
                      <a:pt x="f85" y="f63"/>
                    </a:lnTo>
                    <a:lnTo>
                      <a:pt x="f86" y="f71"/>
                    </a:lnTo>
                    <a:lnTo>
                      <a:pt x="f87" y="f71"/>
                    </a:lnTo>
                    <a:lnTo>
                      <a:pt x="f88" y="f21"/>
                    </a:lnTo>
                    <a:lnTo>
                      <a:pt x="f89" y="f63"/>
                    </a:lnTo>
                    <a:lnTo>
                      <a:pt x="f90" y="f23"/>
                    </a:lnTo>
                    <a:lnTo>
                      <a:pt x="f91" y="f27"/>
                    </a:lnTo>
                    <a:lnTo>
                      <a:pt x="f92" y="f93"/>
                    </a:lnTo>
                    <a:lnTo>
                      <a:pt x="f94" y="f95"/>
                    </a:lnTo>
                    <a:lnTo>
                      <a:pt x="f96" y="f37"/>
                    </a:lnTo>
                    <a:lnTo>
                      <a:pt x="f97" y="f53"/>
                    </a:lnTo>
                    <a:lnTo>
                      <a:pt x="f98" y="f99"/>
                    </a:lnTo>
                    <a:lnTo>
                      <a:pt x="f98" y="f100"/>
                    </a:lnTo>
                    <a:lnTo>
                      <a:pt x="f97" y="f101"/>
                    </a:lnTo>
                    <a:lnTo>
                      <a:pt x="f97" y="f102"/>
                    </a:lnTo>
                    <a:lnTo>
                      <a:pt x="f103" y="f104"/>
                    </a:lnTo>
                    <a:lnTo>
                      <a:pt x="f105" y="f106"/>
                    </a:lnTo>
                    <a:lnTo>
                      <a:pt x="f107" y="f108"/>
                    </a:lnTo>
                    <a:lnTo>
                      <a:pt x="f109" y="f110"/>
                    </a:lnTo>
                    <a:lnTo>
                      <a:pt x="f111" y="f112"/>
                    </a:lnTo>
                    <a:lnTo>
                      <a:pt x="f113" y="f114"/>
                    </a:lnTo>
                    <a:lnTo>
                      <a:pt x="f115" y="f116"/>
                    </a:lnTo>
                    <a:lnTo>
                      <a:pt x="f117" y="f118"/>
                    </a:lnTo>
                    <a:lnTo>
                      <a:pt x="f119" y="f120"/>
                    </a:lnTo>
                    <a:lnTo>
                      <a:pt x="f121" y="f122"/>
                    </a:lnTo>
                    <a:lnTo>
                      <a:pt x="f123" y="f124"/>
                    </a:lnTo>
                    <a:lnTo>
                      <a:pt x="f125" y="f126"/>
                    </a:lnTo>
                    <a:lnTo>
                      <a:pt x="f127" y="f124"/>
                    </a:lnTo>
                    <a:lnTo>
                      <a:pt x="f128" y="f122"/>
                    </a:lnTo>
                    <a:lnTo>
                      <a:pt x="f129" y="f130"/>
                    </a:lnTo>
                    <a:lnTo>
                      <a:pt x="f131" y="f132"/>
                    </a:lnTo>
                    <a:lnTo>
                      <a:pt x="f133" y="f134"/>
                    </a:lnTo>
                    <a:lnTo>
                      <a:pt x="f135" y="f136"/>
                    </a:lnTo>
                    <a:lnTo>
                      <a:pt x="f137" y="f138"/>
                    </a:lnTo>
                    <a:lnTo>
                      <a:pt x="f139" y="f132"/>
                    </a:lnTo>
                    <a:lnTo>
                      <a:pt x="f140" y="f141"/>
                    </a:lnTo>
                    <a:lnTo>
                      <a:pt x="f142" y="f143"/>
                    </a:lnTo>
                    <a:lnTo>
                      <a:pt x="f144" y="f145"/>
                    </a:lnTo>
                    <a:lnTo>
                      <a:pt x="f146" y="f147"/>
                    </a:lnTo>
                    <a:lnTo>
                      <a:pt x="f148" y="f149"/>
                    </a:lnTo>
                    <a:lnTo>
                      <a:pt x="f150" y="f151"/>
                    </a:lnTo>
                    <a:lnTo>
                      <a:pt x="f152" y="f153"/>
                    </a:lnTo>
                    <a:lnTo>
                      <a:pt x="f154" y="f155"/>
                    </a:lnTo>
                    <a:lnTo>
                      <a:pt x="f156" y="f157"/>
                    </a:lnTo>
                    <a:lnTo>
                      <a:pt x="f158" y="f159"/>
                    </a:lnTo>
                    <a:lnTo>
                      <a:pt x="f160" y="f161"/>
                    </a:lnTo>
                    <a:lnTo>
                      <a:pt x="f162" y="f163"/>
                    </a:lnTo>
                    <a:lnTo>
                      <a:pt x="f164" y="f165"/>
                    </a:lnTo>
                    <a:lnTo>
                      <a:pt x="f166" y="f167"/>
                    </a:lnTo>
                    <a:lnTo>
                      <a:pt x="f168" y="f169"/>
                    </a:lnTo>
                    <a:lnTo>
                      <a:pt x="f170" y="f169"/>
                    </a:lnTo>
                    <a:lnTo>
                      <a:pt x="f171" y="f172"/>
                    </a:lnTo>
                    <a:lnTo>
                      <a:pt x="f173" y="f172"/>
                    </a:lnTo>
                    <a:lnTo>
                      <a:pt x="f174" y="f175"/>
                    </a:lnTo>
                    <a:lnTo>
                      <a:pt x="f176" y="f175"/>
                    </a:lnTo>
                    <a:lnTo>
                      <a:pt x="f177" y="f172"/>
                    </a:lnTo>
                    <a:lnTo>
                      <a:pt x="f178" y="f179"/>
                    </a:lnTo>
                    <a:lnTo>
                      <a:pt x="f180" y="f167"/>
                    </a:lnTo>
                    <a:lnTo>
                      <a:pt x="f181" y="f182"/>
                    </a:lnTo>
                    <a:lnTo>
                      <a:pt x="f183" y="f184"/>
                    </a:lnTo>
                    <a:lnTo>
                      <a:pt x="f185" y="f186"/>
                    </a:lnTo>
                    <a:lnTo>
                      <a:pt x="f187" y="f188"/>
                    </a:lnTo>
                    <a:lnTo>
                      <a:pt x="f189" y="f188"/>
                    </a:lnTo>
                    <a:lnTo>
                      <a:pt x="f190" y="f191"/>
                    </a:lnTo>
                    <a:lnTo>
                      <a:pt x="f192" y="f191"/>
                    </a:lnTo>
                    <a:lnTo>
                      <a:pt x="f193" y="f194"/>
                    </a:lnTo>
                    <a:lnTo>
                      <a:pt x="f195" y="f196"/>
                    </a:lnTo>
                    <a:lnTo>
                      <a:pt x="f197" y="f198"/>
                    </a:lnTo>
                    <a:lnTo>
                      <a:pt x="f197" y="f199"/>
                    </a:lnTo>
                    <a:lnTo>
                      <a:pt x="f200" y="f201"/>
                    </a:lnTo>
                    <a:lnTo>
                      <a:pt x="f202" y="f203"/>
                    </a:lnTo>
                    <a:lnTo>
                      <a:pt x="f204" y="f205"/>
                    </a:lnTo>
                    <a:lnTo>
                      <a:pt x="f206" y="f207"/>
                    </a:lnTo>
                    <a:lnTo>
                      <a:pt x="f208" y="f207"/>
                    </a:lnTo>
                    <a:lnTo>
                      <a:pt x="f209" y="f210"/>
                    </a:lnTo>
                    <a:lnTo>
                      <a:pt x="f211" y="f212"/>
                    </a:lnTo>
                    <a:lnTo>
                      <a:pt x="f213" y="f214"/>
                    </a:lnTo>
                    <a:lnTo>
                      <a:pt x="f215" y="f203"/>
                    </a:lnTo>
                    <a:lnTo>
                      <a:pt x="f215" y="f216"/>
                    </a:lnTo>
                    <a:lnTo>
                      <a:pt x="f211" y="f217"/>
                    </a:lnTo>
                    <a:lnTo>
                      <a:pt x="f218" y="f219"/>
                    </a:lnTo>
                    <a:lnTo>
                      <a:pt x="f220" y="f221"/>
                    </a:lnTo>
                    <a:lnTo>
                      <a:pt x="f222" y="f223"/>
                    </a:lnTo>
                    <a:lnTo>
                      <a:pt x="f224" y="f225"/>
                    </a:lnTo>
                    <a:lnTo>
                      <a:pt x="f226" y="f227"/>
                    </a:lnTo>
                    <a:lnTo>
                      <a:pt x="f228" y="f229"/>
                    </a:lnTo>
                    <a:lnTo>
                      <a:pt x="f230" y="f231"/>
                    </a:lnTo>
                    <a:lnTo>
                      <a:pt x="f202" y="f232"/>
                    </a:lnTo>
                    <a:lnTo>
                      <a:pt x="f195" y="f233"/>
                    </a:lnTo>
                    <a:lnTo>
                      <a:pt x="f234" y="f233"/>
                    </a:lnTo>
                    <a:lnTo>
                      <a:pt x="f235" y="f236"/>
                    </a:lnTo>
                    <a:lnTo>
                      <a:pt x="f237" y="f232"/>
                    </a:lnTo>
                    <a:lnTo>
                      <a:pt x="f238" y="f239"/>
                    </a:lnTo>
                    <a:lnTo>
                      <a:pt x="f168" y="f240"/>
                    </a:lnTo>
                    <a:lnTo>
                      <a:pt x="f241" y="f242"/>
                    </a:lnTo>
                    <a:lnTo>
                      <a:pt x="f152" y="f242"/>
                    </a:lnTo>
                    <a:lnTo>
                      <a:pt x="f243" y="f244"/>
                    </a:lnTo>
                    <a:lnTo>
                      <a:pt x="f245" y="f233"/>
                    </a:lnTo>
                    <a:lnTo>
                      <a:pt x="f246" y="f247"/>
                    </a:lnTo>
                    <a:lnTo>
                      <a:pt x="f133" y="f248"/>
                    </a:lnTo>
                    <a:lnTo>
                      <a:pt x="f249" y="f250"/>
                    </a:lnTo>
                    <a:lnTo>
                      <a:pt x="f251" y="f252"/>
                    </a:lnTo>
                    <a:lnTo>
                      <a:pt x="f253" y="f254"/>
                    </a:lnTo>
                    <a:lnTo>
                      <a:pt x="f255" y="f256"/>
                    </a:lnTo>
                    <a:lnTo>
                      <a:pt x="f257" y="f258"/>
                    </a:lnTo>
                    <a:lnTo>
                      <a:pt x="f259" y="f260"/>
                    </a:lnTo>
                    <a:lnTo>
                      <a:pt x="f119" y="f261"/>
                    </a:lnTo>
                    <a:lnTo>
                      <a:pt x="f262" y="f263"/>
                    </a:lnTo>
                    <a:lnTo>
                      <a:pt x="f264" y="f265"/>
                    </a:lnTo>
                    <a:lnTo>
                      <a:pt x="f266" y="f267"/>
                    </a:lnTo>
                    <a:lnTo>
                      <a:pt x="f96" y="f268"/>
                    </a:lnTo>
                    <a:lnTo>
                      <a:pt x="f269" y="f270"/>
                    </a:lnTo>
                    <a:lnTo>
                      <a:pt x="f271" y="f272"/>
                    </a:lnTo>
                    <a:lnTo>
                      <a:pt x="f273" y="f274"/>
                    </a:lnTo>
                    <a:lnTo>
                      <a:pt x="f271" y="f275"/>
                    </a:lnTo>
                    <a:lnTo>
                      <a:pt x="f276" y="f277"/>
                    </a:lnTo>
                    <a:lnTo>
                      <a:pt x="f269" y="f278"/>
                    </a:lnTo>
                    <a:lnTo>
                      <a:pt x="f279" y="f280"/>
                    </a:lnTo>
                    <a:lnTo>
                      <a:pt x="f281" y="f282"/>
                    </a:lnTo>
                    <a:lnTo>
                      <a:pt x="f269" y="f283"/>
                    </a:lnTo>
                    <a:lnTo>
                      <a:pt x="f91" y="f284"/>
                    </a:lnTo>
                    <a:lnTo>
                      <a:pt x="f285" y="f286"/>
                    </a:lnTo>
                    <a:lnTo>
                      <a:pt x="f287" y="f288"/>
                    </a:lnTo>
                    <a:lnTo>
                      <a:pt x="f289" y="f290"/>
                    </a:lnTo>
                    <a:lnTo>
                      <a:pt x="f291" y="f292"/>
                    </a:lnTo>
                    <a:lnTo>
                      <a:pt x="f293" y="f294"/>
                    </a:lnTo>
                    <a:lnTo>
                      <a:pt x="f295" y="f296"/>
                    </a:lnTo>
                    <a:lnTo>
                      <a:pt x="f297" y="f298"/>
                    </a:lnTo>
                    <a:lnTo>
                      <a:pt x="f291" y="f299"/>
                    </a:lnTo>
                    <a:lnTo>
                      <a:pt x="f289" y="f300"/>
                    </a:lnTo>
                    <a:lnTo>
                      <a:pt x="f301" y="f302"/>
                    </a:lnTo>
                    <a:lnTo>
                      <a:pt x="f90" y="f303"/>
                    </a:lnTo>
                    <a:lnTo>
                      <a:pt x="f304" y="f303"/>
                    </a:lnTo>
                    <a:lnTo>
                      <a:pt x="f305" y="f306"/>
                    </a:lnTo>
                    <a:lnTo>
                      <a:pt x="f266" y="f302"/>
                    </a:lnTo>
                    <a:lnTo>
                      <a:pt x="f307" y="f308"/>
                    </a:lnTo>
                    <a:lnTo>
                      <a:pt x="f309" y="f300"/>
                    </a:lnTo>
                    <a:lnTo>
                      <a:pt x="f310" y="f311"/>
                    </a:lnTo>
                    <a:lnTo>
                      <a:pt x="f312" y="f313"/>
                    </a:lnTo>
                    <a:lnTo>
                      <a:pt x="f264" y="f294"/>
                    </a:lnTo>
                    <a:lnTo>
                      <a:pt x="f314" y="f315"/>
                    </a:lnTo>
                    <a:lnTo>
                      <a:pt x="f316" y="f317"/>
                    </a:lnTo>
                    <a:lnTo>
                      <a:pt x="f113" y="f315"/>
                    </a:lnTo>
                    <a:lnTo>
                      <a:pt x="f262" y="f318"/>
                    </a:lnTo>
                    <a:lnTo>
                      <a:pt x="f119" y="f294"/>
                    </a:lnTo>
                    <a:lnTo>
                      <a:pt x="f121" y="f319"/>
                    </a:lnTo>
                    <a:lnTo>
                      <a:pt x="f320" y="f321"/>
                    </a:lnTo>
                    <a:lnTo>
                      <a:pt x="f123" y="f322"/>
                    </a:lnTo>
                    <a:lnTo>
                      <a:pt x="f323" y="f324"/>
                    </a:lnTo>
                    <a:lnTo>
                      <a:pt x="f325" y="f308"/>
                    </a:lnTo>
                    <a:lnTo>
                      <a:pt x="f326" y="f308"/>
                    </a:lnTo>
                    <a:lnTo>
                      <a:pt x="f327" y="f324"/>
                    </a:lnTo>
                    <a:lnTo>
                      <a:pt x="f154" y="f328"/>
                    </a:lnTo>
                    <a:lnTo>
                      <a:pt x="f166" y="f322"/>
                    </a:lnTo>
                    <a:lnTo>
                      <a:pt x="f178" y="f329"/>
                    </a:lnTo>
                    <a:lnTo>
                      <a:pt x="f330" y="f331"/>
                    </a:lnTo>
                    <a:lnTo>
                      <a:pt x="f332" y="f331"/>
                    </a:lnTo>
                    <a:lnTo>
                      <a:pt x="f333" y="f329"/>
                    </a:lnTo>
                    <a:lnTo>
                      <a:pt x="f197" y="f324"/>
                    </a:lnTo>
                    <a:lnTo>
                      <a:pt x="f202" y="f334"/>
                    </a:lnTo>
                    <a:lnTo>
                      <a:pt x="f335" y="f336"/>
                    </a:lnTo>
                    <a:lnTo>
                      <a:pt x="f230" y="f337"/>
                    </a:lnTo>
                    <a:lnTo>
                      <a:pt x="f338" y="f339"/>
                    </a:lnTo>
                    <a:lnTo>
                      <a:pt x="f340" y="f341"/>
                    </a:lnTo>
                    <a:lnTo>
                      <a:pt x="f226" y="f342"/>
                    </a:lnTo>
                    <a:lnTo>
                      <a:pt x="f343" y="f344"/>
                    </a:lnTo>
                    <a:lnTo>
                      <a:pt x="f345" y="f346"/>
                    </a:lnTo>
                    <a:lnTo>
                      <a:pt x="f218" y="f337"/>
                    </a:lnTo>
                    <a:lnTo>
                      <a:pt x="f209" y="f347"/>
                    </a:lnTo>
                    <a:lnTo>
                      <a:pt x="f348" y="f349"/>
                    </a:lnTo>
                    <a:lnTo>
                      <a:pt x="f350" y="f341"/>
                    </a:lnTo>
                    <a:lnTo>
                      <a:pt x="f211" y="f351"/>
                    </a:lnTo>
                    <a:lnTo>
                      <a:pt x="f211" y="f352"/>
                    </a:lnTo>
                    <a:lnTo>
                      <a:pt x="f215" y="f353"/>
                    </a:lnTo>
                    <a:lnTo>
                      <a:pt x="f354" y="f355"/>
                    </a:lnTo>
                    <a:lnTo>
                      <a:pt x="f356" y="f357"/>
                    </a:lnTo>
                    <a:lnTo>
                      <a:pt x="f358" y="f359"/>
                    </a:lnTo>
                    <a:lnTo>
                      <a:pt x="f360" y="f361"/>
                    </a:lnTo>
                    <a:lnTo>
                      <a:pt x="f362" y="f363"/>
                    </a:lnTo>
                    <a:lnTo>
                      <a:pt x="f364" y="f365"/>
                    </a:lnTo>
                    <a:lnTo>
                      <a:pt x="f366" y="f367"/>
                    </a:lnTo>
                    <a:lnTo>
                      <a:pt x="f354" y="f368"/>
                    </a:lnTo>
                    <a:lnTo>
                      <a:pt x="f354" y="f369"/>
                    </a:lnTo>
                    <a:lnTo>
                      <a:pt x="f370" y="f371"/>
                    </a:lnTo>
                    <a:lnTo>
                      <a:pt x="f364" y="f372"/>
                    </a:lnTo>
                    <a:lnTo>
                      <a:pt x="f373" y="f374"/>
                    </a:lnTo>
                    <a:lnTo>
                      <a:pt x="f375" y="f376"/>
                    </a:lnTo>
                    <a:lnTo>
                      <a:pt x="f377" y="f378"/>
                    </a:lnTo>
                    <a:lnTo>
                      <a:pt x="f379" y="f32"/>
                    </a:lnTo>
                    <a:lnTo>
                      <a:pt x="f380" y="f381"/>
                    </a:lnTo>
                    <a:lnTo>
                      <a:pt x="f382" y="f383"/>
                    </a:lnTo>
                    <a:lnTo>
                      <a:pt x="f384" y="f40"/>
                    </a:lnTo>
                    <a:lnTo>
                      <a:pt x="f385" y="f42"/>
                    </a:lnTo>
                    <a:lnTo>
                      <a:pt x="f386" y="f387"/>
                    </a:lnTo>
                    <a:lnTo>
                      <a:pt x="f388" y="f389"/>
                    </a:lnTo>
                    <a:lnTo>
                      <a:pt x="f390" y="f391"/>
                    </a:lnTo>
                    <a:lnTo>
                      <a:pt x="f392" y="f48"/>
                    </a:lnTo>
                    <a:lnTo>
                      <a:pt x="f393" y="f394"/>
                    </a:lnTo>
                    <a:lnTo>
                      <a:pt x="f395" y="f396"/>
                    </a:lnTo>
                    <a:lnTo>
                      <a:pt x="f7" y="f397"/>
                    </a:lnTo>
                    <a:lnTo>
                      <a:pt x="f398" y="f399"/>
                    </a:lnTo>
                    <a:lnTo>
                      <a:pt x="f400" y="f401"/>
                    </a:lnTo>
                    <a:lnTo>
                      <a:pt x="f402" y="f403"/>
                    </a:lnTo>
                    <a:lnTo>
                      <a:pt x="f390" y="f404"/>
                    </a:lnTo>
                    <a:lnTo>
                      <a:pt x="f405" y="f406"/>
                    </a:lnTo>
                    <a:lnTo>
                      <a:pt x="f407" y="f408"/>
                    </a:lnTo>
                    <a:lnTo>
                      <a:pt x="f380" y="f60"/>
                    </a:lnTo>
                    <a:lnTo>
                      <a:pt x="f373" y="f409"/>
                    </a:lnTo>
                    <a:lnTo>
                      <a:pt x="f410" y="f411"/>
                    </a:lnTo>
                    <a:lnTo>
                      <a:pt x="f412" y="f413"/>
                    </a:lnTo>
                    <a:lnTo>
                      <a:pt x="f213" y="f414"/>
                    </a:lnTo>
                    <a:lnTo>
                      <a:pt x="f415" y="f416"/>
                    </a:lnTo>
                    <a:lnTo>
                      <a:pt x="f209" y="f417"/>
                    </a:lnTo>
                    <a:lnTo>
                      <a:pt x="f418" y="f84"/>
                    </a:lnTo>
                    <a:lnTo>
                      <a:pt x="f350" y="f419"/>
                    </a:lnTo>
                    <a:lnTo>
                      <a:pt x="f362" y="f419"/>
                    </a:lnTo>
                    <a:lnTo>
                      <a:pt x="f420" y="f421"/>
                    </a:lnTo>
                    <a:lnTo>
                      <a:pt x="f375" y="f422"/>
                    </a:lnTo>
                    <a:lnTo>
                      <a:pt x="f380" y="f423"/>
                    </a:lnTo>
                    <a:lnTo>
                      <a:pt x="f424" y="f87"/>
                    </a:lnTo>
                    <a:lnTo>
                      <a:pt x="f425" y="f426"/>
                    </a:lnTo>
                    <a:lnTo>
                      <a:pt x="f427" y="f428"/>
                    </a:lnTo>
                    <a:lnTo>
                      <a:pt x="f429" y="f301"/>
                    </a:lnTo>
                    <a:lnTo>
                      <a:pt x="f405" y="f430"/>
                    </a:lnTo>
                    <a:lnTo>
                      <a:pt x="f429" y="f431"/>
                    </a:lnTo>
                    <a:lnTo>
                      <a:pt x="f432" y="f91"/>
                    </a:lnTo>
                    <a:lnTo>
                      <a:pt x="f425" y="f433"/>
                    </a:lnTo>
                    <a:lnTo>
                      <a:pt x="f434" y="f304"/>
                    </a:lnTo>
                    <a:lnTo>
                      <a:pt x="f435" y="f436"/>
                    </a:lnTo>
                    <a:lnTo>
                      <a:pt x="f382" y="f437"/>
                    </a:lnTo>
                    <a:lnTo>
                      <a:pt x="f420" y="f437"/>
                    </a:lnTo>
                    <a:lnTo>
                      <a:pt x="f438" y="f436"/>
                    </a:lnTo>
                    <a:lnTo>
                      <a:pt x="f209" y="f439"/>
                    </a:lnTo>
                    <a:lnTo>
                      <a:pt x="f220" y="f440"/>
                    </a:lnTo>
                    <a:lnTo>
                      <a:pt x="f441" y="f442"/>
                    </a:lnTo>
                    <a:lnTo>
                      <a:pt x="f228" y="f94"/>
                    </a:lnTo>
                    <a:lnTo>
                      <a:pt x="f335" y="f443"/>
                    </a:lnTo>
                    <a:lnTo>
                      <a:pt x="f195" y="f314"/>
                    </a:lnTo>
                    <a:lnTo>
                      <a:pt x="f444" y="f445"/>
                    </a:lnTo>
                    <a:lnTo>
                      <a:pt x="f446" y="f113"/>
                    </a:lnTo>
                    <a:lnTo>
                      <a:pt x="f330" y="f115"/>
                    </a:lnTo>
                    <a:lnTo>
                      <a:pt x="f447" y="f448"/>
                    </a:lnTo>
                    <a:lnTo>
                      <a:pt x="f185" y="f449"/>
                    </a:lnTo>
                    <a:lnTo>
                      <a:pt x="f237" y="f450"/>
                    </a:lnTo>
                    <a:lnTo>
                      <a:pt x="f180" y="f123"/>
                    </a:lnTo>
                    <a:lnTo>
                      <a:pt x="f451" y="f323"/>
                    </a:lnTo>
                    <a:lnTo>
                      <a:pt x="f452" y="f453"/>
                    </a:lnTo>
                    <a:lnTo>
                      <a:pt x="f164" y="f259"/>
                    </a:lnTo>
                    <a:lnTo>
                      <a:pt x="f454" y="f449"/>
                    </a:lnTo>
                    <a:lnTo>
                      <a:pt x="f144" y="f455"/>
                    </a:lnTo>
                    <a:lnTo>
                      <a:pt x="f456" y="f457"/>
                    </a:lnTo>
                    <a:lnTo>
                      <a:pt x="f135" y="f457"/>
                    </a:lnTo>
                    <a:lnTo>
                      <a:pt x="f246" y="f455"/>
                    </a:lnTo>
                    <a:lnTo>
                      <a:pt x="f133" y="f449"/>
                    </a:lnTo>
                    <a:lnTo>
                      <a:pt x="f458" y="f459"/>
                    </a:lnTo>
                    <a:lnTo>
                      <a:pt x="f135" y="f259"/>
                    </a:lnTo>
                    <a:lnTo>
                      <a:pt x="f460" y="f323"/>
                    </a:lnTo>
                    <a:lnTo>
                      <a:pt x="f460" y="f127"/>
                    </a:lnTo>
                    <a:lnTo>
                      <a:pt x="f461" y="f255"/>
                    </a:lnTo>
                    <a:lnTo>
                      <a:pt x="f246" y="f129"/>
                    </a:lnTo>
                    <a:lnTo>
                      <a:pt x="f246" y="f462"/>
                    </a:lnTo>
                    <a:lnTo>
                      <a:pt x="f245" y="f133"/>
                    </a:lnTo>
                    <a:lnTo>
                      <a:pt x="f135" y="f460"/>
                    </a:lnTo>
                    <a:lnTo>
                      <a:pt x="f135" y="f140"/>
                    </a:lnTo>
                    <a:lnTo>
                      <a:pt x="f458" y="f142"/>
                    </a:lnTo>
                    <a:lnTo>
                      <a:pt x="f463" y="f142"/>
                    </a:lnTo>
                    <a:lnTo>
                      <a:pt x="f131" y="f139"/>
                    </a:lnTo>
                    <a:lnTo>
                      <a:pt x="f464" y="f465"/>
                    </a:lnTo>
                    <a:lnTo>
                      <a:pt x="f253" y="f466"/>
                    </a:lnTo>
                    <a:lnTo>
                      <a:pt x="f326" y="f458"/>
                    </a:lnTo>
                    <a:lnTo>
                      <a:pt x="f128" y="f245"/>
                    </a:lnTo>
                    <a:lnTo>
                      <a:pt x="f255" y="f466"/>
                    </a:lnTo>
                    <a:lnTo>
                      <a:pt x="f255" y="f467"/>
                    </a:lnTo>
                    <a:lnTo>
                      <a:pt x="f468" y="f140"/>
                    </a:lnTo>
                    <a:lnTo>
                      <a:pt x="f326" y="f469"/>
                    </a:lnTo>
                    <a:lnTo>
                      <a:pt x="f470" y="f154"/>
                    </a:lnTo>
                    <a:lnTo>
                      <a:pt x="f129" y="f471"/>
                    </a:lnTo>
                    <a:lnTo>
                      <a:pt x="f251" y="f472"/>
                    </a:lnTo>
                    <a:lnTo>
                      <a:pt x="f462" y="f473"/>
                    </a:lnTo>
                    <a:lnTo>
                      <a:pt x="f131" y="f234"/>
                    </a:lnTo>
                    <a:lnTo>
                      <a:pt x="f474" y="f475"/>
                    </a:lnTo>
                    <a:lnTo>
                      <a:pt x="f463" y="f202"/>
                    </a:lnTo>
                    <a:lnTo>
                      <a:pt x="f137" y="f228"/>
                    </a:lnTo>
                    <a:lnTo>
                      <a:pt x="f139" y="f222"/>
                    </a:lnTo>
                    <a:lnTo>
                      <a:pt x="f456" y="f218"/>
                    </a:lnTo>
                    <a:lnTo>
                      <a:pt x="f456" y="f215"/>
                    </a:lnTo>
                    <a:lnTo>
                      <a:pt x="f467" y="f476"/>
                    </a:lnTo>
                    <a:lnTo>
                      <a:pt x="f137" y="f477"/>
                    </a:lnTo>
                    <a:lnTo>
                      <a:pt x="f137" y="f478"/>
                    </a:lnTo>
                    <a:lnTo>
                      <a:pt x="f139" y="f479"/>
                    </a:lnTo>
                    <a:lnTo>
                      <a:pt x="f469" y="f480"/>
                    </a:lnTo>
                    <a:lnTo>
                      <a:pt x="f156" y="f435"/>
                    </a:lnTo>
                    <a:lnTo>
                      <a:pt x="f160" y="f434"/>
                    </a:lnTo>
                    <a:lnTo>
                      <a:pt x="f481" y="f482"/>
                    </a:lnTo>
                    <a:lnTo>
                      <a:pt x="f481" y="f405"/>
                    </a:lnTo>
                    <a:lnTo>
                      <a:pt x="f150" y="f429"/>
                    </a:lnTo>
                    <a:lnTo>
                      <a:pt x="f152" y="f483"/>
                    </a:lnTo>
                    <a:lnTo>
                      <a:pt x="f156" y="f483"/>
                    </a:lnTo>
                    <a:lnTo>
                      <a:pt x="f154" y="f429"/>
                    </a:lnTo>
                    <a:lnTo>
                      <a:pt x="f454" y="f484"/>
                    </a:lnTo>
                    <a:lnTo>
                      <a:pt x="f485" y="f486"/>
                    </a:lnTo>
                    <a:lnTo>
                      <a:pt x="f487" y="f388"/>
                    </a:lnTo>
                    <a:lnTo>
                      <a:pt x="f144" y="f488"/>
                    </a:lnTo>
                    <a:lnTo>
                      <a:pt x="f489" y="f390"/>
                    </a:lnTo>
                    <a:lnTo>
                      <a:pt x="f490" y="f390"/>
                    </a:lnTo>
                    <a:lnTo>
                      <a:pt x="f326" y="f491"/>
                    </a:lnTo>
                    <a:lnTo>
                      <a:pt x="f127" y="f488"/>
                    </a:lnTo>
                    <a:lnTo>
                      <a:pt x="f492" y="f488"/>
                    </a:lnTo>
                    <a:lnTo>
                      <a:pt x="f323" y="f493"/>
                    </a:lnTo>
                    <a:lnTo>
                      <a:pt x="f323" y="f392"/>
                    </a:lnTo>
                    <a:lnTo>
                      <a:pt x="f453" y="f494"/>
                    </a:lnTo>
                    <a:lnTo>
                      <a:pt x="f123" y="f495"/>
                    </a:lnTo>
                    <a:lnTo>
                      <a:pt x="f450" y="f395"/>
                    </a:lnTo>
                    <a:lnTo>
                      <a:pt x="f449" y="f395"/>
                    </a:lnTo>
                    <a:lnTo>
                      <a:pt x="f496" y="f497"/>
                    </a:lnTo>
                    <a:lnTo>
                      <a:pt x="f498" y="f497"/>
                    </a:lnTo>
                    <a:lnTo>
                      <a:pt x="f94" y="f395"/>
                    </a:lnTo>
                    <a:lnTo>
                      <a:pt x="f499" y="f400"/>
                    </a:lnTo>
                    <a:lnTo>
                      <a:pt x="f436" y="f393"/>
                    </a:lnTo>
                    <a:lnTo>
                      <a:pt x="f289" y="f500"/>
                    </a:lnTo>
                    <a:lnTo>
                      <a:pt x="f293" y="f501"/>
                    </a:lnTo>
                    <a:lnTo>
                      <a:pt x="f502" y="f501"/>
                    </a:lnTo>
                    <a:lnTo>
                      <a:pt x="f503" y="f392"/>
                    </a:lnTo>
                    <a:lnTo>
                      <a:pt x="f504" y="f402"/>
                    </a:lnTo>
                    <a:lnTo>
                      <a:pt x="f505" y="f495"/>
                    </a:lnTo>
                    <a:lnTo>
                      <a:pt x="f421" y="f398"/>
                    </a:lnTo>
                    <a:lnTo>
                      <a:pt x="f506" y="f507"/>
                    </a:lnTo>
                    <a:lnTo>
                      <a:pt x="f508" y="f509"/>
                    </a:lnTo>
                    <a:lnTo>
                      <a:pt x="f510" y="f511"/>
                    </a:lnTo>
                    <a:lnTo>
                      <a:pt x="f78" y="f512"/>
                    </a:lnTo>
                    <a:lnTo>
                      <a:pt x="f513" y="f514"/>
                    </a:lnTo>
                    <a:lnTo>
                      <a:pt x="f513" y="f515"/>
                    </a:lnTo>
                    <a:lnTo>
                      <a:pt x="f516" y="f517"/>
                    </a:lnTo>
                    <a:lnTo>
                      <a:pt x="f414" y="f518"/>
                    </a:lnTo>
                    <a:lnTo>
                      <a:pt x="f508" y="f519"/>
                    </a:lnTo>
                    <a:lnTo>
                      <a:pt x="f520" y="f521"/>
                    </a:lnTo>
                    <a:lnTo>
                      <a:pt x="f416" y="f522"/>
                    </a:lnTo>
                    <a:lnTo>
                      <a:pt x="f508" y="f523"/>
                    </a:lnTo>
                    <a:lnTo>
                      <a:pt x="f524" y="f523"/>
                    </a:lnTo>
                    <a:lnTo>
                      <a:pt x="f525" y="f526"/>
                    </a:lnTo>
                    <a:lnTo>
                      <a:pt x="f70" y="f527"/>
                    </a:lnTo>
                    <a:lnTo>
                      <a:pt x="f528" y="f529"/>
                    </a:lnTo>
                    <a:lnTo>
                      <a:pt x="f530" y="f531"/>
                    </a:lnTo>
                    <a:lnTo>
                      <a:pt x="f532" y="f533"/>
                    </a:lnTo>
                    <a:lnTo>
                      <a:pt x="f534" y="f535"/>
                    </a:lnTo>
                    <a:lnTo>
                      <a:pt x="f536" y="f533"/>
                    </a:lnTo>
                    <a:lnTo>
                      <a:pt x="f537" y="f531"/>
                    </a:lnTo>
                    <a:lnTo>
                      <a:pt x="f536" y="f538"/>
                    </a:lnTo>
                    <a:lnTo>
                      <a:pt x="f539" y="f540"/>
                    </a:lnTo>
                    <a:lnTo>
                      <a:pt x="f534" y="f541"/>
                    </a:lnTo>
                    <a:lnTo>
                      <a:pt x="f539" y="f527"/>
                    </a:lnTo>
                    <a:lnTo>
                      <a:pt x="f537" y="f527"/>
                    </a:lnTo>
                    <a:lnTo>
                      <a:pt x="f542" y="f541"/>
                    </a:lnTo>
                    <a:lnTo>
                      <a:pt x="f543" y="f540"/>
                    </a:lnTo>
                    <a:lnTo>
                      <a:pt x="f544" y="f545"/>
                    </a:lnTo>
                    <a:lnTo>
                      <a:pt x="f546" y="f538"/>
                    </a:lnTo>
                    <a:lnTo>
                      <a:pt x="f547" y="f548"/>
                    </a:lnTo>
                    <a:lnTo>
                      <a:pt x="f549" y="f550"/>
                    </a:lnTo>
                    <a:lnTo>
                      <a:pt x="f551" y="f526"/>
                    </a:lnTo>
                    <a:lnTo>
                      <a:pt x="f552" y="f553"/>
                    </a:lnTo>
                    <a:lnTo>
                      <a:pt x="f554" y="f555"/>
                    </a:lnTo>
                    <a:lnTo>
                      <a:pt x="f556" y="f553"/>
                    </a:lnTo>
                    <a:lnTo>
                      <a:pt x="f557" y="f526"/>
                    </a:lnTo>
                    <a:lnTo>
                      <a:pt x="f557" y="f529"/>
                    </a:lnTo>
                    <a:lnTo>
                      <a:pt x="f404" y="f558"/>
                    </a:lnTo>
                    <a:lnTo>
                      <a:pt x="f556" y="f559"/>
                    </a:lnTo>
                    <a:lnTo>
                      <a:pt x="f556" y="f560"/>
                    </a:lnTo>
                    <a:lnTo>
                      <a:pt x="f404" y="f561"/>
                    </a:lnTo>
                    <a:lnTo>
                      <a:pt x="f562" y="f563"/>
                    </a:lnTo>
                    <a:lnTo>
                      <a:pt x="f403" y="f564"/>
                    </a:lnTo>
                    <a:lnTo>
                      <a:pt x="f565" y="f566"/>
                    </a:lnTo>
                    <a:lnTo>
                      <a:pt x="f52" y="f567"/>
                    </a:lnTo>
                    <a:lnTo>
                      <a:pt x="f52" y="f568"/>
                    </a:lnTo>
                    <a:lnTo>
                      <a:pt x="f569" y="f570"/>
                    </a:lnTo>
                    <a:lnTo>
                      <a:pt x="f565" y="f571"/>
                    </a:lnTo>
                    <a:lnTo>
                      <a:pt x="f565" y="f572"/>
                    </a:lnTo>
                    <a:lnTo>
                      <a:pt x="f573" y="f574"/>
                    </a:lnTo>
                    <a:lnTo>
                      <a:pt x="f565" y="f575"/>
                    </a:lnTo>
                    <a:lnTo>
                      <a:pt x="f569" y="f576"/>
                    </a:lnTo>
                    <a:lnTo>
                      <a:pt x="f577" y="f578"/>
                    </a:lnTo>
                    <a:lnTo>
                      <a:pt x="f579" y="f580"/>
                    </a:lnTo>
                    <a:lnTo>
                      <a:pt x="f581" y="f582"/>
                    </a:lnTo>
                    <a:lnTo>
                      <a:pt x="f394" y="f582"/>
                    </a:lnTo>
                    <a:lnTo>
                      <a:pt x="f583" y="f584"/>
                    </a:lnTo>
                    <a:lnTo>
                      <a:pt x="f583" y="f585"/>
                    </a:lnTo>
                    <a:lnTo>
                      <a:pt x="f586" y="f587"/>
                    </a:lnTo>
                    <a:lnTo>
                      <a:pt x="f586" y="f588"/>
                    </a:lnTo>
                    <a:lnTo>
                      <a:pt x="f589" y="f590"/>
                    </a:lnTo>
                    <a:lnTo>
                      <a:pt x="f591" y="f576"/>
                    </a:lnTo>
                    <a:lnTo>
                      <a:pt x="f592" y="f576"/>
                    </a:lnTo>
                    <a:lnTo>
                      <a:pt x="f593" y="f590"/>
                    </a:lnTo>
                    <a:lnTo>
                      <a:pt x="f42" y="f587"/>
                    </a:lnTo>
                    <a:lnTo>
                      <a:pt x="f383" y="f578"/>
                    </a:lnTo>
                    <a:lnTo>
                      <a:pt x="f594" y="f582"/>
                    </a:lnTo>
                    <a:lnTo>
                      <a:pt x="f36" y="f595"/>
                    </a:lnTo>
                    <a:lnTo>
                      <a:pt x="f596" y="f597"/>
                    </a:lnTo>
                    <a:lnTo>
                      <a:pt x="f598" y="f599"/>
                    </a:lnTo>
                    <a:lnTo>
                      <a:pt x="f598" y="f600"/>
                    </a:lnTo>
                    <a:lnTo>
                      <a:pt x="f34" y="f601"/>
                    </a:lnTo>
                    <a:lnTo>
                      <a:pt x="f602" y="f603"/>
                    </a:lnTo>
                    <a:lnTo>
                      <a:pt x="f604" y="f605"/>
                    </a:lnTo>
                    <a:lnTo>
                      <a:pt x="f36" y="f606"/>
                    </a:lnTo>
                    <a:lnTo>
                      <a:pt x="f607" y="f608"/>
                    </a:lnTo>
                    <a:lnTo>
                      <a:pt x="f609" y="f610"/>
                    </a:lnTo>
                    <a:lnTo>
                      <a:pt x="f602" y="f611"/>
                    </a:lnTo>
                    <a:lnTo>
                      <a:pt x="f602" y="f612"/>
                    </a:lnTo>
                    <a:lnTo>
                      <a:pt x="f36" y="f613"/>
                    </a:lnTo>
                    <a:lnTo>
                      <a:pt x="f607" y="f614"/>
                    </a:lnTo>
                    <a:lnTo>
                      <a:pt x="f598" y="f614"/>
                    </a:lnTo>
                    <a:lnTo>
                      <a:pt x="f615" y="f612"/>
                    </a:lnTo>
                    <a:lnTo>
                      <a:pt x="f376" y="f616"/>
                    </a:lnTo>
                    <a:lnTo>
                      <a:pt x="f617" y="f618"/>
                    </a:lnTo>
                    <a:lnTo>
                      <a:pt x="f619" y="f620"/>
                    </a:lnTo>
                    <a:lnTo>
                      <a:pt x="f621" y="f622"/>
                    </a:lnTo>
                    <a:lnTo>
                      <a:pt x="f623" y="f624"/>
                    </a:lnTo>
                    <a:lnTo>
                      <a:pt x="f625" y="f608"/>
                    </a:lnTo>
                    <a:lnTo>
                      <a:pt x="f625" y="f626"/>
                    </a:lnTo>
                    <a:lnTo>
                      <a:pt x="f627" y="f605"/>
                    </a:lnTo>
                    <a:lnTo>
                      <a:pt x="f628" y="f629"/>
                    </a:lnTo>
                    <a:lnTo>
                      <a:pt x="f369" y="f630"/>
                    </a:lnTo>
                    <a:lnTo>
                      <a:pt x="f14" y="f631"/>
                    </a:lnTo>
                    <a:lnTo>
                      <a:pt x="f632" y="f633"/>
                    </a:lnTo>
                    <a:lnTo>
                      <a:pt x="f634" y="f635"/>
                    </a:lnTo>
                    <a:lnTo>
                      <a:pt x="f636" y="f633"/>
                    </a:lnTo>
                    <a:lnTo>
                      <a:pt x="f637" y="f633"/>
                    </a:lnTo>
                    <a:lnTo>
                      <a:pt x="f361" y="f635"/>
                    </a:lnTo>
                    <a:lnTo>
                      <a:pt x="f361" y="f638"/>
                    </a:lnTo>
                    <a:lnTo>
                      <a:pt x="f639" y="f640"/>
                    </a:lnTo>
                    <a:lnTo>
                      <a:pt x="f639" y="f641"/>
                    </a:lnTo>
                    <a:lnTo>
                      <a:pt x="f642" y="f597"/>
                    </a:lnTo>
                    <a:lnTo>
                      <a:pt x="f643" y="f597"/>
                    </a:lnTo>
                    <a:lnTo>
                      <a:pt x="f644" y="f645"/>
                    </a:lnTo>
                    <a:lnTo>
                      <a:pt x="f646" y="f640"/>
                    </a:lnTo>
                    <a:lnTo>
                      <a:pt x="f647" y="f638"/>
                    </a:lnTo>
                    <a:lnTo>
                      <a:pt x="f353" y="f638"/>
                    </a:lnTo>
                    <a:lnTo>
                      <a:pt x="f648" y="f649"/>
                    </a:lnTo>
                    <a:lnTo>
                      <a:pt x="f650" y="f645"/>
                    </a:lnTo>
                    <a:lnTo>
                      <a:pt x="f352" y="f597"/>
                    </a:lnTo>
                    <a:lnTo>
                      <a:pt x="f651" y="f597"/>
                    </a:lnTo>
                    <a:lnTo>
                      <a:pt x="f652" y="f641"/>
                    </a:lnTo>
                    <a:lnTo>
                      <a:pt x="f653" y="f599"/>
                    </a:lnTo>
                    <a:lnTo>
                      <a:pt x="f654" y="f655"/>
                    </a:lnTo>
                    <a:lnTo>
                      <a:pt x="f339" y="f656"/>
                    </a:lnTo>
                    <a:lnTo>
                      <a:pt x="f337" y="f657"/>
                    </a:lnTo>
                    <a:lnTo>
                      <a:pt x="f658" y="f659"/>
                    </a:lnTo>
                    <a:lnTo>
                      <a:pt x="f660" y="f661"/>
                    </a:lnTo>
                    <a:lnTo>
                      <a:pt x="f662" y="f663"/>
                    </a:lnTo>
                    <a:lnTo>
                      <a:pt x="f664" y="f8"/>
                    </a:lnTo>
                    <a:lnTo>
                      <a:pt x="f334" y="f665"/>
                    </a:lnTo>
                    <a:lnTo>
                      <a:pt x="f308" y="f666"/>
                    </a:lnTo>
                    <a:lnTo>
                      <a:pt x="f667" y="f668"/>
                    </a:lnTo>
                    <a:lnTo>
                      <a:pt x="f669" y="f670"/>
                    </a:lnTo>
                    <a:lnTo>
                      <a:pt x="f671" y="f672"/>
                    </a:lnTo>
                    <a:lnTo>
                      <a:pt x="f673" y="f674"/>
                    </a:lnTo>
                    <a:lnTo>
                      <a:pt x="f673" y="f613"/>
                    </a:lnTo>
                    <a:lnTo>
                      <a:pt x="f675" y="f676"/>
                    </a:lnTo>
                    <a:lnTo>
                      <a:pt x="f677" y="f616"/>
                    </a:lnTo>
                    <a:lnTo>
                      <a:pt x="f677" y="f620"/>
                    </a:lnTo>
                    <a:lnTo>
                      <a:pt x="f675" y="f657"/>
                    </a:lnTo>
                    <a:lnTo>
                      <a:pt x="f678" y="f610"/>
                    </a:lnTo>
                    <a:lnTo>
                      <a:pt x="f679" y="f657"/>
                    </a:lnTo>
                    <a:lnTo>
                      <a:pt x="f680" y="f618"/>
                    </a:lnTo>
                    <a:lnTo>
                      <a:pt x="f681" y="f659"/>
                    </a:lnTo>
                    <a:lnTo>
                      <a:pt x="f682" y="f683"/>
                    </a:lnTo>
                    <a:lnTo>
                      <a:pt x="f684" y="f685"/>
                    </a:lnTo>
                    <a:lnTo>
                      <a:pt x="f282" y="f686"/>
                    </a:lnTo>
                    <a:lnTo>
                      <a:pt x="f687" y="f612"/>
                    </a:lnTo>
                    <a:lnTo>
                      <a:pt x="f688" y="f624"/>
                    </a:lnTo>
                    <a:lnTo>
                      <a:pt x="f689" y="f656"/>
                    </a:lnTo>
                    <a:lnTo>
                      <a:pt x="f690" y="f691"/>
                    </a:lnTo>
                    <a:lnTo>
                      <a:pt x="f692" y="f693"/>
                    </a:lnTo>
                    <a:lnTo>
                      <a:pt x="f694" y="f611"/>
                    </a:lnTo>
                    <a:lnTo>
                      <a:pt x="f695" y="f659"/>
                    </a:lnTo>
                    <a:lnTo>
                      <a:pt x="f696" y="f613"/>
                    </a:lnTo>
                    <a:lnTo>
                      <a:pt x="f697" y="f612"/>
                    </a:lnTo>
                    <a:lnTo>
                      <a:pt x="f698" y="f618"/>
                    </a:lnTo>
                    <a:lnTo>
                      <a:pt x="f699" y="f622"/>
                    </a:lnTo>
                    <a:lnTo>
                      <a:pt x="f698" y="f691"/>
                    </a:lnTo>
                    <a:lnTo>
                      <a:pt x="f700" y="f701"/>
                    </a:lnTo>
                    <a:lnTo>
                      <a:pt x="f270" y="f702"/>
                    </a:lnTo>
                    <a:lnTo>
                      <a:pt x="f272" y="f703"/>
                    </a:lnTo>
                    <a:lnTo>
                      <a:pt x="f704" y="f626"/>
                    </a:lnTo>
                    <a:lnTo>
                      <a:pt x="f705" y="f706"/>
                    </a:lnTo>
                    <a:lnTo>
                      <a:pt x="f707" y="f708"/>
                    </a:lnTo>
                    <a:lnTo>
                      <a:pt x="f707" y="f601"/>
                    </a:lnTo>
                    <a:lnTo>
                      <a:pt x="f709" y="f710"/>
                    </a:lnTo>
                    <a:lnTo>
                      <a:pt x="f711" y="f600"/>
                    </a:lnTo>
                    <a:lnTo>
                      <a:pt x="f712" y="f630"/>
                    </a:lnTo>
                    <a:lnTo>
                      <a:pt x="f713" y="f601"/>
                    </a:lnTo>
                    <a:lnTo>
                      <a:pt x="f697" y="f714"/>
                    </a:lnTo>
                    <a:lnTo>
                      <a:pt x="f267" y="f655"/>
                    </a:lnTo>
                    <a:lnTo>
                      <a:pt x="f715" y="f635"/>
                    </a:lnTo>
                    <a:lnTo>
                      <a:pt x="f716" y="f641"/>
                    </a:lnTo>
                    <a:lnTo>
                      <a:pt x="f717" y="f718"/>
                    </a:lnTo>
                    <a:lnTo>
                      <a:pt x="f717" y="f719"/>
                    </a:lnTo>
                    <a:lnTo>
                      <a:pt x="f720" y="f721"/>
                    </a:lnTo>
                    <a:lnTo>
                      <a:pt x="f722" y="f588"/>
                    </a:lnTo>
                    <a:lnTo>
                      <a:pt x="f723" y="f574"/>
                    </a:lnTo>
                    <a:lnTo>
                      <a:pt x="f724" y="f571"/>
                    </a:lnTo>
                    <a:lnTo>
                      <a:pt x="f723" y="f568"/>
                    </a:lnTo>
                    <a:lnTo>
                      <a:pt x="f725" y="f726"/>
                    </a:lnTo>
                    <a:lnTo>
                      <a:pt x="f717" y="f727"/>
                    </a:lnTo>
                    <a:lnTo>
                      <a:pt x="f728" y="f729"/>
                    </a:lnTo>
                    <a:lnTo>
                      <a:pt x="f730" y="f731"/>
                    </a:lnTo>
                    <a:lnTo>
                      <a:pt x="f717" y="f732"/>
                    </a:lnTo>
                    <a:lnTo>
                      <a:pt x="f733" y="f734"/>
                    </a:lnTo>
                    <a:lnTo>
                      <a:pt x="f725" y="f735"/>
                    </a:lnTo>
                    <a:lnTo>
                      <a:pt x="f736" y="f737"/>
                    </a:lnTo>
                    <a:lnTo>
                      <a:pt x="f722" y="f738"/>
                    </a:lnTo>
                    <a:lnTo>
                      <a:pt x="f725" y="f739"/>
                    </a:lnTo>
                    <a:lnTo>
                      <a:pt x="f730" y="f740"/>
                    </a:lnTo>
                    <a:lnTo>
                      <a:pt x="f716" y="f740"/>
                    </a:lnTo>
                    <a:lnTo>
                      <a:pt x="f716" y="f535"/>
                    </a:lnTo>
                    <a:lnTo>
                      <a:pt x="f717" y="f741"/>
                    </a:lnTo>
                    <a:lnTo>
                      <a:pt x="f742" y="f531"/>
                    </a:lnTo>
                    <a:lnTo>
                      <a:pt x="f743" y="f744"/>
                    </a:lnTo>
                    <a:lnTo>
                      <a:pt x="f745" y="f746"/>
                    </a:lnTo>
                    <a:lnTo>
                      <a:pt x="f747" y="f522"/>
                    </a:lnTo>
                    <a:lnTo>
                      <a:pt x="f748" y="f749"/>
                    </a:lnTo>
                    <a:lnTo>
                      <a:pt x="f750" y="f751"/>
                    </a:lnTo>
                    <a:lnTo>
                      <a:pt x="f752" y="f753"/>
                    </a:lnTo>
                    <a:lnTo>
                      <a:pt x="f754" y="f755"/>
                    </a:lnTo>
                    <a:lnTo>
                      <a:pt x="f756" y="f757"/>
                    </a:lnTo>
                    <a:lnTo>
                      <a:pt x="f758" y="f757"/>
                    </a:lnTo>
                    <a:lnTo>
                      <a:pt x="f247" y="f515"/>
                    </a:lnTo>
                    <a:lnTo>
                      <a:pt x="f759" y="f755"/>
                    </a:lnTo>
                    <a:lnTo>
                      <a:pt x="f760" y="f761"/>
                    </a:lnTo>
                    <a:lnTo>
                      <a:pt x="f762" y="f755"/>
                    </a:lnTo>
                    <a:lnTo>
                      <a:pt x="f763" y="f757"/>
                    </a:lnTo>
                    <a:lnTo>
                      <a:pt x="f764" y="f765"/>
                    </a:lnTo>
                    <a:lnTo>
                      <a:pt x="f766" y="f767"/>
                    </a:lnTo>
                    <a:lnTo>
                      <a:pt x="f768" y="f765"/>
                    </a:lnTo>
                    <a:lnTo>
                      <a:pt x="f219" y="f769"/>
                    </a:lnTo>
                    <a:lnTo>
                      <a:pt x="f770" y="f771"/>
                    </a:lnTo>
                    <a:lnTo>
                      <a:pt x="f772" y="f773"/>
                    </a:lnTo>
                    <a:lnTo>
                      <a:pt x="f216" y="f774"/>
                    </a:lnTo>
                    <a:lnTo>
                      <a:pt x="f775" y="f776"/>
                    </a:lnTo>
                    <a:lnTo>
                      <a:pt x="f777" y="f778"/>
                    </a:lnTo>
                    <a:lnTo>
                      <a:pt x="f779" y="f773"/>
                    </a:lnTo>
                    <a:lnTo>
                      <a:pt x="f780" y="f517"/>
                    </a:lnTo>
                    <a:lnTo>
                      <a:pt x="f186" y="f781"/>
                    </a:lnTo>
                    <a:lnTo>
                      <a:pt x="f167" y="f781"/>
                    </a:lnTo>
                    <a:lnTo>
                      <a:pt x="f782" y="f517"/>
                    </a:lnTo>
                    <a:lnTo>
                      <a:pt x="f783" y="f517"/>
                    </a:lnTo>
                    <a:lnTo>
                      <a:pt x="f149" y="f781"/>
                    </a:lnTo>
                    <a:lnTo>
                      <a:pt x="f784" y="f785"/>
                    </a:lnTo>
                    <a:lnTo>
                      <a:pt x="f143" y="f767"/>
                    </a:lnTo>
                    <a:lnTo>
                      <a:pt x="f786" y="f511"/>
                    </a:lnTo>
                    <a:lnTo>
                      <a:pt x="f132" y="f787"/>
                    </a:lnTo>
                    <a:lnTo>
                      <a:pt x="f136" y="f495"/>
                    </a:lnTo>
                    <a:lnTo>
                      <a:pt x="f788" y="f392"/>
                    </a:lnTo>
                    <a:lnTo>
                      <a:pt x="f116" y="f390"/>
                    </a:lnTo>
                    <a:lnTo>
                      <a:pt x="f789" y="f790"/>
                    </a:lnTo>
                    <a:lnTo>
                      <a:pt x="f791" y="f388"/>
                    </a:lnTo>
                    <a:lnTo>
                      <a:pt x="f792" y="f486"/>
                    </a:lnTo>
                    <a:lnTo>
                      <a:pt x="f110" y="f484"/>
                    </a:lnTo>
                    <a:lnTo>
                      <a:pt x="f792" y="f427"/>
                    </a:lnTo>
                    <a:lnTo>
                      <a:pt x="f110" y="f793"/>
                    </a:lnTo>
                    <a:lnTo>
                      <a:pt x="f794" y="f795"/>
                    </a:lnTo>
                    <a:lnTo>
                      <a:pt x="f796" y="f384"/>
                    </a:lnTo>
                    <a:lnTo>
                      <a:pt x="f797" y="f382"/>
                    </a:lnTo>
                    <a:lnTo>
                      <a:pt x="f798" y="f799"/>
                    </a:lnTo>
                    <a:lnTo>
                      <a:pt x="f800" y="f410"/>
                    </a:lnTo>
                    <a:lnTo>
                      <a:pt x="f45" y="f370"/>
                    </a:lnTo>
                    <a:lnTo>
                      <a:pt x="f801" y="f215"/>
                    </a:lnTo>
                    <a:lnTo>
                      <a:pt x="f801" y="f348"/>
                    </a:lnTo>
                    <a:lnTo>
                      <a:pt x="f45" y="f802"/>
                    </a:lnTo>
                    <a:lnTo>
                      <a:pt x="f800" y="f218"/>
                    </a:lnTo>
                    <a:lnTo>
                      <a:pt x="f803" y="f804"/>
                    </a:lnTo>
                    <a:lnTo>
                      <a:pt x="f805" y="f206"/>
                    </a:lnTo>
                    <a:lnTo>
                      <a:pt x="f806" y="f807"/>
                    </a:lnTo>
                    <a:lnTo>
                      <a:pt x="f798" y="f808"/>
                    </a:lnTo>
                    <a:lnTo>
                      <a:pt x="f809" y="f202"/>
                    </a:lnTo>
                    <a:lnTo>
                      <a:pt x="f810" y="f333"/>
                    </a:lnTo>
                    <a:lnTo>
                      <a:pt x="f800" y="f446"/>
                    </a:lnTo>
                    <a:lnTo>
                      <a:pt x="f811" y="f187"/>
                    </a:lnTo>
                    <a:lnTo>
                      <a:pt x="f99" y="f185"/>
                    </a:lnTo>
                    <a:lnTo>
                      <a:pt x="f812" y="f185"/>
                    </a:lnTo>
                    <a:lnTo>
                      <a:pt x="f813" y="f185"/>
                    </a:lnTo>
                    <a:lnTo>
                      <a:pt x="f814" y="f815"/>
                    </a:lnTo>
                    <a:lnTo>
                      <a:pt x="f76" y="f447"/>
                    </a:lnTo>
                    <a:lnTo>
                      <a:pt x="f59" y="f816"/>
                    </a:lnTo>
                    <a:lnTo>
                      <a:pt x="f25" y="f473"/>
                    </a:lnTo>
                    <a:lnTo>
                      <a:pt x="f65" y="f817"/>
                    </a:lnTo>
                    <a:lnTo>
                      <a:pt x="f818" y="f817"/>
                    </a:lnTo>
                    <a:lnTo>
                      <a:pt x="f819" y="f235"/>
                    </a:lnTo>
                    <a:lnTo>
                      <a:pt x="f820" y="f815"/>
                    </a:lnTo>
                    <a:lnTo>
                      <a:pt x="f13" y="f177"/>
                    </a:lnTo>
                    <a:lnTo>
                      <a:pt x="f6" y="f238"/>
                    </a:lnTo>
                    <a:lnTo>
                      <a:pt x="f11" y="f821"/>
                    </a:lnTo>
                    <a:lnTo>
                      <a:pt x="f822" y="f823"/>
                    </a:lnTo>
                    <a:lnTo>
                      <a:pt x="f820" y="f824"/>
                    </a:lnTo>
                    <a:lnTo>
                      <a:pt x="f818" y="f158"/>
                    </a:lnTo>
                    <a:lnTo>
                      <a:pt x="f71" y="f825"/>
                    </a:lnTo>
                    <a:lnTo>
                      <a:pt x="f826" y="f827"/>
                    </a:lnTo>
                    <a:lnTo>
                      <a:pt x="f828" y="f469"/>
                    </a:lnTo>
                    <a:lnTo>
                      <a:pt x="f81" y="f469"/>
                    </a:lnTo>
                    <a:lnTo>
                      <a:pt x="f95" y="f144"/>
                    </a:lnTo>
                    <a:lnTo>
                      <a:pt x="f79" y="f829"/>
                    </a:lnTo>
                    <a:lnTo>
                      <a:pt x="f76" y="f829"/>
                    </a:lnTo>
                    <a:lnTo>
                      <a:pt x="f814" y="f144"/>
                    </a:lnTo>
                    <a:lnTo>
                      <a:pt x="f830" y="f827"/>
                    </a:lnTo>
                    <a:lnTo>
                      <a:pt x="f831" y="f142"/>
                    </a:lnTo>
                    <a:lnTo>
                      <a:pt x="f832" y="f139"/>
                    </a:lnTo>
                    <a:lnTo>
                      <a:pt x="f806" y="f465"/>
                    </a:lnTo>
                    <a:lnTo>
                      <a:pt x="f101" y="f246"/>
                    </a:lnTo>
                    <a:lnTo>
                      <a:pt x="f833" y="f462"/>
                    </a:lnTo>
                    <a:lnTo>
                      <a:pt x="f834" y="f129"/>
                    </a:lnTo>
                    <a:lnTo>
                      <a:pt x="f835" y="f128"/>
                    </a:lnTo>
                    <a:lnTo>
                      <a:pt x="f836" y="f837"/>
                    </a:lnTo>
                    <a:lnTo>
                      <a:pt x="f838" y="f325"/>
                    </a:lnTo>
                    <a:lnTo>
                      <a:pt x="f839" y="f453"/>
                    </a:lnTo>
                    <a:lnTo>
                      <a:pt x="f840" y="f450"/>
                    </a:lnTo>
                    <a:lnTo>
                      <a:pt x="f141" y="f841"/>
                    </a:lnTo>
                    <a:lnTo>
                      <a:pt x="f842" y="f843"/>
                    </a:lnTo>
                    <a:lnTo>
                      <a:pt x="f786" y="f455"/>
                    </a:lnTo>
                    <a:lnTo>
                      <a:pt x="f130" y="f844"/>
                    </a:lnTo>
                    <a:lnTo>
                      <a:pt x="f845" y="f448"/>
                    </a:lnTo>
                    <a:lnTo>
                      <a:pt x="f141" y="f846"/>
                    </a:lnTo>
                    <a:lnTo>
                      <a:pt x="f847" y="f848"/>
                    </a:lnTo>
                    <a:lnTo>
                      <a:pt x="f784" y="f849"/>
                    </a:lnTo>
                    <a:lnTo>
                      <a:pt x="f850" y="f851"/>
                    </a:lnTo>
                    <a:lnTo>
                      <a:pt x="f3" y="f113"/>
                    </a:lnTo>
                    <a:lnTo>
                      <a:pt x="f783" y="f111"/>
                    </a:lnTo>
                    <a:lnTo>
                      <a:pt x="f3" y="f316"/>
                    </a:lnTo>
                    <a:lnTo>
                      <a:pt x="f852" y="f312"/>
                    </a:lnTo>
                    <a:lnTo>
                      <a:pt x="f853" y="f498"/>
                    </a:lnTo>
                    <a:lnTo>
                      <a:pt x="f850" y="f443"/>
                    </a:lnTo>
                    <a:lnTo>
                      <a:pt x="f149" y="f854"/>
                    </a:lnTo>
                    <a:lnTo>
                      <a:pt x="f852" y="f103"/>
                    </a:lnTo>
                    <a:lnTo>
                      <a:pt x="f855" y="f281"/>
                    </a:lnTo>
                    <a:lnTo>
                      <a:pt x="f145" y="f276"/>
                    </a:lnTo>
                    <a:lnTo>
                      <a:pt x="f856" y="f857"/>
                    </a:lnTo>
                    <a:lnTo>
                      <a:pt x="f784" y="f91"/>
                    </a:lnTo>
                    <a:lnTo>
                      <a:pt x="f858" y="f440"/>
                    </a:lnTo>
                    <a:lnTo>
                      <a:pt x="f149" y="f440"/>
                    </a:lnTo>
                    <a:lnTo>
                      <a:pt x="f859" y="f304"/>
                    </a:lnTo>
                    <a:lnTo>
                      <a:pt x="f860" y="f439"/>
                    </a:lnTo>
                    <a:lnTo>
                      <a:pt x="f3" y="f430"/>
                    </a:lnTo>
                    <a:lnTo>
                      <a:pt x="f3" y="f861"/>
                    </a:lnTo>
                    <a:lnTo>
                      <a:pt x="f859" y="f862"/>
                    </a:lnTo>
                    <a:lnTo>
                      <a:pt x="f853" y="f89"/>
                    </a:lnTo>
                    <a:lnTo>
                      <a:pt x="f863" y="f864"/>
                    </a:lnTo>
                    <a:lnTo>
                      <a:pt x="f126" y="f865"/>
                    </a:lnTo>
                    <a:lnTo>
                      <a:pt x="f141" y="f301"/>
                    </a:lnTo>
                    <a:lnTo>
                      <a:pt x="f866" y="f287"/>
                    </a:lnTo>
                    <a:lnTo>
                      <a:pt x="f839" y="f867"/>
                    </a:lnTo>
                    <a:lnTo>
                      <a:pt x="f868" y="f869"/>
                    </a:lnTo>
                    <a:lnTo>
                      <a:pt x="f838" y="f870"/>
                    </a:lnTo>
                    <a:lnTo>
                      <a:pt x="f871" y="f89"/>
                    </a:lnTo>
                    <a:lnTo>
                      <a:pt x="f871" y="f872"/>
                    </a:lnTo>
                    <a:lnTo>
                      <a:pt x="f873" y="f874"/>
                    </a:lnTo>
                    <a:lnTo>
                      <a:pt x="f792" y="f875"/>
                    </a:lnTo>
                    <a:lnTo>
                      <a:pt x="f108" y="f86"/>
                    </a:lnTo>
                    <a:lnTo>
                      <a:pt x="f794" y="f876"/>
                    </a:lnTo>
                    <a:lnTo>
                      <a:pt x="f877" y="f419"/>
                    </a:lnTo>
                    <a:lnTo>
                      <a:pt x="f791" y="f878"/>
                    </a:lnTo>
                    <a:lnTo>
                      <a:pt x="f116" y="f82"/>
                    </a:lnTo>
                    <a:lnTo>
                      <a:pt x="f879" y="f880"/>
                    </a:lnTo>
                    <a:lnTo>
                      <a:pt x="f881" y="f414"/>
                    </a:lnTo>
                    <a:lnTo>
                      <a:pt x="f882" y="f516"/>
                    </a:lnTo>
                    <a:lnTo>
                      <a:pt x="f855" y="f413"/>
                    </a:lnTo>
                    <a:lnTo>
                      <a:pt x="f883" y="f884"/>
                    </a:lnTo>
                    <a:lnTo>
                      <a:pt x="f885" y="f530"/>
                    </a:lnTo>
                    <a:lnTo>
                      <a:pt x="f885" y="f537"/>
                    </a:lnTo>
                    <a:lnTo>
                      <a:pt x="f153" y="f886"/>
                    </a:lnTo>
                    <a:lnTo>
                      <a:pt x="f887" y="f551"/>
                    </a:lnTo>
                    <a:lnTo>
                      <a:pt x="f887" y="f556"/>
                    </a:lnTo>
                    <a:lnTo>
                      <a:pt x="f888" y="f562"/>
                    </a:lnTo>
                    <a:lnTo>
                      <a:pt x="f889" y="f890"/>
                    </a:lnTo>
                    <a:lnTo>
                      <a:pt x="f175" y="f891"/>
                    </a:lnTo>
                    <a:lnTo>
                      <a:pt x="f182" y="f397"/>
                    </a:lnTo>
                    <a:lnTo>
                      <a:pt x="f892" y="f893"/>
                    </a:lnTo>
                    <a:lnTo>
                      <a:pt x="f165" y="f894"/>
                    </a:lnTo>
                    <a:lnTo>
                      <a:pt x="f175" y="f589"/>
                    </a:lnTo>
                    <a:lnTo>
                      <a:pt x="f172" y="f895"/>
                    </a:lnTo>
                    <a:lnTo>
                      <a:pt x="f892" y="f593"/>
                    </a:lnTo>
                    <a:lnTo>
                      <a:pt x="f896" y="f897"/>
                    </a:lnTo>
                    <a:lnTo>
                      <a:pt x="f898" y="f899"/>
                    </a:lnTo>
                    <a:lnTo>
                      <a:pt x="f900" y="f899"/>
                    </a:lnTo>
                    <a:lnTo>
                      <a:pt x="f901" y="f902"/>
                    </a:lnTo>
                    <a:lnTo>
                      <a:pt x="f903" y="f899"/>
                    </a:lnTo>
                    <a:lnTo>
                      <a:pt x="f904" y="f905"/>
                    </a:lnTo>
                    <a:lnTo>
                      <a:pt x="f906" y="f381"/>
                    </a:lnTo>
                    <a:lnTo>
                      <a:pt x="f217" y="f32"/>
                    </a:lnTo>
                    <a:lnTo>
                      <a:pt x="f906" y="f907"/>
                    </a:lnTo>
                    <a:lnTo>
                      <a:pt x="f908" y="f909"/>
                    </a:lnTo>
                    <a:lnTo>
                      <a:pt x="f908" y="f910"/>
                    </a:lnTo>
                    <a:lnTo>
                      <a:pt x="f911" y="f912"/>
                    </a:lnTo>
                    <a:lnTo>
                      <a:pt x="f911" y="f22"/>
                    </a:lnTo>
                    <a:lnTo>
                      <a:pt x="f216" y="f625"/>
                    </a:lnTo>
                    <a:lnTo>
                      <a:pt x="f913" y="f914"/>
                    </a:lnTo>
                    <a:lnTo>
                      <a:pt x="f915" y="f916"/>
                    </a:lnTo>
                    <a:lnTo>
                      <a:pt x="f917" y="f371"/>
                    </a:lnTo>
                    <a:lnTo>
                      <a:pt x="f918" y="f919"/>
                    </a:lnTo>
                    <a:lnTo>
                      <a:pt x="f920" y="f921"/>
                    </a:lnTo>
                    <a:lnTo>
                      <a:pt x="f917" y="f18"/>
                    </a:lnTo>
                    <a:lnTo>
                      <a:pt x="f217" y="f922"/>
                    </a:lnTo>
                    <a:lnTo>
                      <a:pt x="f908" y="f12"/>
                    </a:lnTo>
                    <a:lnTo>
                      <a:pt x="f923" y="f632"/>
                    </a:lnTo>
                    <a:lnTo>
                      <a:pt x="f913" y="f365"/>
                    </a:lnTo>
                    <a:lnTo>
                      <a:pt x="f918" y="f636"/>
                    </a:lnTo>
                    <a:lnTo>
                      <a:pt x="f770" y="f637"/>
                    </a:lnTo>
                    <a:lnTo>
                      <a:pt x="f924" y="f359"/>
                    </a:lnTo>
                    <a:lnTo>
                      <a:pt x="f925" y="f926"/>
                    </a:lnTo>
                    <a:lnTo>
                      <a:pt x="f770" y="f646"/>
                    </a:lnTo>
                    <a:lnTo>
                      <a:pt x="f217" y="f927"/>
                    </a:lnTo>
                    <a:lnTo>
                      <a:pt x="f908" y="f928"/>
                    </a:lnTo>
                    <a:lnTo>
                      <a:pt x="f911" y="f929"/>
                    </a:lnTo>
                    <a:lnTo>
                      <a:pt x="f904" y="f930"/>
                    </a:lnTo>
                    <a:lnTo>
                      <a:pt x="f201" y="f931"/>
                    </a:lnTo>
                    <a:lnTo>
                      <a:pt x="f203" y="f932"/>
                    </a:lnTo>
                    <a:lnTo>
                      <a:pt x="f203" y="f933"/>
                    </a:lnTo>
                    <a:lnTo>
                      <a:pt x="f199" y="f934"/>
                    </a:lnTo>
                    <a:lnTo>
                      <a:pt x="f935" y="f352"/>
                    </a:lnTo>
                    <a:lnTo>
                      <a:pt x="f775" y="f352"/>
                    </a:lnTo>
                    <a:lnTo>
                      <a:pt x="f936" y="f937"/>
                    </a:lnTo>
                    <a:lnTo>
                      <a:pt x="f900" y="f937"/>
                    </a:lnTo>
                    <a:lnTo>
                      <a:pt x="f938" y="f939"/>
                    </a:lnTo>
                    <a:lnTo>
                      <a:pt x="f780" y="f652"/>
                    </a:lnTo>
                    <a:lnTo>
                      <a:pt x="f940" y="f652"/>
                    </a:lnTo>
                    <a:lnTo>
                      <a:pt x="f188" y="f937"/>
                    </a:lnTo>
                    <a:lnTo>
                      <a:pt x="f941" y="f937"/>
                    </a:lnTo>
                    <a:lnTo>
                      <a:pt x="f942" y="f651"/>
                    </a:lnTo>
                    <a:lnTo>
                      <a:pt x="f172" y="f654"/>
                    </a:lnTo>
                    <a:lnTo>
                      <a:pt x="f155" y="f339"/>
                    </a:lnTo>
                    <a:lnTo>
                      <a:pt x="f943" y="f349"/>
                    </a:lnTo>
                    <a:lnTo>
                      <a:pt x="f944" y="f337"/>
                    </a:lnTo>
                    <a:lnTo>
                      <a:pt x="f784" y="f658"/>
                    </a:lnTo>
                    <a:lnTo>
                      <a:pt x="f143" y="f336"/>
                    </a:lnTo>
                    <a:lnTo>
                      <a:pt x="f122" y="f945"/>
                    </a:lnTo>
                    <a:lnTo>
                      <a:pt x="f786" y="f946"/>
                    </a:lnTo>
                    <a:lnTo>
                      <a:pt x="f786" y="f311"/>
                    </a:lnTo>
                    <a:lnTo>
                      <a:pt x="f881" y="f292"/>
                    </a:lnTo>
                    <a:lnTo>
                      <a:pt x="f143" y="f947"/>
                    </a:lnTo>
                    <a:lnTo>
                      <a:pt x="f948" y="f949"/>
                    </a:lnTo>
                    <a:lnTo>
                      <a:pt x="f863" y="f286"/>
                    </a:lnTo>
                    <a:lnTo>
                      <a:pt x="f853" y="f950"/>
                    </a:lnTo>
                    <a:lnTo>
                      <a:pt x="f852" y="f681"/>
                    </a:lnTo>
                    <a:lnTo>
                      <a:pt x="f852" y="f951"/>
                    </a:lnTo>
                    <a:lnTo>
                      <a:pt x="f860" y="f283"/>
                    </a:lnTo>
                    <a:lnTo>
                      <a:pt x="f952" y="f684"/>
                    </a:lnTo>
                    <a:lnTo>
                      <a:pt x="f888" y="f953"/>
                    </a:lnTo>
                    <a:lnTo>
                      <a:pt x="f155" y="f954"/>
                    </a:lnTo>
                    <a:lnTo>
                      <a:pt x="f161" y="f955"/>
                    </a:lnTo>
                    <a:lnTo>
                      <a:pt x="f167" y="f956"/>
                    </a:lnTo>
                    <a:lnTo>
                      <a:pt x="f182" y="f957"/>
                    </a:lnTo>
                    <a:lnTo>
                      <a:pt x="f958" y="f959"/>
                    </a:lnTo>
                    <a:lnTo>
                      <a:pt x="f960" y="f275"/>
                    </a:lnTo>
                    <a:lnTo>
                      <a:pt x="f936" y="f961"/>
                    </a:lnTo>
                    <a:lnTo>
                      <a:pt x="f210" y="f962"/>
                    </a:lnTo>
                    <a:lnTo>
                      <a:pt x="f201" y="f961"/>
                    </a:lnTo>
                    <a:lnTo>
                      <a:pt x="f963" y="f964"/>
                    </a:lnTo>
                    <a:lnTo>
                      <a:pt x="f924" y="f692"/>
                    </a:lnTo>
                    <a:lnTo>
                      <a:pt x="f965" y="f957"/>
                    </a:lnTo>
                    <a:lnTo>
                      <a:pt x="f966" y="f690"/>
                    </a:lnTo>
                    <a:lnTo>
                      <a:pt x="f967" y="f968"/>
                    </a:lnTo>
                    <a:lnTo>
                      <a:pt x="f969" y="f278"/>
                    </a:lnTo>
                    <a:lnTo>
                      <a:pt x="f970" y="f971"/>
                    </a:lnTo>
                    <a:lnTo>
                      <a:pt x="f227" y="f955"/>
                    </a:lnTo>
                    <a:lnTo>
                      <a:pt x="f972" y="f973"/>
                    </a:lnTo>
                    <a:lnTo>
                      <a:pt x="f974" y="f975"/>
                    </a:lnTo>
                    <a:lnTo>
                      <a:pt x="f239" y="f973"/>
                    </a:lnTo>
                    <a:lnTo>
                      <a:pt x="f2" y="f955"/>
                    </a:lnTo>
                    <a:lnTo>
                      <a:pt x="f976" y="f278"/>
                    </a:lnTo>
                    <a:lnTo>
                      <a:pt x="f754" y="f956"/>
                    </a:lnTo>
                    <a:lnTo>
                      <a:pt x="f977" y="f978"/>
                    </a:lnTo>
                    <a:lnTo>
                      <a:pt x="f750" y="f277"/>
                    </a:lnTo>
                    <a:lnTo>
                      <a:pt x="f979" y="f980"/>
                    </a:lnTo>
                    <a:lnTo>
                      <a:pt x="f748" y="f981"/>
                    </a:lnTo>
                    <a:lnTo>
                      <a:pt x="f982" y="f983"/>
                    </a:lnTo>
                    <a:lnTo>
                      <a:pt x="f984" y="f694"/>
                    </a:lnTo>
                    <a:lnTo>
                      <a:pt x="f985" y="f272"/>
                    </a:lnTo>
                    <a:lnTo>
                      <a:pt x="f258" y="f695"/>
                    </a:lnTo>
                    <a:lnTo>
                      <a:pt x="f986" y="f270"/>
                    </a:lnTo>
                    <a:lnTo>
                      <a:pt x="f267" y="f700"/>
                    </a:lnTo>
                    <a:lnTo>
                      <a:pt x="f712" y="f698"/>
                    </a:lnTo>
                    <a:lnTo>
                      <a:pt x="f987" y="f267"/>
                    </a:lnTo>
                    <a:lnTo>
                      <a:pt x="f988" y="f989"/>
                    </a:lnTo>
                    <a:lnTo>
                      <a:pt x="f990" y="f991"/>
                    </a:lnTo>
                    <a:lnTo>
                      <a:pt x="f992" y="f993"/>
                    </a:lnTo>
                    <a:lnTo>
                      <a:pt x="f277" y="f715"/>
                    </a:lnTo>
                    <a:lnTo>
                      <a:pt x="f955" y="f994"/>
                    </a:lnTo>
                    <a:lnTo>
                      <a:pt x="f975" y="f695"/>
                    </a:lnTo>
                    <a:lnTo>
                      <a:pt x="f280" y="f270"/>
                    </a:lnTo>
                    <a:lnTo>
                      <a:pt x="f687" y="f697"/>
                    </a:lnTo>
                    <a:lnTo>
                      <a:pt x="f995" y="f733"/>
                    </a:lnTo>
                    <a:lnTo>
                      <a:pt x="f684" y="f263"/>
                    </a:lnTo>
                    <a:lnTo>
                      <a:pt x="f996" y="f997"/>
                    </a:lnTo>
                    <a:lnTo>
                      <a:pt x="f283" y="f998"/>
                    </a:lnTo>
                    <a:lnTo>
                      <a:pt x="f999" y="f1000"/>
                    </a:lnTo>
                    <a:lnTo>
                      <a:pt x="f1001" y="f1002"/>
                    </a:lnTo>
                    <a:lnTo>
                      <a:pt x="f1003" y="f1004"/>
                    </a:lnTo>
                    <a:lnTo>
                      <a:pt x="f1005" y="f256"/>
                    </a:lnTo>
                    <a:lnTo>
                      <a:pt x="f283" y="f1006"/>
                    </a:lnTo>
                    <a:lnTo>
                      <a:pt x="f282" y="f747"/>
                    </a:lnTo>
                    <a:lnTo>
                      <a:pt x="f1007" y="f1008"/>
                    </a:lnTo>
                    <a:lnTo>
                      <a:pt x="f1009" y="f1010"/>
                    </a:lnTo>
                    <a:lnTo>
                      <a:pt x="f1011" y="f1012"/>
                    </a:lnTo>
                    <a:lnTo>
                      <a:pt x="f955" y="f1013"/>
                    </a:lnTo>
                    <a:lnTo>
                      <a:pt x="f689" y="f1014"/>
                    </a:lnTo>
                    <a:lnTo>
                      <a:pt x="f1015" y="f752"/>
                    </a:lnTo>
                    <a:lnTo>
                      <a:pt x="f1016" y="f754"/>
                    </a:lnTo>
                    <a:lnTo>
                      <a:pt x="f981" y="f756"/>
                    </a:lnTo>
                    <a:lnTo>
                      <a:pt x="f959" y="f1017"/>
                    </a:lnTo>
                    <a:lnTo>
                      <a:pt x="f1018" y="f236"/>
                    </a:lnTo>
                    <a:lnTo>
                      <a:pt x="f983" y="f760"/>
                    </a:lnTo>
                    <a:lnTo>
                      <a:pt x="f959" y="f762"/>
                    </a:lnTo>
                    <a:lnTo>
                      <a:pt x="f1019" y="f1020"/>
                    </a:lnTo>
                    <a:lnTo>
                      <a:pt x="f978" y="f1021"/>
                    </a:lnTo>
                    <a:lnTo>
                      <a:pt x="f689" y="f1022"/>
                    </a:lnTo>
                    <a:lnTo>
                      <a:pt x="f688" y="f1023"/>
                    </a:lnTo>
                    <a:lnTo>
                      <a:pt x="f280" y="f221"/>
                    </a:lnTo>
                    <a:lnTo>
                      <a:pt x="f687" y="f1024"/>
                    </a:lnTo>
                    <a:lnTo>
                      <a:pt x="f282" y="f1025"/>
                    </a:lnTo>
                    <a:lnTo>
                      <a:pt x="f1026" y="f908"/>
                    </a:lnTo>
                    <a:lnTo>
                      <a:pt x="f996" y="f212"/>
                    </a:lnTo>
                    <a:lnTo>
                      <a:pt x="f283" y="f936"/>
                    </a:lnTo>
                    <a:lnTo>
                      <a:pt x="f283" y="f960"/>
                    </a:lnTo>
                    <a:lnTo>
                      <a:pt x="f1026" y="f196"/>
                    </a:lnTo>
                    <a:lnTo>
                      <a:pt x="f953" y="f186"/>
                    </a:lnTo>
                    <a:lnTo>
                      <a:pt x="f687" y="f165"/>
                    </a:lnTo>
                    <a:lnTo>
                      <a:pt x="f1027" y="f782"/>
                    </a:lnTo>
                    <a:lnTo>
                      <a:pt x="f1007" y="f1028"/>
                    </a:lnTo>
                    <a:lnTo>
                      <a:pt x="f1029" y="f1030"/>
                    </a:lnTo>
                    <a:lnTo>
                      <a:pt x="f1031" y="f885"/>
                    </a:lnTo>
                    <a:lnTo>
                      <a:pt x="f1032" y="f943"/>
                    </a:lnTo>
                    <a:lnTo>
                      <a:pt x="f1033" y="f1034"/>
                    </a:lnTo>
                    <a:lnTo>
                      <a:pt x="f680" y="f944"/>
                    </a:lnTo>
                    <a:lnTo>
                      <a:pt x="f288" y="f858"/>
                    </a:lnTo>
                    <a:lnTo>
                      <a:pt x="f1035" y="f145"/>
                    </a:lnTo>
                    <a:lnTo>
                      <a:pt x="f1036" y="f122"/>
                    </a:lnTo>
                    <a:lnTo>
                      <a:pt x="f678" y="f132"/>
                    </a:lnTo>
                    <a:lnTo>
                      <a:pt x="f1037" y="f1038"/>
                    </a:lnTo>
                    <a:lnTo>
                      <a:pt x="f298" y="f1039"/>
                    </a:lnTo>
                    <a:lnTo>
                      <a:pt x="f324" y="f112"/>
                    </a:lnTo>
                    <a:lnTo>
                      <a:pt x="f1040" y="f792"/>
                    </a:lnTo>
                    <a:lnTo>
                      <a:pt x="f1041" y="f794"/>
                    </a:lnTo>
                    <a:lnTo>
                      <a:pt x="f1041" y="f836"/>
                    </a:lnTo>
                    <a:lnTo>
                      <a:pt x="f1040" y="f1042"/>
                    </a:lnTo>
                    <a:lnTo>
                      <a:pt x="f308" y="f1043"/>
                    </a:lnTo>
                    <a:lnTo>
                      <a:pt x="f324" y="f809"/>
                    </a:lnTo>
                    <a:lnTo>
                      <a:pt x="f328" y="f831"/>
                    </a:lnTo>
                    <a:lnTo>
                      <a:pt x="f300" y="f1044"/>
                    </a:lnTo>
                    <a:lnTo>
                      <a:pt x="f1045" y="f1046"/>
                    </a:lnTo>
                    <a:lnTo>
                      <a:pt x="f1047" y="f76"/>
                    </a:lnTo>
                    <a:lnTo>
                      <a:pt x="f664" y="f1048"/>
                    </a:lnTo>
                    <a:lnTo>
                      <a:pt x="f336" y="f1049"/>
                    </a:lnTo>
                    <a:lnTo>
                      <a:pt x="f1050" y="f31"/>
                    </a:lnTo>
                    <a:lnTo>
                      <a:pt x="f1051" y="f61"/>
                    </a:lnTo>
                    <a:lnTo>
                      <a:pt x="f1051" y="f67"/>
                    </a:lnTo>
                    <a:lnTo>
                      <a:pt x="f1052" y="f818"/>
                    </a:lnTo>
                    <a:lnTo>
                      <a:pt x="f347" y="f1053"/>
                    </a:lnTo>
                    <a:lnTo>
                      <a:pt x="f339" y="f1053"/>
                    </a:lnTo>
                    <a:lnTo>
                      <a:pt x="f1054" y="f818"/>
                    </a:lnTo>
                    <a:lnTo>
                      <a:pt x="f653" y="f818"/>
                    </a:lnTo>
                    <a:lnTo>
                      <a:pt x="f939" y="f1053"/>
                    </a:lnTo>
                    <a:lnTo>
                      <a:pt x="f352" y="f17"/>
                    </a:lnTo>
                    <a:lnTo>
                      <a:pt x="f650" y="f1055"/>
                    </a:lnTo>
                    <a:lnTo>
                      <a:pt x="f353" y="f1056"/>
                    </a:lnTo>
                    <a:lnTo>
                      <a:pt x="f927" y="f13"/>
                    </a:lnTo>
                    <a:lnTo>
                      <a:pt x="f1057" y="f11"/>
                    </a:lnTo>
                    <a:lnTo>
                      <a:pt x="f9" y="f6"/>
                    </a:lnTo>
                    <a:close/>
                  </a:path>
                </a:pathLst>
              </a:custGeom>
              <a:gradFill>
                <a:gsLst>
                  <a:gs pos="0">
                    <a:srgbClr val="00A5D5"/>
                  </a:gs>
                  <a:gs pos="100000">
                    <a:srgbClr val="4DD7FF"/>
                  </a:gs>
                </a:gsLst>
                <a:lin ang="5400000"/>
              </a:gradFill>
              <a:ln w="0" cap="flat">
                <a:solidFill>
                  <a:srgbClr val="666666"/>
                </a:solidFill>
                <a:prstDash val="solid"/>
                <a:round/>
              </a:ln>
              <a:effectLst>
                <a:outerShdw dir="16200000" algn="tl">
                  <a:srgbClr val="000000">
                    <a:alpha val="15000"/>
                  </a:srgbClr>
                </a:outerShdw>
              </a:effectLst>
            </p:spPr>
            <p:txBody>
              <a:bodyPr vert="horz" wrap="square" lIns="100817" tIns="50408" rIns="100817" bIns="50408" anchor="t" anchorCtr="0" compatLnSpc="1">
                <a:noAutofit/>
              </a:bodyPr>
              <a:lstStyle/>
              <a:p>
                <a:pPr algn="l" defTabSz="1008126" fontAlgn="auto">
                  <a:spcBef>
                    <a:spcPts val="0"/>
                  </a:spcBef>
                  <a:spcAft>
                    <a:spcPts val="0"/>
                  </a:spcAft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985" kern="0">
                  <a:solidFill>
                    <a:srgbClr val="003399"/>
                  </a:solidFill>
                  <a:latin typeface="Ubuntu"/>
                </a:endParaRPr>
              </a:p>
            </p:txBody>
          </p:sp>
        </p:grpSp>
      </p:grpSp>
      <p:pic>
        <p:nvPicPr>
          <p:cNvPr id="104" name="Grafik 106">
            <a:extLst>
              <a:ext uri="{FF2B5EF4-FFF2-40B4-BE49-F238E27FC236}">
                <a16:creationId xmlns:a16="http://schemas.microsoft.com/office/drawing/2014/main" id="{59A6B4F9-DBF4-4958-A5E6-CC1F7CB5AF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80288" y="2357370"/>
            <a:ext cx="3644104" cy="450525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5" name="Grafik 108" descr="Benutzer">
            <a:extLst>
              <a:ext uri="{FF2B5EF4-FFF2-40B4-BE49-F238E27FC236}">
                <a16:creationId xmlns:a16="http://schemas.microsoft.com/office/drawing/2014/main" id="{11E59C1A-8629-4C97-8F06-8887EE32A7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28749" y="1896495"/>
            <a:ext cx="707482" cy="70748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6" name="Grafik 109" descr="Benutzer">
            <a:extLst>
              <a:ext uri="{FF2B5EF4-FFF2-40B4-BE49-F238E27FC236}">
                <a16:creationId xmlns:a16="http://schemas.microsoft.com/office/drawing/2014/main" id="{5A3DA99B-7453-4851-BC88-FC96D96095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70084" y="2143093"/>
            <a:ext cx="850299" cy="8502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7" name="Grafik 110" descr="Benutzer">
            <a:extLst>
              <a:ext uri="{FF2B5EF4-FFF2-40B4-BE49-F238E27FC236}">
                <a16:creationId xmlns:a16="http://schemas.microsoft.com/office/drawing/2014/main" id="{CFAFF196-32C2-46DC-9A92-ADE6D55FE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04606" y="2083863"/>
            <a:ext cx="1008168" cy="100816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8" name="Grafik 111" descr="Benutzer">
            <a:extLst>
              <a:ext uri="{FF2B5EF4-FFF2-40B4-BE49-F238E27FC236}">
                <a16:creationId xmlns:a16="http://schemas.microsoft.com/office/drawing/2014/main" id="{3E51FF38-C4F7-48DC-8AEF-10B802D9FC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81687" y="2024825"/>
            <a:ext cx="1008168" cy="100816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9" name="Grafik 113" descr="Datenbank">
            <a:extLst>
              <a:ext uri="{FF2B5EF4-FFF2-40B4-BE49-F238E27FC236}">
                <a16:creationId xmlns:a16="http://schemas.microsoft.com/office/drawing/2014/main" id="{EDFE7CC5-1B34-484F-AE15-23CE9E110A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326892" y="5401937"/>
            <a:ext cx="1144189" cy="100816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10" name="Grafik 117" descr="Schloss">
            <a:extLst>
              <a:ext uri="{FF2B5EF4-FFF2-40B4-BE49-F238E27FC236}">
                <a16:creationId xmlns:a16="http://schemas.microsoft.com/office/drawing/2014/main" id="{6C3288F2-C24A-4873-8A69-6CA0B3CA98D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94903" y="6358538"/>
            <a:ext cx="1008168" cy="100816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11" name="Grafik 119" descr="Verbotszeichen">
            <a:extLst>
              <a:ext uri="{FF2B5EF4-FFF2-40B4-BE49-F238E27FC236}">
                <a16:creationId xmlns:a16="http://schemas.microsoft.com/office/drawing/2014/main" id="{BB0B8AFB-904D-4A8F-8A96-3F953B23B76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012216" y="4472819"/>
            <a:ext cx="1008168" cy="100816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12" name="Grafik 120" descr="Benutzer">
            <a:extLst>
              <a:ext uri="{FF2B5EF4-FFF2-40B4-BE49-F238E27FC236}">
                <a16:creationId xmlns:a16="http://schemas.microsoft.com/office/drawing/2014/main" id="{E5DAB764-92C7-4B93-86B3-71EF8F29CE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3877" y="1837446"/>
            <a:ext cx="707482" cy="70748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13" name="Grafik 121" descr="Benutzer">
            <a:extLst>
              <a:ext uri="{FF2B5EF4-FFF2-40B4-BE49-F238E27FC236}">
                <a16:creationId xmlns:a16="http://schemas.microsoft.com/office/drawing/2014/main" id="{5E66FDA6-356A-406A-8D5B-8361427919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765223" y="2084045"/>
            <a:ext cx="850299" cy="8502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14" name="Grafik 123" descr="Benutzer">
            <a:extLst>
              <a:ext uri="{FF2B5EF4-FFF2-40B4-BE49-F238E27FC236}">
                <a16:creationId xmlns:a16="http://schemas.microsoft.com/office/drawing/2014/main" id="{1DCAA5A2-4138-4D00-AE64-94D0BB3CBB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76826" y="1965776"/>
            <a:ext cx="1008168" cy="100816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15" name="Grafik 124" descr="Verbotszeichen">
            <a:extLst>
              <a:ext uri="{FF2B5EF4-FFF2-40B4-BE49-F238E27FC236}">
                <a16:creationId xmlns:a16="http://schemas.microsoft.com/office/drawing/2014/main" id="{D36D6C4C-9AEF-49AB-9F5B-C749D6DC58C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380910" y="4435637"/>
            <a:ext cx="1008168" cy="1008168"/>
          </a:xfrm>
          <a:prstGeom prst="rect">
            <a:avLst/>
          </a:prstGeom>
          <a:noFill/>
          <a:ln cap="flat">
            <a:noFill/>
          </a:ln>
        </p:spPr>
      </p:pic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3">
            <a:extLst>
              <a:ext uri="{FF2B5EF4-FFF2-40B4-BE49-F238E27FC236}">
                <a16:creationId xmlns:a16="http://schemas.microsoft.com/office/drawing/2014/main" id="{25EFC8FF-8CEB-48B7-A9BF-06A0AC12AE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413195"/>
              </p:ext>
            </p:extLst>
          </p:nvPr>
        </p:nvGraphicFramePr>
        <p:xfrm>
          <a:off x="353" y="0"/>
          <a:ext cx="13568248" cy="777129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3392062">
                  <a:extLst>
                    <a:ext uri="{9D8B030D-6E8A-4147-A177-3AD203B41FA5}">
                      <a16:colId xmlns:a16="http://schemas.microsoft.com/office/drawing/2014/main" val="2480142454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3976264875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3332465126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347102600"/>
                    </a:ext>
                  </a:extLst>
                </a:gridCol>
              </a:tblGrid>
              <a:tr h="7771293">
                <a:tc>
                  <a:txBody>
                    <a:bodyPr/>
                    <a:lstStyle/>
                    <a:p>
                      <a:pPr lvl="0" algn="ctr"/>
                      <a:endParaRPr lang="de-CH" sz="3500" dirty="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 dirty="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 dirty="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 dirty="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 dirty="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 dirty="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 dirty="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r>
                        <a:rPr lang="de-CH" sz="3500" dirty="0">
                          <a:solidFill>
                            <a:srgbClr val="000000"/>
                          </a:solidFill>
                        </a:rPr>
                        <a:t>Public</a:t>
                      </a:r>
                    </a:p>
                  </a:txBody>
                  <a:tcPr marL="100817" marR="100817" marT="50408" marB="50408">
                    <a:solidFill>
                      <a:srgbClr val="BAD80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6000" dirty="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br>
                        <a:rPr lang="de-CH" sz="6000" dirty="0">
                          <a:solidFill>
                            <a:srgbClr val="000000"/>
                          </a:solidFill>
                        </a:rPr>
                      </a:br>
                      <a:endParaRPr lang="de-CH" sz="6000" dirty="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6000" dirty="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r>
                        <a:rPr lang="de-CH" sz="6000" dirty="0">
                          <a:solidFill>
                            <a:srgbClr val="000000"/>
                          </a:solidFill>
                        </a:rPr>
                        <a:t>Internal</a:t>
                      </a:r>
                    </a:p>
                  </a:txBody>
                  <a:tcPr marL="100817" marR="100817" marT="50408" marB="50408">
                    <a:solidFill>
                      <a:srgbClr val="FFF1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r>
                        <a:rPr lang="de-CH" sz="3500" dirty="0"/>
                        <a:t> </a:t>
                      </a:r>
                      <a:r>
                        <a:rPr lang="de-CH" sz="3500" dirty="0" err="1"/>
                        <a:t>Confidential</a:t>
                      </a:r>
                      <a:endParaRPr lang="de-CH" sz="3500" dirty="0"/>
                    </a:p>
                  </a:txBody>
                  <a:tcPr marL="100817" marR="100817" marT="50408" marB="50408">
                    <a:solidFill>
                      <a:srgbClr val="EA8E1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endParaRPr lang="de-CH" sz="3500" dirty="0"/>
                    </a:p>
                    <a:p>
                      <a:pPr lvl="0" algn="ctr"/>
                      <a:r>
                        <a:rPr lang="de-CH" sz="3500" dirty="0"/>
                        <a:t>Secret</a:t>
                      </a:r>
                    </a:p>
                  </a:txBody>
                  <a:tcPr marL="100817" marR="100817" marT="50408" marB="50408">
                    <a:solidFill>
                      <a:srgbClr val="A8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6357228"/>
                  </a:ext>
                </a:extLst>
              </a:tr>
            </a:tbl>
          </a:graphicData>
        </a:graphic>
      </p:graphicFrame>
      <p:grpSp>
        <p:nvGrpSpPr>
          <p:cNvPr id="3" name="Gruppieren 4">
            <a:extLst>
              <a:ext uri="{FF2B5EF4-FFF2-40B4-BE49-F238E27FC236}">
                <a16:creationId xmlns:a16="http://schemas.microsoft.com/office/drawing/2014/main" id="{D9BDEC96-C666-4095-826E-810EFB7C4FE9}"/>
              </a:ext>
            </a:extLst>
          </p:cNvPr>
          <p:cNvGrpSpPr/>
          <p:nvPr/>
        </p:nvGrpSpPr>
        <p:grpSpPr>
          <a:xfrm>
            <a:off x="3305175" y="3623325"/>
            <a:ext cx="4016037" cy="963909"/>
            <a:chOff x="2704804" y="4504435"/>
            <a:chExt cx="3919136" cy="874257"/>
          </a:xfrm>
        </p:grpSpPr>
        <p:sp>
          <p:nvSpPr>
            <p:cNvPr id="4" name="Rechteck: abgerundete Ecken 6">
              <a:extLst>
                <a:ext uri="{FF2B5EF4-FFF2-40B4-BE49-F238E27FC236}">
                  <a16:creationId xmlns:a16="http://schemas.microsoft.com/office/drawing/2014/main" id="{ABC40F04-8F44-4BA4-9EE3-51A7F3597F0A}"/>
                </a:ext>
              </a:extLst>
            </p:cNvPr>
            <p:cNvSpPr/>
            <p:nvPr/>
          </p:nvSpPr>
          <p:spPr>
            <a:xfrm>
              <a:off x="2704804" y="4504435"/>
              <a:ext cx="3613754" cy="874257"/>
            </a:xfrm>
            <a:custGeom>
              <a:avLst/>
              <a:gdLst>
                <a:gd name="f0" fmla="val 10800000"/>
                <a:gd name="f1" fmla="val 5400000"/>
                <a:gd name="f2" fmla="val 16200000"/>
                <a:gd name="f3" fmla="val w"/>
                <a:gd name="f4" fmla="val h"/>
                <a:gd name="f5" fmla="val ss"/>
                <a:gd name="f6" fmla="val 0"/>
                <a:gd name="f7" fmla="*/ 5419351 1 1725033"/>
                <a:gd name="f8" fmla="val 45"/>
                <a:gd name="f9" fmla="val 3600"/>
                <a:gd name="f10" fmla="abs f3"/>
                <a:gd name="f11" fmla="abs f4"/>
                <a:gd name="f12" fmla="abs f5"/>
                <a:gd name="f13" fmla="*/ f7 1 180"/>
                <a:gd name="f14" fmla="+- 0 0 f1"/>
                <a:gd name="f15" fmla="+- f6 f9 0"/>
                <a:gd name="f16" fmla="?: f10 f3 1"/>
                <a:gd name="f17" fmla="?: f11 f4 1"/>
                <a:gd name="f18" fmla="?: f12 f5 1"/>
                <a:gd name="f19" fmla="*/ f8 f13 1"/>
                <a:gd name="f20" fmla="+- f6 0 f15"/>
                <a:gd name="f21" fmla="+- f15 0 f6"/>
                <a:gd name="f22" fmla="*/ f16 1 21600"/>
                <a:gd name="f23" fmla="*/ f17 1 21600"/>
                <a:gd name="f24" fmla="*/ 21600 f16 1"/>
                <a:gd name="f25" fmla="*/ 21600 f17 1"/>
                <a:gd name="f26" fmla="+- 0 0 f19"/>
                <a:gd name="f27" fmla="abs f20"/>
                <a:gd name="f28" fmla="abs f21"/>
                <a:gd name="f29" fmla="?: f20 f14 f1"/>
                <a:gd name="f30" fmla="?: f20 f1 f14"/>
                <a:gd name="f31" fmla="?: f20 f2 f1"/>
                <a:gd name="f32" fmla="?: f20 f1 f2"/>
                <a:gd name="f33" fmla="?: f21 f14 f1"/>
                <a:gd name="f34" fmla="?: f21 f1 f14"/>
                <a:gd name="f35" fmla="?: f20 0 f0"/>
                <a:gd name="f36" fmla="?: f20 f0 0"/>
                <a:gd name="f37" fmla="min f23 f22"/>
                <a:gd name="f38" fmla="*/ f24 1 f18"/>
                <a:gd name="f39" fmla="*/ f25 1 f18"/>
                <a:gd name="f40" fmla="*/ f26 f0 1"/>
                <a:gd name="f41" fmla="?: f20 f32 f31"/>
                <a:gd name="f42" fmla="?: f20 f31 f32"/>
                <a:gd name="f43" fmla="?: f21 f30 f29"/>
                <a:gd name="f44" fmla="val f38"/>
                <a:gd name="f45" fmla="val f39"/>
                <a:gd name="f46" fmla="*/ f40 1 f7"/>
                <a:gd name="f47" fmla="?: f21 f42 f41"/>
                <a:gd name="f48" fmla="*/ f15 f37 1"/>
                <a:gd name="f49" fmla="*/ f6 f37 1"/>
                <a:gd name="f50" fmla="*/ f27 f37 1"/>
                <a:gd name="f51" fmla="*/ f28 f37 1"/>
                <a:gd name="f52" fmla="+- f45 0 f9"/>
                <a:gd name="f53" fmla="+- f44 0 f9"/>
                <a:gd name="f54" fmla="+- f46 0 f1"/>
                <a:gd name="f55" fmla="*/ f45 f37 1"/>
                <a:gd name="f56" fmla="*/ f44 f37 1"/>
                <a:gd name="f57" fmla="+- f45 0 f52"/>
                <a:gd name="f58" fmla="+- f44 0 f53"/>
                <a:gd name="f59" fmla="+- f52 0 f45"/>
                <a:gd name="f60" fmla="+- f53 0 f44"/>
                <a:gd name="f61" fmla="+- f54 f1 0"/>
                <a:gd name="f62" fmla="*/ f52 f37 1"/>
                <a:gd name="f63" fmla="*/ f53 f37 1"/>
                <a:gd name="f64" fmla="abs f57"/>
                <a:gd name="f65" fmla="?: f57 0 f0"/>
                <a:gd name="f66" fmla="?: f57 f0 0"/>
                <a:gd name="f67" fmla="?: f57 f33 f34"/>
                <a:gd name="f68" fmla="abs f58"/>
                <a:gd name="f69" fmla="abs f59"/>
                <a:gd name="f70" fmla="?: f58 f14 f1"/>
                <a:gd name="f71" fmla="?: f58 f1 f14"/>
                <a:gd name="f72" fmla="?: f58 f2 f1"/>
                <a:gd name="f73" fmla="?: f58 f1 f2"/>
                <a:gd name="f74" fmla="abs f60"/>
                <a:gd name="f75" fmla="?: f60 f14 f1"/>
                <a:gd name="f76" fmla="?: f60 f1 f14"/>
                <a:gd name="f77" fmla="?: f60 f36 f35"/>
                <a:gd name="f78" fmla="?: f60 f35 f36"/>
                <a:gd name="f79" fmla="*/ f61 f7 1"/>
                <a:gd name="f80" fmla="?: f21 f66 f65"/>
                <a:gd name="f81" fmla="?: f21 f65 f66"/>
                <a:gd name="f82" fmla="?: f58 f73 f72"/>
                <a:gd name="f83" fmla="?: f58 f72 f73"/>
                <a:gd name="f84" fmla="?: f59 f71 f70"/>
                <a:gd name="f85" fmla="?: f20 f77 f78"/>
                <a:gd name="f86" fmla="?: f20 f75 f76"/>
                <a:gd name="f87" fmla="*/ f79 1 f0"/>
                <a:gd name="f88" fmla="*/ f64 f37 1"/>
                <a:gd name="f89" fmla="*/ f68 f37 1"/>
                <a:gd name="f90" fmla="*/ f69 f37 1"/>
                <a:gd name="f91" fmla="*/ f74 f37 1"/>
                <a:gd name="f92" fmla="?: f57 f80 f81"/>
                <a:gd name="f93" fmla="?: f59 f83 f82"/>
                <a:gd name="f94" fmla="+- 0 0 f87"/>
                <a:gd name="f95" fmla="+- 0 0 f94"/>
                <a:gd name="f96" fmla="*/ f95 f0 1"/>
                <a:gd name="f97" fmla="*/ f96 1 f7"/>
                <a:gd name="f98" fmla="+- f97 0 f1"/>
                <a:gd name="f99" fmla="cos 1 f98"/>
                <a:gd name="f100" fmla="+- 0 0 f99"/>
                <a:gd name="f101" fmla="+- 0 0 f100"/>
                <a:gd name="f102" fmla="val f101"/>
                <a:gd name="f103" fmla="+- 0 0 f102"/>
                <a:gd name="f104" fmla="*/ f9 f103 1"/>
                <a:gd name="f105" fmla="*/ f104 3163 1"/>
                <a:gd name="f106" fmla="*/ f105 1 7636"/>
                <a:gd name="f107" fmla="+- f6 f106 0"/>
                <a:gd name="f108" fmla="+- f44 0 f106"/>
                <a:gd name="f109" fmla="+- f45 0 f106"/>
                <a:gd name="f110" fmla="*/ f107 f37 1"/>
                <a:gd name="f111" fmla="*/ f108 f37 1"/>
                <a:gd name="f112" fmla="*/ f109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10" t="f110" r="f111" b="f112"/>
              <a:pathLst>
                <a:path>
                  <a:moveTo>
                    <a:pt x="f48" y="f49"/>
                  </a:moveTo>
                  <a:arcTo wR="f50" hR="f51" stAng="f47" swAng="f43"/>
                  <a:lnTo>
                    <a:pt x="f49" y="f62"/>
                  </a:lnTo>
                  <a:arcTo wR="f51" hR="f88" stAng="f92" swAng="f67"/>
                  <a:lnTo>
                    <a:pt x="f63" y="f55"/>
                  </a:lnTo>
                  <a:arcTo wR="f89" hR="f90" stAng="f93" swAng="f84"/>
                  <a:lnTo>
                    <a:pt x="f56" y="f48"/>
                  </a:lnTo>
                  <a:arcTo wR="f91" hR="f50" stAng="f85" swAng="f86"/>
                  <a:close/>
                </a:path>
              </a:pathLst>
            </a:custGeom>
            <a:solidFill>
              <a:srgbClr val="FFFFFF">
                <a:alpha val="46000"/>
              </a:srgbClr>
            </a:solidFill>
            <a:ln w="12701" cap="flat">
              <a:solidFill>
                <a:srgbClr val="A5A5A5"/>
              </a:solidFill>
              <a:prstDash val="solid"/>
              <a:miter/>
            </a:ln>
          </p:spPr>
          <p:txBody>
            <a:bodyPr vert="horz" wrap="square" lIns="100817" tIns="50408" rIns="100817" bIns="50408" anchor="ctr" anchorCtr="0" compatLnSpc="1">
              <a:noAutofit/>
            </a:bodyPr>
            <a:lstStyle/>
            <a:p>
              <a:pPr algn="l" defTabSz="1008126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CH" sz="1985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5" name="Rechteck: abgerundete Ecken 7">
              <a:extLst>
                <a:ext uri="{FF2B5EF4-FFF2-40B4-BE49-F238E27FC236}">
                  <a16:creationId xmlns:a16="http://schemas.microsoft.com/office/drawing/2014/main" id="{A3778199-39E1-4BC0-BA25-EF126358F2CD}"/>
                </a:ext>
              </a:extLst>
            </p:cNvPr>
            <p:cNvSpPr/>
            <p:nvPr/>
          </p:nvSpPr>
          <p:spPr>
            <a:xfrm>
              <a:off x="6013176" y="4504435"/>
              <a:ext cx="610764" cy="874257"/>
            </a:xfrm>
            <a:custGeom>
              <a:avLst/>
              <a:gdLst>
                <a:gd name="f0" fmla="val 10800000"/>
                <a:gd name="f1" fmla="val 5400000"/>
                <a:gd name="f2" fmla="val 16200000"/>
                <a:gd name="f3" fmla="val w"/>
                <a:gd name="f4" fmla="val h"/>
                <a:gd name="f5" fmla="val ss"/>
                <a:gd name="f6" fmla="val 0"/>
                <a:gd name="f7" fmla="*/ 5419351 1 1725033"/>
                <a:gd name="f8" fmla="val 45"/>
                <a:gd name="f9" fmla="val 3600"/>
                <a:gd name="f10" fmla="abs f3"/>
                <a:gd name="f11" fmla="abs f4"/>
                <a:gd name="f12" fmla="abs f5"/>
                <a:gd name="f13" fmla="*/ f7 1 180"/>
                <a:gd name="f14" fmla="+- 0 0 f1"/>
                <a:gd name="f15" fmla="+- f6 f9 0"/>
                <a:gd name="f16" fmla="?: f10 f3 1"/>
                <a:gd name="f17" fmla="?: f11 f4 1"/>
                <a:gd name="f18" fmla="?: f12 f5 1"/>
                <a:gd name="f19" fmla="*/ f8 f13 1"/>
                <a:gd name="f20" fmla="+- f6 0 f15"/>
                <a:gd name="f21" fmla="+- f15 0 f6"/>
                <a:gd name="f22" fmla="*/ f16 1 21600"/>
                <a:gd name="f23" fmla="*/ f17 1 21600"/>
                <a:gd name="f24" fmla="*/ 21600 f16 1"/>
                <a:gd name="f25" fmla="*/ 21600 f17 1"/>
                <a:gd name="f26" fmla="+- 0 0 f19"/>
                <a:gd name="f27" fmla="abs f20"/>
                <a:gd name="f28" fmla="abs f21"/>
                <a:gd name="f29" fmla="?: f20 f14 f1"/>
                <a:gd name="f30" fmla="?: f20 f1 f14"/>
                <a:gd name="f31" fmla="?: f20 f2 f1"/>
                <a:gd name="f32" fmla="?: f20 f1 f2"/>
                <a:gd name="f33" fmla="?: f21 f14 f1"/>
                <a:gd name="f34" fmla="?: f21 f1 f14"/>
                <a:gd name="f35" fmla="?: f20 0 f0"/>
                <a:gd name="f36" fmla="?: f20 f0 0"/>
                <a:gd name="f37" fmla="min f23 f22"/>
                <a:gd name="f38" fmla="*/ f24 1 f18"/>
                <a:gd name="f39" fmla="*/ f25 1 f18"/>
                <a:gd name="f40" fmla="*/ f26 f0 1"/>
                <a:gd name="f41" fmla="?: f20 f32 f31"/>
                <a:gd name="f42" fmla="?: f20 f31 f32"/>
                <a:gd name="f43" fmla="?: f21 f30 f29"/>
                <a:gd name="f44" fmla="val f38"/>
                <a:gd name="f45" fmla="val f39"/>
                <a:gd name="f46" fmla="*/ f40 1 f7"/>
                <a:gd name="f47" fmla="?: f21 f42 f41"/>
                <a:gd name="f48" fmla="*/ f15 f37 1"/>
                <a:gd name="f49" fmla="*/ f6 f37 1"/>
                <a:gd name="f50" fmla="*/ f27 f37 1"/>
                <a:gd name="f51" fmla="*/ f28 f37 1"/>
                <a:gd name="f52" fmla="+- f45 0 f9"/>
                <a:gd name="f53" fmla="+- f44 0 f9"/>
                <a:gd name="f54" fmla="+- f46 0 f1"/>
                <a:gd name="f55" fmla="*/ f45 f37 1"/>
                <a:gd name="f56" fmla="*/ f44 f37 1"/>
                <a:gd name="f57" fmla="+- f45 0 f52"/>
                <a:gd name="f58" fmla="+- f44 0 f53"/>
                <a:gd name="f59" fmla="+- f52 0 f45"/>
                <a:gd name="f60" fmla="+- f53 0 f44"/>
                <a:gd name="f61" fmla="+- f54 f1 0"/>
                <a:gd name="f62" fmla="*/ f52 f37 1"/>
                <a:gd name="f63" fmla="*/ f53 f37 1"/>
                <a:gd name="f64" fmla="abs f57"/>
                <a:gd name="f65" fmla="?: f57 0 f0"/>
                <a:gd name="f66" fmla="?: f57 f0 0"/>
                <a:gd name="f67" fmla="?: f57 f33 f34"/>
                <a:gd name="f68" fmla="abs f58"/>
                <a:gd name="f69" fmla="abs f59"/>
                <a:gd name="f70" fmla="?: f58 f14 f1"/>
                <a:gd name="f71" fmla="?: f58 f1 f14"/>
                <a:gd name="f72" fmla="?: f58 f2 f1"/>
                <a:gd name="f73" fmla="?: f58 f1 f2"/>
                <a:gd name="f74" fmla="abs f60"/>
                <a:gd name="f75" fmla="?: f60 f14 f1"/>
                <a:gd name="f76" fmla="?: f60 f1 f14"/>
                <a:gd name="f77" fmla="?: f60 f36 f35"/>
                <a:gd name="f78" fmla="?: f60 f35 f36"/>
                <a:gd name="f79" fmla="*/ f61 f7 1"/>
                <a:gd name="f80" fmla="?: f21 f66 f65"/>
                <a:gd name="f81" fmla="?: f21 f65 f66"/>
                <a:gd name="f82" fmla="?: f58 f73 f72"/>
                <a:gd name="f83" fmla="?: f58 f72 f73"/>
                <a:gd name="f84" fmla="?: f59 f71 f70"/>
                <a:gd name="f85" fmla="?: f20 f77 f78"/>
                <a:gd name="f86" fmla="?: f20 f75 f76"/>
                <a:gd name="f87" fmla="*/ f79 1 f0"/>
                <a:gd name="f88" fmla="*/ f64 f37 1"/>
                <a:gd name="f89" fmla="*/ f68 f37 1"/>
                <a:gd name="f90" fmla="*/ f69 f37 1"/>
                <a:gd name="f91" fmla="*/ f74 f37 1"/>
                <a:gd name="f92" fmla="?: f57 f80 f81"/>
                <a:gd name="f93" fmla="?: f59 f83 f82"/>
                <a:gd name="f94" fmla="+- 0 0 f87"/>
                <a:gd name="f95" fmla="+- 0 0 f94"/>
                <a:gd name="f96" fmla="*/ f95 f0 1"/>
                <a:gd name="f97" fmla="*/ f96 1 f7"/>
                <a:gd name="f98" fmla="+- f97 0 f1"/>
                <a:gd name="f99" fmla="cos 1 f98"/>
                <a:gd name="f100" fmla="+- 0 0 f99"/>
                <a:gd name="f101" fmla="+- 0 0 f100"/>
                <a:gd name="f102" fmla="val f101"/>
                <a:gd name="f103" fmla="+- 0 0 f102"/>
                <a:gd name="f104" fmla="*/ f9 f103 1"/>
                <a:gd name="f105" fmla="*/ f104 3163 1"/>
                <a:gd name="f106" fmla="*/ f105 1 7636"/>
                <a:gd name="f107" fmla="+- f6 f106 0"/>
                <a:gd name="f108" fmla="+- f44 0 f106"/>
                <a:gd name="f109" fmla="+- f45 0 f106"/>
                <a:gd name="f110" fmla="*/ f107 f37 1"/>
                <a:gd name="f111" fmla="*/ f108 f37 1"/>
                <a:gd name="f112" fmla="*/ f109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10" t="f110" r="f111" b="f112"/>
              <a:pathLst>
                <a:path>
                  <a:moveTo>
                    <a:pt x="f48" y="f49"/>
                  </a:moveTo>
                  <a:arcTo wR="f50" hR="f51" stAng="f47" swAng="f43"/>
                  <a:lnTo>
                    <a:pt x="f49" y="f62"/>
                  </a:lnTo>
                  <a:arcTo wR="f51" hR="f88" stAng="f92" swAng="f67"/>
                  <a:lnTo>
                    <a:pt x="f63" y="f55"/>
                  </a:lnTo>
                  <a:arcTo wR="f89" hR="f90" stAng="f93" swAng="f84"/>
                  <a:lnTo>
                    <a:pt x="f56" y="f48"/>
                  </a:lnTo>
                  <a:arcTo wR="f91" hR="f50" stAng="f85" swAng="f86"/>
                  <a:close/>
                </a:path>
              </a:pathLst>
            </a:custGeom>
            <a:solidFill>
              <a:srgbClr val="FFFFFF"/>
            </a:solidFill>
            <a:ln w="12701" cap="flat">
              <a:solidFill>
                <a:srgbClr val="A5A5A5"/>
              </a:solidFill>
              <a:prstDash val="solid"/>
              <a:miter/>
            </a:ln>
          </p:spPr>
          <p:txBody>
            <a:bodyPr vert="horz" wrap="square" lIns="100817" tIns="50408" rIns="100817" bIns="50408" anchor="ctr" anchorCtr="1" compatLnSpc="1">
              <a:noAutofit/>
            </a:bodyPr>
            <a:lstStyle/>
            <a:p>
              <a:pPr algn="ctr" defTabSz="1008126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CH" sz="1985" dirty="0">
                  <a:solidFill>
                    <a:srgbClr val="595959"/>
                  </a:solidFill>
                  <a:latin typeface="Calibri"/>
                </a:rPr>
                <a:t>▼</a:t>
              </a:r>
            </a:p>
          </p:txBody>
        </p:sp>
      </p:grp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3">
            <a:extLst>
              <a:ext uri="{FF2B5EF4-FFF2-40B4-BE49-F238E27FC236}">
                <a16:creationId xmlns:a16="http://schemas.microsoft.com/office/drawing/2014/main" id="{4EFBFF88-789D-44FD-995B-C12525EE08AC}"/>
              </a:ext>
            </a:extLst>
          </p:cNvPr>
          <p:cNvGraphicFramePr>
            <a:graphicFrameLocks noGrp="1"/>
          </p:cNvGraphicFramePr>
          <p:nvPr/>
        </p:nvGraphicFramePr>
        <p:xfrm>
          <a:off x="353" y="0"/>
          <a:ext cx="13568248" cy="777129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3392062">
                  <a:extLst>
                    <a:ext uri="{9D8B030D-6E8A-4147-A177-3AD203B41FA5}">
                      <a16:colId xmlns:a16="http://schemas.microsoft.com/office/drawing/2014/main" val="135509711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3824024422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30869940"/>
                    </a:ext>
                  </a:extLst>
                </a:gridCol>
                <a:gridCol w="3392062">
                  <a:extLst>
                    <a:ext uri="{9D8B030D-6E8A-4147-A177-3AD203B41FA5}">
                      <a16:colId xmlns:a16="http://schemas.microsoft.com/office/drawing/2014/main" val="1236861003"/>
                    </a:ext>
                  </a:extLst>
                </a:gridCol>
              </a:tblGrid>
              <a:tr h="7771293">
                <a:tc>
                  <a:txBody>
                    <a:bodyPr/>
                    <a:lstStyle/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r>
                        <a:rPr lang="de-CH" sz="7900">
                          <a:solidFill>
                            <a:srgbClr val="000000"/>
                          </a:solidFill>
                        </a:rPr>
                        <a:t>Public</a:t>
                      </a:r>
                    </a:p>
                  </a:txBody>
                  <a:tcPr marL="100817" marR="100817" marT="50408" marB="50408">
                    <a:solidFill>
                      <a:srgbClr val="BAD80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endParaRPr lang="de-CH" sz="3500">
                        <a:solidFill>
                          <a:srgbClr val="000000"/>
                        </a:solidFill>
                      </a:endParaRPr>
                    </a:p>
                    <a:p>
                      <a:pPr lvl="0" algn="ctr"/>
                      <a:r>
                        <a:rPr lang="de-CH" sz="3500">
                          <a:solidFill>
                            <a:srgbClr val="000000"/>
                          </a:solidFill>
                        </a:rPr>
                        <a:t>Internal</a:t>
                      </a:r>
                    </a:p>
                  </a:txBody>
                  <a:tcPr marL="100817" marR="100817" marT="50408" marB="50408">
                    <a:solidFill>
                      <a:srgbClr val="FFF1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r>
                        <a:rPr lang="de-CH" sz="3500"/>
                        <a:t> Confidential</a:t>
                      </a:r>
                    </a:p>
                  </a:txBody>
                  <a:tcPr marL="100817" marR="100817" marT="50408" marB="50408">
                    <a:solidFill>
                      <a:srgbClr val="EA8E1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endParaRPr lang="de-CH" sz="3500"/>
                    </a:p>
                    <a:p>
                      <a:pPr lvl="0" algn="ctr"/>
                      <a:r>
                        <a:rPr lang="de-CH" sz="3500"/>
                        <a:t>Secret</a:t>
                      </a:r>
                    </a:p>
                  </a:txBody>
                  <a:tcPr marL="100817" marR="100817" marT="50408" marB="50408">
                    <a:solidFill>
                      <a:srgbClr val="A8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718025"/>
                  </a:ext>
                </a:extLst>
              </a:tr>
            </a:tbl>
          </a:graphicData>
        </a:graphic>
      </p:graphicFrame>
      <p:grpSp>
        <p:nvGrpSpPr>
          <p:cNvPr id="3" name="Gruppieren 4">
            <a:extLst>
              <a:ext uri="{FF2B5EF4-FFF2-40B4-BE49-F238E27FC236}">
                <a16:creationId xmlns:a16="http://schemas.microsoft.com/office/drawing/2014/main" id="{2EF6969D-3E4B-4DFC-9A01-4439A3EC2594}"/>
              </a:ext>
            </a:extLst>
          </p:cNvPr>
          <p:cNvGrpSpPr/>
          <p:nvPr/>
        </p:nvGrpSpPr>
        <p:grpSpPr>
          <a:xfrm>
            <a:off x="44188" y="3346504"/>
            <a:ext cx="3984331" cy="968707"/>
            <a:chOff x="39758" y="3035250"/>
            <a:chExt cx="3613754" cy="878609"/>
          </a:xfrm>
        </p:grpSpPr>
        <p:sp>
          <p:nvSpPr>
            <p:cNvPr id="4" name="Rechteck: abgerundete Ecken 6">
              <a:extLst>
                <a:ext uri="{FF2B5EF4-FFF2-40B4-BE49-F238E27FC236}">
                  <a16:creationId xmlns:a16="http://schemas.microsoft.com/office/drawing/2014/main" id="{EB8492FA-8147-406D-A6FC-AD4853B1562C}"/>
                </a:ext>
              </a:extLst>
            </p:cNvPr>
            <p:cNvSpPr/>
            <p:nvPr/>
          </p:nvSpPr>
          <p:spPr>
            <a:xfrm>
              <a:off x="39758" y="3035250"/>
              <a:ext cx="3613754" cy="874257"/>
            </a:xfrm>
            <a:custGeom>
              <a:avLst/>
              <a:gdLst>
                <a:gd name="f0" fmla="val 10800000"/>
                <a:gd name="f1" fmla="val 5400000"/>
                <a:gd name="f2" fmla="val 16200000"/>
                <a:gd name="f3" fmla="val w"/>
                <a:gd name="f4" fmla="val h"/>
                <a:gd name="f5" fmla="val ss"/>
                <a:gd name="f6" fmla="val 0"/>
                <a:gd name="f7" fmla="*/ 5419351 1 1725033"/>
                <a:gd name="f8" fmla="val 45"/>
                <a:gd name="f9" fmla="val 3600"/>
                <a:gd name="f10" fmla="abs f3"/>
                <a:gd name="f11" fmla="abs f4"/>
                <a:gd name="f12" fmla="abs f5"/>
                <a:gd name="f13" fmla="*/ f7 1 180"/>
                <a:gd name="f14" fmla="+- 0 0 f1"/>
                <a:gd name="f15" fmla="+- f6 f9 0"/>
                <a:gd name="f16" fmla="?: f10 f3 1"/>
                <a:gd name="f17" fmla="?: f11 f4 1"/>
                <a:gd name="f18" fmla="?: f12 f5 1"/>
                <a:gd name="f19" fmla="*/ f8 f13 1"/>
                <a:gd name="f20" fmla="+- f6 0 f15"/>
                <a:gd name="f21" fmla="+- f15 0 f6"/>
                <a:gd name="f22" fmla="*/ f16 1 21600"/>
                <a:gd name="f23" fmla="*/ f17 1 21600"/>
                <a:gd name="f24" fmla="*/ 21600 f16 1"/>
                <a:gd name="f25" fmla="*/ 21600 f17 1"/>
                <a:gd name="f26" fmla="+- 0 0 f19"/>
                <a:gd name="f27" fmla="abs f20"/>
                <a:gd name="f28" fmla="abs f21"/>
                <a:gd name="f29" fmla="?: f20 f14 f1"/>
                <a:gd name="f30" fmla="?: f20 f1 f14"/>
                <a:gd name="f31" fmla="?: f20 f2 f1"/>
                <a:gd name="f32" fmla="?: f20 f1 f2"/>
                <a:gd name="f33" fmla="?: f21 f14 f1"/>
                <a:gd name="f34" fmla="?: f21 f1 f14"/>
                <a:gd name="f35" fmla="?: f20 0 f0"/>
                <a:gd name="f36" fmla="?: f20 f0 0"/>
                <a:gd name="f37" fmla="min f23 f22"/>
                <a:gd name="f38" fmla="*/ f24 1 f18"/>
                <a:gd name="f39" fmla="*/ f25 1 f18"/>
                <a:gd name="f40" fmla="*/ f26 f0 1"/>
                <a:gd name="f41" fmla="?: f20 f32 f31"/>
                <a:gd name="f42" fmla="?: f20 f31 f32"/>
                <a:gd name="f43" fmla="?: f21 f30 f29"/>
                <a:gd name="f44" fmla="val f38"/>
                <a:gd name="f45" fmla="val f39"/>
                <a:gd name="f46" fmla="*/ f40 1 f7"/>
                <a:gd name="f47" fmla="?: f21 f42 f41"/>
                <a:gd name="f48" fmla="*/ f15 f37 1"/>
                <a:gd name="f49" fmla="*/ f6 f37 1"/>
                <a:gd name="f50" fmla="*/ f27 f37 1"/>
                <a:gd name="f51" fmla="*/ f28 f37 1"/>
                <a:gd name="f52" fmla="+- f45 0 f9"/>
                <a:gd name="f53" fmla="+- f44 0 f9"/>
                <a:gd name="f54" fmla="+- f46 0 f1"/>
                <a:gd name="f55" fmla="*/ f45 f37 1"/>
                <a:gd name="f56" fmla="*/ f44 f37 1"/>
                <a:gd name="f57" fmla="+- f45 0 f52"/>
                <a:gd name="f58" fmla="+- f44 0 f53"/>
                <a:gd name="f59" fmla="+- f52 0 f45"/>
                <a:gd name="f60" fmla="+- f53 0 f44"/>
                <a:gd name="f61" fmla="+- f54 f1 0"/>
                <a:gd name="f62" fmla="*/ f52 f37 1"/>
                <a:gd name="f63" fmla="*/ f53 f37 1"/>
                <a:gd name="f64" fmla="abs f57"/>
                <a:gd name="f65" fmla="?: f57 0 f0"/>
                <a:gd name="f66" fmla="?: f57 f0 0"/>
                <a:gd name="f67" fmla="?: f57 f33 f34"/>
                <a:gd name="f68" fmla="abs f58"/>
                <a:gd name="f69" fmla="abs f59"/>
                <a:gd name="f70" fmla="?: f58 f14 f1"/>
                <a:gd name="f71" fmla="?: f58 f1 f14"/>
                <a:gd name="f72" fmla="?: f58 f2 f1"/>
                <a:gd name="f73" fmla="?: f58 f1 f2"/>
                <a:gd name="f74" fmla="abs f60"/>
                <a:gd name="f75" fmla="?: f60 f14 f1"/>
                <a:gd name="f76" fmla="?: f60 f1 f14"/>
                <a:gd name="f77" fmla="?: f60 f36 f35"/>
                <a:gd name="f78" fmla="?: f60 f35 f36"/>
                <a:gd name="f79" fmla="*/ f61 f7 1"/>
                <a:gd name="f80" fmla="?: f21 f66 f65"/>
                <a:gd name="f81" fmla="?: f21 f65 f66"/>
                <a:gd name="f82" fmla="?: f58 f73 f72"/>
                <a:gd name="f83" fmla="?: f58 f72 f73"/>
                <a:gd name="f84" fmla="?: f59 f71 f70"/>
                <a:gd name="f85" fmla="?: f20 f77 f78"/>
                <a:gd name="f86" fmla="?: f20 f75 f76"/>
                <a:gd name="f87" fmla="*/ f79 1 f0"/>
                <a:gd name="f88" fmla="*/ f64 f37 1"/>
                <a:gd name="f89" fmla="*/ f68 f37 1"/>
                <a:gd name="f90" fmla="*/ f69 f37 1"/>
                <a:gd name="f91" fmla="*/ f74 f37 1"/>
                <a:gd name="f92" fmla="?: f57 f80 f81"/>
                <a:gd name="f93" fmla="?: f59 f83 f82"/>
                <a:gd name="f94" fmla="+- 0 0 f87"/>
                <a:gd name="f95" fmla="+- 0 0 f94"/>
                <a:gd name="f96" fmla="*/ f95 f0 1"/>
                <a:gd name="f97" fmla="*/ f96 1 f7"/>
                <a:gd name="f98" fmla="+- f97 0 f1"/>
                <a:gd name="f99" fmla="cos 1 f98"/>
                <a:gd name="f100" fmla="+- 0 0 f99"/>
                <a:gd name="f101" fmla="+- 0 0 f100"/>
                <a:gd name="f102" fmla="val f101"/>
                <a:gd name="f103" fmla="+- 0 0 f102"/>
                <a:gd name="f104" fmla="*/ f9 f103 1"/>
                <a:gd name="f105" fmla="*/ f104 3163 1"/>
                <a:gd name="f106" fmla="*/ f105 1 7636"/>
                <a:gd name="f107" fmla="+- f6 f106 0"/>
                <a:gd name="f108" fmla="+- f44 0 f106"/>
                <a:gd name="f109" fmla="+- f45 0 f106"/>
                <a:gd name="f110" fmla="*/ f107 f37 1"/>
                <a:gd name="f111" fmla="*/ f108 f37 1"/>
                <a:gd name="f112" fmla="*/ f109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10" t="f110" r="f111" b="f112"/>
              <a:pathLst>
                <a:path>
                  <a:moveTo>
                    <a:pt x="f48" y="f49"/>
                  </a:moveTo>
                  <a:arcTo wR="f50" hR="f51" stAng="f47" swAng="f43"/>
                  <a:lnTo>
                    <a:pt x="f49" y="f62"/>
                  </a:lnTo>
                  <a:arcTo wR="f51" hR="f88" stAng="f92" swAng="f67"/>
                  <a:lnTo>
                    <a:pt x="f63" y="f55"/>
                  </a:lnTo>
                  <a:arcTo wR="f89" hR="f90" stAng="f93" swAng="f84"/>
                  <a:lnTo>
                    <a:pt x="f56" y="f48"/>
                  </a:lnTo>
                  <a:arcTo wR="f91" hR="f50" stAng="f85" swAng="f86"/>
                  <a:close/>
                </a:path>
              </a:pathLst>
            </a:custGeom>
            <a:solidFill>
              <a:srgbClr val="FFFFFF">
                <a:alpha val="46000"/>
              </a:srgbClr>
            </a:solidFill>
            <a:ln w="12701" cap="flat">
              <a:solidFill>
                <a:srgbClr val="A5A5A5"/>
              </a:solidFill>
              <a:prstDash val="solid"/>
              <a:miter/>
            </a:ln>
          </p:spPr>
          <p:txBody>
            <a:bodyPr vert="horz" wrap="square" lIns="100817" tIns="50408" rIns="100817" bIns="50408" anchor="ctr" anchorCtr="0" compatLnSpc="1">
              <a:noAutofit/>
            </a:bodyPr>
            <a:lstStyle/>
            <a:p>
              <a:pPr algn="l" defTabSz="1008126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CH" sz="1985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5" name="Rechteck: abgerundete Ecken 7">
              <a:extLst>
                <a:ext uri="{FF2B5EF4-FFF2-40B4-BE49-F238E27FC236}">
                  <a16:creationId xmlns:a16="http://schemas.microsoft.com/office/drawing/2014/main" id="{AE194725-E09C-4A35-8D35-6460E15CA0E1}"/>
                </a:ext>
              </a:extLst>
            </p:cNvPr>
            <p:cNvSpPr/>
            <p:nvPr/>
          </p:nvSpPr>
          <p:spPr>
            <a:xfrm>
              <a:off x="3027340" y="3039602"/>
              <a:ext cx="610764" cy="874257"/>
            </a:xfrm>
            <a:custGeom>
              <a:avLst/>
              <a:gdLst>
                <a:gd name="f0" fmla="val 10800000"/>
                <a:gd name="f1" fmla="val 5400000"/>
                <a:gd name="f2" fmla="val 16200000"/>
                <a:gd name="f3" fmla="val w"/>
                <a:gd name="f4" fmla="val h"/>
                <a:gd name="f5" fmla="val ss"/>
                <a:gd name="f6" fmla="val 0"/>
                <a:gd name="f7" fmla="*/ 5419351 1 1725033"/>
                <a:gd name="f8" fmla="val 45"/>
                <a:gd name="f9" fmla="val 3600"/>
                <a:gd name="f10" fmla="abs f3"/>
                <a:gd name="f11" fmla="abs f4"/>
                <a:gd name="f12" fmla="abs f5"/>
                <a:gd name="f13" fmla="*/ f7 1 180"/>
                <a:gd name="f14" fmla="+- 0 0 f1"/>
                <a:gd name="f15" fmla="+- f6 f9 0"/>
                <a:gd name="f16" fmla="?: f10 f3 1"/>
                <a:gd name="f17" fmla="?: f11 f4 1"/>
                <a:gd name="f18" fmla="?: f12 f5 1"/>
                <a:gd name="f19" fmla="*/ f8 f13 1"/>
                <a:gd name="f20" fmla="+- f6 0 f15"/>
                <a:gd name="f21" fmla="+- f15 0 f6"/>
                <a:gd name="f22" fmla="*/ f16 1 21600"/>
                <a:gd name="f23" fmla="*/ f17 1 21600"/>
                <a:gd name="f24" fmla="*/ 21600 f16 1"/>
                <a:gd name="f25" fmla="*/ 21600 f17 1"/>
                <a:gd name="f26" fmla="+- 0 0 f19"/>
                <a:gd name="f27" fmla="abs f20"/>
                <a:gd name="f28" fmla="abs f21"/>
                <a:gd name="f29" fmla="?: f20 f14 f1"/>
                <a:gd name="f30" fmla="?: f20 f1 f14"/>
                <a:gd name="f31" fmla="?: f20 f2 f1"/>
                <a:gd name="f32" fmla="?: f20 f1 f2"/>
                <a:gd name="f33" fmla="?: f21 f14 f1"/>
                <a:gd name="f34" fmla="?: f21 f1 f14"/>
                <a:gd name="f35" fmla="?: f20 0 f0"/>
                <a:gd name="f36" fmla="?: f20 f0 0"/>
                <a:gd name="f37" fmla="min f23 f22"/>
                <a:gd name="f38" fmla="*/ f24 1 f18"/>
                <a:gd name="f39" fmla="*/ f25 1 f18"/>
                <a:gd name="f40" fmla="*/ f26 f0 1"/>
                <a:gd name="f41" fmla="?: f20 f32 f31"/>
                <a:gd name="f42" fmla="?: f20 f31 f32"/>
                <a:gd name="f43" fmla="?: f21 f30 f29"/>
                <a:gd name="f44" fmla="val f38"/>
                <a:gd name="f45" fmla="val f39"/>
                <a:gd name="f46" fmla="*/ f40 1 f7"/>
                <a:gd name="f47" fmla="?: f21 f42 f41"/>
                <a:gd name="f48" fmla="*/ f15 f37 1"/>
                <a:gd name="f49" fmla="*/ f6 f37 1"/>
                <a:gd name="f50" fmla="*/ f27 f37 1"/>
                <a:gd name="f51" fmla="*/ f28 f37 1"/>
                <a:gd name="f52" fmla="+- f45 0 f9"/>
                <a:gd name="f53" fmla="+- f44 0 f9"/>
                <a:gd name="f54" fmla="+- f46 0 f1"/>
                <a:gd name="f55" fmla="*/ f45 f37 1"/>
                <a:gd name="f56" fmla="*/ f44 f37 1"/>
                <a:gd name="f57" fmla="+- f45 0 f52"/>
                <a:gd name="f58" fmla="+- f44 0 f53"/>
                <a:gd name="f59" fmla="+- f52 0 f45"/>
                <a:gd name="f60" fmla="+- f53 0 f44"/>
                <a:gd name="f61" fmla="+- f54 f1 0"/>
                <a:gd name="f62" fmla="*/ f52 f37 1"/>
                <a:gd name="f63" fmla="*/ f53 f37 1"/>
                <a:gd name="f64" fmla="abs f57"/>
                <a:gd name="f65" fmla="?: f57 0 f0"/>
                <a:gd name="f66" fmla="?: f57 f0 0"/>
                <a:gd name="f67" fmla="?: f57 f33 f34"/>
                <a:gd name="f68" fmla="abs f58"/>
                <a:gd name="f69" fmla="abs f59"/>
                <a:gd name="f70" fmla="?: f58 f14 f1"/>
                <a:gd name="f71" fmla="?: f58 f1 f14"/>
                <a:gd name="f72" fmla="?: f58 f2 f1"/>
                <a:gd name="f73" fmla="?: f58 f1 f2"/>
                <a:gd name="f74" fmla="abs f60"/>
                <a:gd name="f75" fmla="?: f60 f14 f1"/>
                <a:gd name="f76" fmla="?: f60 f1 f14"/>
                <a:gd name="f77" fmla="?: f60 f36 f35"/>
                <a:gd name="f78" fmla="?: f60 f35 f36"/>
                <a:gd name="f79" fmla="*/ f61 f7 1"/>
                <a:gd name="f80" fmla="?: f21 f66 f65"/>
                <a:gd name="f81" fmla="?: f21 f65 f66"/>
                <a:gd name="f82" fmla="?: f58 f73 f72"/>
                <a:gd name="f83" fmla="?: f58 f72 f73"/>
                <a:gd name="f84" fmla="?: f59 f71 f70"/>
                <a:gd name="f85" fmla="?: f20 f77 f78"/>
                <a:gd name="f86" fmla="?: f20 f75 f76"/>
                <a:gd name="f87" fmla="*/ f79 1 f0"/>
                <a:gd name="f88" fmla="*/ f64 f37 1"/>
                <a:gd name="f89" fmla="*/ f68 f37 1"/>
                <a:gd name="f90" fmla="*/ f69 f37 1"/>
                <a:gd name="f91" fmla="*/ f74 f37 1"/>
                <a:gd name="f92" fmla="?: f57 f80 f81"/>
                <a:gd name="f93" fmla="?: f59 f83 f82"/>
                <a:gd name="f94" fmla="+- 0 0 f87"/>
                <a:gd name="f95" fmla="+- 0 0 f94"/>
                <a:gd name="f96" fmla="*/ f95 f0 1"/>
                <a:gd name="f97" fmla="*/ f96 1 f7"/>
                <a:gd name="f98" fmla="+- f97 0 f1"/>
                <a:gd name="f99" fmla="cos 1 f98"/>
                <a:gd name="f100" fmla="+- 0 0 f99"/>
                <a:gd name="f101" fmla="+- 0 0 f100"/>
                <a:gd name="f102" fmla="val f101"/>
                <a:gd name="f103" fmla="+- 0 0 f102"/>
                <a:gd name="f104" fmla="*/ f9 f103 1"/>
                <a:gd name="f105" fmla="*/ f104 3163 1"/>
                <a:gd name="f106" fmla="*/ f105 1 7636"/>
                <a:gd name="f107" fmla="+- f6 f106 0"/>
                <a:gd name="f108" fmla="+- f44 0 f106"/>
                <a:gd name="f109" fmla="+- f45 0 f106"/>
                <a:gd name="f110" fmla="*/ f107 f37 1"/>
                <a:gd name="f111" fmla="*/ f108 f37 1"/>
                <a:gd name="f112" fmla="*/ f109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10" t="f110" r="f111" b="f112"/>
              <a:pathLst>
                <a:path>
                  <a:moveTo>
                    <a:pt x="f48" y="f49"/>
                  </a:moveTo>
                  <a:arcTo wR="f50" hR="f51" stAng="f47" swAng="f43"/>
                  <a:lnTo>
                    <a:pt x="f49" y="f62"/>
                  </a:lnTo>
                  <a:arcTo wR="f51" hR="f88" stAng="f92" swAng="f67"/>
                  <a:lnTo>
                    <a:pt x="f63" y="f55"/>
                  </a:lnTo>
                  <a:arcTo wR="f89" hR="f90" stAng="f93" swAng="f84"/>
                  <a:lnTo>
                    <a:pt x="f56" y="f48"/>
                  </a:lnTo>
                  <a:arcTo wR="f91" hR="f50" stAng="f85" swAng="f86"/>
                  <a:close/>
                </a:path>
              </a:pathLst>
            </a:custGeom>
            <a:solidFill>
              <a:srgbClr val="FFFFFF"/>
            </a:solidFill>
            <a:ln w="12701" cap="flat">
              <a:solidFill>
                <a:srgbClr val="A5A5A5"/>
              </a:solidFill>
              <a:prstDash val="solid"/>
              <a:miter/>
            </a:ln>
          </p:spPr>
          <p:txBody>
            <a:bodyPr vert="horz" wrap="square" lIns="100817" tIns="50408" rIns="100817" bIns="50408" anchor="ctr" anchorCtr="1" compatLnSpc="1">
              <a:noAutofit/>
            </a:bodyPr>
            <a:lstStyle/>
            <a:p>
              <a:pPr algn="ctr" defTabSz="1008126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CH" sz="1985">
                  <a:solidFill>
                    <a:srgbClr val="595959"/>
                  </a:solidFill>
                  <a:latin typeface="Calibri"/>
                </a:rPr>
                <a:t>▼</a:t>
              </a:r>
            </a:p>
          </p:txBody>
        </p:sp>
      </p:grp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2">
            <a:extLst>
              <a:ext uri="{FF2B5EF4-FFF2-40B4-BE49-F238E27FC236}">
                <a16:creationId xmlns:a16="http://schemas.microsoft.com/office/drawing/2014/main" id="{D8389078-81F8-4D45-AA30-B2742D5105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288" y="-1"/>
            <a:ext cx="12995582" cy="756126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Rechteck 4">
            <a:extLst>
              <a:ext uri="{FF2B5EF4-FFF2-40B4-BE49-F238E27FC236}">
                <a16:creationId xmlns:a16="http://schemas.microsoft.com/office/drawing/2014/main" id="{28AB5D4D-F95D-4689-8AFA-A76FCF7B2223}"/>
              </a:ext>
            </a:extLst>
          </p:cNvPr>
          <p:cNvSpPr/>
          <p:nvPr/>
        </p:nvSpPr>
        <p:spPr>
          <a:xfrm>
            <a:off x="-1238020" y="8169792"/>
            <a:ext cx="4146990" cy="407269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100817" tIns="50408" rIns="100817" bIns="50408" anchor="t" anchorCtr="0" compatLnSpc="1">
            <a:spAutoFit/>
          </a:bodyPr>
          <a:lstStyle/>
          <a:p>
            <a:pPr algn="l" defTabSz="1008126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85">
                <a:solidFill>
                  <a:srgbClr val="000000"/>
                </a:solidFill>
                <a:latin typeface="Calibri"/>
              </a:rPr>
              <a:t>Photo by </a:t>
            </a:r>
            <a:r>
              <a:rPr lang="en-US" sz="1985">
                <a:solidFill>
                  <a:srgbClr val="000000"/>
                </a:solidFill>
                <a:latin typeface="Calibri"/>
                <a:hlinkClick r:id="rId3"/>
              </a:rPr>
              <a:t>Siarhei Horbach</a:t>
            </a:r>
            <a:r>
              <a:rPr lang="en-US" sz="1985">
                <a:solidFill>
                  <a:srgbClr val="000000"/>
                </a:solidFill>
                <a:latin typeface="Calibri"/>
              </a:rPr>
              <a:t> on </a:t>
            </a:r>
            <a:r>
              <a:rPr lang="en-US" sz="1985">
                <a:solidFill>
                  <a:srgbClr val="000000"/>
                </a:solidFill>
                <a:latin typeface="Calibri"/>
                <a:hlinkClick r:id="rId4"/>
              </a:rPr>
              <a:t>Unsplash</a:t>
            </a:r>
            <a:endParaRPr lang="de-CH" sz="1985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" name="Grafik 7">
            <a:extLst>
              <a:ext uri="{FF2B5EF4-FFF2-40B4-BE49-F238E27FC236}">
                <a16:creationId xmlns:a16="http://schemas.microsoft.com/office/drawing/2014/main" id="{D5ABDE18-6026-41FC-AD6A-253BCEFAF8A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62653" y="-1"/>
            <a:ext cx="11341894" cy="7561263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Grafik 3">
            <a:extLst>
              <a:ext uri="{FF2B5EF4-FFF2-40B4-BE49-F238E27FC236}">
                <a16:creationId xmlns:a16="http://schemas.microsoft.com/office/drawing/2014/main" id="{341D9FB5-B8F5-45A5-9910-11B29BF64B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13">
            <a:off x="2772619" y="1540457"/>
            <a:ext cx="7561263" cy="448035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Rechteck 9">
            <a:extLst>
              <a:ext uri="{FF2B5EF4-FFF2-40B4-BE49-F238E27FC236}">
                <a16:creationId xmlns:a16="http://schemas.microsoft.com/office/drawing/2014/main" id="{685DCDE5-4AF2-4F92-9814-8058A32FC3BA}"/>
              </a:ext>
            </a:extLst>
          </p:cNvPr>
          <p:cNvSpPr/>
          <p:nvPr/>
        </p:nvSpPr>
        <p:spPr>
          <a:xfrm>
            <a:off x="11187351" y="-1166843"/>
            <a:ext cx="3965851" cy="407269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100817" tIns="50408" rIns="100817" bIns="50408" anchor="t" anchorCtr="0" compatLnSpc="1">
            <a:spAutoFit/>
          </a:bodyPr>
          <a:lstStyle/>
          <a:p>
            <a:pPr algn="l" defTabSz="1008126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85">
                <a:solidFill>
                  <a:srgbClr val="000000"/>
                </a:solidFill>
                <a:latin typeface="Calibri"/>
              </a:rPr>
              <a:t>Photo by </a:t>
            </a:r>
            <a:r>
              <a:rPr lang="en-US" sz="1985">
                <a:solidFill>
                  <a:srgbClr val="000000"/>
                </a:solidFill>
                <a:latin typeface="Calibri"/>
                <a:hlinkClick r:id="rId7"/>
              </a:rPr>
              <a:t>Warren Wong</a:t>
            </a:r>
            <a:r>
              <a:rPr lang="en-US" sz="1985">
                <a:solidFill>
                  <a:srgbClr val="000000"/>
                </a:solidFill>
                <a:latin typeface="Calibri"/>
              </a:rPr>
              <a:t> on </a:t>
            </a:r>
            <a:r>
              <a:rPr lang="en-US" sz="1985">
                <a:solidFill>
                  <a:srgbClr val="000000"/>
                </a:solidFill>
                <a:latin typeface="Calibri"/>
                <a:hlinkClick r:id="rId8"/>
              </a:rPr>
              <a:t>Unsplash</a:t>
            </a:r>
            <a:endParaRPr lang="de-CH" sz="1985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Rechteck 19">
            <a:extLst>
              <a:ext uri="{FF2B5EF4-FFF2-40B4-BE49-F238E27FC236}">
                <a16:creationId xmlns:a16="http://schemas.microsoft.com/office/drawing/2014/main" id="{4938E800-A72A-467D-A677-4F6BE2AF3C9F}"/>
              </a:ext>
            </a:extLst>
          </p:cNvPr>
          <p:cNvSpPr/>
          <p:nvPr/>
        </p:nvSpPr>
        <p:spPr>
          <a:xfrm>
            <a:off x="-545742" y="952154"/>
            <a:ext cx="15122525" cy="672116"/>
          </a:xfrm>
          <a:prstGeom prst="rect">
            <a:avLst/>
          </a:prstGeom>
          <a:gradFill>
            <a:gsLst>
              <a:gs pos="0">
                <a:srgbClr val="7F7F7F">
                  <a:alpha val="0"/>
                </a:srgbClr>
              </a:gs>
              <a:gs pos="100000">
                <a:srgbClr val="B8B8B8"/>
              </a:gs>
            </a:gsLst>
            <a:lin ang="10800000"/>
          </a:gradFill>
          <a:ln cap="flat">
            <a:noFill/>
            <a:prstDash val="solid"/>
          </a:ln>
        </p:spPr>
        <p:txBody>
          <a:bodyPr vert="horz" wrap="square" lIns="100817" tIns="50408" rIns="100817" bIns="50408" anchor="ctr" anchorCtr="1" compatLnSpc="1">
            <a:noAutofit/>
          </a:bodyPr>
          <a:lstStyle/>
          <a:p>
            <a:pPr algn="ctr" defTabSz="1008126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CH" sz="1985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416DB69D-576F-452C-9252-064F14208B9E}"/>
              </a:ext>
            </a:extLst>
          </p:cNvPr>
          <p:cNvSpPr txBox="1"/>
          <p:nvPr/>
        </p:nvSpPr>
        <p:spPr>
          <a:xfrm>
            <a:off x="812493" y="570592"/>
            <a:ext cx="12504090" cy="146149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00817" tIns="50408" rIns="100817" bIns="50408" anchor="ctr" anchorCtr="0" compatLnSpc="1">
            <a:normAutofit/>
          </a:bodyPr>
          <a:lstStyle/>
          <a:p>
            <a:pPr algn="l" defTabSz="1008126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CH" sz="4851" b="1">
                <a:solidFill>
                  <a:schemeClr val="accent2"/>
                </a:solidFill>
                <a:latin typeface="Calibri Light"/>
              </a:rPr>
              <a:t>Systeme</a:t>
            </a:r>
            <a:r>
              <a:rPr lang="de-CH" sz="4851">
                <a:solidFill>
                  <a:srgbClr val="4472C4"/>
                </a:solidFill>
                <a:latin typeface="Calibri Light"/>
              </a:rPr>
              <a:t>          </a:t>
            </a:r>
            <a:r>
              <a:rPr lang="de-CH" sz="4851" b="1">
                <a:solidFill>
                  <a:schemeClr val="accent2"/>
                </a:solidFill>
                <a:latin typeface="Calibri Light"/>
              </a:rPr>
              <a:t>Zusammenarbeit</a:t>
            </a:r>
            <a:r>
              <a:rPr lang="de-CH" sz="4851">
                <a:solidFill>
                  <a:srgbClr val="4472C4"/>
                </a:solidFill>
                <a:latin typeface="Calibri Light"/>
              </a:rPr>
              <a:t>    </a:t>
            </a:r>
            <a:r>
              <a:rPr lang="de-CH" sz="4851" b="1">
                <a:solidFill>
                  <a:schemeClr val="accent2"/>
                </a:solidFill>
                <a:latin typeface="Calibri Light"/>
              </a:rPr>
              <a:t>Entscheidungen</a:t>
            </a:r>
          </a:p>
        </p:txBody>
      </p:sp>
      <p:pic>
        <p:nvPicPr>
          <p:cNvPr id="9" name="Grafik 8" descr="Überwachungskamera">
            <a:extLst>
              <a:ext uri="{FF2B5EF4-FFF2-40B4-BE49-F238E27FC236}">
                <a16:creationId xmlns:a16="http://schemas.microsoft.com/office/drawing/2014/main" id="{C294CE6E-C6C1-4676-B705-B91C417DB0C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2473056" y="-1767803"/>
            <a:ext cx="1008168" cy="100816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4EFB5A5E-0BDA-4FDD-B1FB-1EFB9F146442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5BB39E6-CBFE-4892-B4D4-EC1387C7F68A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44F3C98-2DDB-4C71-AB16-B07F0E59DB4C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58</a:t>
            </a:fld>
            <a:endParaRPr lang="en-GB"/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6">
            <a:extLst>
              <a:ext uri="{FF2B5EF4-FFF2-40B4-BE49-F238E27FC236}">
                <a16:creationId xmlns:a16="http://schemas.microsoft.com/office/drawing/2014/main" id="{6E42BCDF-5C22-4C99-B53F-1275D5F320DE}"/>
              </a:ext>
            </a:extLst>
          </p:cNvPr>
          <p:cNvSpPr/>
          <p:nvPr/>
        </p:nvSpPr>
        <p:spPr>
          <a:xfrm>
            <a:off x="-4189383" y="2680880"/>
            <a:ext cx="3611587" cy="407269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100817" tIns="50408" rIns="100817" bIns="50408" anchor="t" anchorCtr="0" compatLnSpc="1">
            <a:spAutoFit/>
          </a:bodyPr>
          <a:lstStyle/>
          <a:p>
            <a:pPr algn="l" defTabSz="1008126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85">
                <a:solidFill>
                  <a:srgbClr val="000000"/>
                </a:solidFill>
                <a:latin typeface="Calibri"/>
              </a:rPr>
              <a:t>Photo by </a:t>
            </a:r>
            <a:r>
              <a:rPr lang="en-US" sz="1985">
                <a:solidFill>
                  <a:srgbClr val="000000"/>
                </a:solidFill>
                <a:latin typeface="Calibri"/>
                <a:hlinkClick r:id="rId2"/>
              </a:rPr>
              <a:t>Joel Muniz</a:t>
            </a:r>
            <a:r>
              <a:rPr lang="en-US" sz="1985">
                <a:solidFill>
                  <a:srgbClr val="000000"/>
                </a:solidFill>
                <a:latin typeface="Calibri"/>
              </a:rPr>
              <a:t> on </a:t>
            </a:r>
            <a:r>
              <a:rPr lang="en-US" sz="1985">
                <a:solidFill>
                  <a:srgbClr val="000000"/>
                </a:solidFill>
                <a:latin typeface="Calibri"/>
                <a:hlinkClick r:id="rId3"/>
              </a:rPr>
              <a:t>Unsplash</a:t>
            </a:r>
            <a:endParaRPr lang="de-CH" sz="1985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3" name="Grafik 8">
            <a:extLst>
              <a:ext uri="{FF2B5EF4-FFF2-40B4-BE49-F238E27FC236}">
                <a16:creationId xmlns:a16="http://schemas.microsoft.com/office/drawing/2014/main" id="{C2A1CBAE-E18B-4972-A9BD-11B4470019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" y="-266045"/>
            <a:ext cx="13442240" cy="896149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Rechteck 11">
            <a:extLst>
              <a:ext uri="{FF2B5EF4-FFF2-40B4-BE49-F238E27FC236}">
                <a16:creationId xmlns:a16="http://schemas.microsoft.com/office/drawing/2014/main" id="{17D811A0-F0F6-47B7-8D66-144B3268B08D}"/>
              </a:ext>
            </a:extLst>
          </p:cNvPr>
          <p:cNvSpPr/>
          <p:nvPr/>
        </p:nvSpPr>
        <p:spPr>
          <a:xfrm>
            <a:off x="717414" y="1337396"/>
            <a:ext cx="12008117" cy="2443211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100817" tIns="50408" rIns="100817" bIns="50408" anchor="t" anchorCtr="1" compatLnSpc="1">
            <a:spAutoFit/>
          </a:bodyPr>
          <a:lstStyle/>
          <a:p>
            <a:pPr algn="ctr" defTabSz="1008126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CH" sz="7938" b="1">
                <a:solidFill>
                  <a:srgbClr val="000000"/>
                </a:solidFill>
                <a:latin typeface="Calibri"/>
              </a:rPr>
              <a:t>Datenklassifikationsfaulheit</a:t>
            </a:r>
            <a:endParaRPr lang="de-CH" sz="7277" b="1">
              <a:solidFill>
                <a:srgbClr val="000000"/>
              </a:solidFill>
              <a:latin typeface="Calibri"/>
            </a:endParaRPr>
          </a:p>
          <a:p>
            <a:pPr algn="ctr" defTabSz="1008126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CH" sz="7277" b="1">
                <a:solidFill>
                  <a:srgbClr val="000000"/>
                </a:solidFill>
                <a:latin typeface="Calibri"/>
              </a:rPr>
              <a:t>ist eine Sünde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56E916-8CBE-4936-AC51-1E1045006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498C45F-22F4-4B3D-9357-E0D0C9246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4C556-72F4-414F-B940-1E322AEFB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3514E-FF0B-4619-AA18-8F9E33EC021F}" type="slidenum">
              <a:rPr lang="de-CH" smtClean="0">
                <a:solidFill>
                  <a:srgbClr val="000000"/>
                </a:solidFill>
              </a:rPr>
              <a:pPr/>
              <a:t>6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7814807-4F23-4048-A735-F362A19F95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FCAC69D-3B20-434E-A836-F7E86C5719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7403" y="1528277"/>
            <a:ext cx="11581147" cy="1119600"/>
          </a:xfrm>
        </p:spPr>
        <p:txBody>
          <a:bodyPr/>
          <a:lstStyle/>
          <a:p>
            <a:r>
              <a:rPr lang="de-CH" dirty="0"/>
              <a:t>Innovation und Fertigung in der Automobilindustrie</a:t>
            </a:r>
          </a:p>
          <a:p>
            <a:r>
              <a:rPr lang="de-CH" dirty="0"/>
              <a:t>Research &amp; Development / Rohstoffe / Fertigung</a:t>
            </a:r>
            <a:endParaRPr lang="en-GB" dirty="0"/>
          </a:p>
        </p:txBody>
      </p:sp>
      <p:pic>
        <p:nvPicPr>
          <p:cNvPr id="10" name="Grafik 9" descr="Ein Bild, das Text, weiß, mehrere, Dock enthält.&#10;&#10;Automatisch generierte Beschreibung">
            <a:extLst>
              <a:ext uri="{FF2B5EF4-FFF2-40B4-BE49-F238E27FC236}">
                <a16:creationId xmlns:a16="http://schemas.microsoft.com/office/drawing/2014/main" id="{30829A3D-3D7F-4ECC-8028-383A6EB1149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3873" y="2843999"/>
            <a:ext cx="5858440" cy="3815996"/>
          </a:xfrm>
          <a:prstGeom prst="rect">
            <a:avLst/>
          </a:prstGeom>
        </p:spPr>
      </p:pic>
      <p:pic>
        <p:nvPicPr>
          <p:cNvPr id="18" name="Grafik 17" descr="Ein Bild, das Fabrik, Gebäude enthält.&#10;&#10;Automatisch generierte Beschreibung">
            <a:extLst>
              <a:ext uri="{FF2B5EF4-FFF2-40B4-BE49-F238E27FC236}">
                <a16:creationId xmlns:a16="http://schemas.microsoft.com/office/drawing/2014/main" id="{CA2F7EB7-4F7D-4D64-8B74-25F8590CCD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5448" y="2843996"/>
            <a:ext cx="5742705" cy="3815999"/>
          </a:xfrm>
          <a:prstGeom prst="rect">
            <a:avLst/>
          </a:prstGeom>
        </p:spPr>
      </p:pic>
      <p:pic>
        <p:nvPicPr>
          <p:cNvPr id="8" name="Grafik 7" descr="Ein Bild, das Text, Person, Boden, Tisch enthält.&#10;&#10;Automatisch generierte Beschreibung">
            <a:extLst>
              <a:ext uri="{FF2B5EF4-FFF2-40B4-BE49-F238E27FC236}">
                <a16:creationId xmlns:a16="http://schemas.microsoft.com/office/drawing/2014/main" id="{8D58C1A8-5DA4-44C5-B3E8-D7377C886D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994" y="2843998"/>
            <a:ext cx="4361142" cy="381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89119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2">
            <a:extLst>
              <a:ext uri="{FF2B5EF4-FFF2-40B4-BE49-F238E27FC236}">
                <a16:creationId xmlns:a16="http://schemas.microsoft.com/office/drawing/2014/main" id="{CDD1395A-2198-4D89-84B7-6D1E150048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471390" y="-28007"/>
            <a:ext cx="16497756" cy="8947494"/>
          </a:xfrm>
          <a:prstGeom prst="rect">
            <a:avLst/>
          </a:prstGeom>
          <a:noFill/>
          <a:ln cap="flat">
            <a:noFill/>
          </a:ln>
        </p:spPr>
      </p:pic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8BB65A3-B5C6-4F4B-89E3-12AC7D4425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pen Sourc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6755550-4202-414A-B01F-F282A5CBAF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34FF791-23CB-41CF-A7AB-97CC9600A8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1379" y="2753070"/>
            <a:ext cx="8301360" cy="4142573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59D92A86-91BE-4C00-9CF9-E1C61D62771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Wie Open Source Innovation und Agilität unterstütz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662973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9F3BA63-814A-464F-B3B1-B7AA4A45B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7172A5-5D78-4641-8DB0-23868E586D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35E4F4-ACF5-43C9-8892-D55CED01E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62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B7B5E31-BF10-4BFB-849A-F26F54C15E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Innovation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C32ADA-EC43-4615-8700-FEADDE1007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no primary license costs</a:t>
            </a:r>
          </a:p>
          <a:p>
            <a:r>
              <a:rPr lang="en-GB"/>
              <a:t>no make or buy decision: </a:t>
            </a:r>
            <a:r>
              <a:rPr lang="en-GB" i="1"/>
              <a:t>tak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00AE74B-248B-4AE4-8B27-1AA602DC4E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207745D-AFC8-499D-BABF-7405DACF4C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3531" y="1509713"/>
            <a:ext cx="5616336" cy="515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0241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2EFE630E-75D0-4DE3-8635-78613A70F83D}"/>
              </a:ext>
            </a:extLst>
          </p:cNvPr>
          <p:cNvSpPr/>
          <p:nvPr/>
        </p:nvSpPr>
        <p:spPr>
          <a:xfrm>
            <a:off x="-650756" y="-262544"/>
            <a:ext cx="14639444" cy="3503920"/>
          </a:xfrm>
          <a:prstGeom prst="rect">
            <a:avLst/>
          </a:prstGeom>
          <a:solidFill>
            <a:schemeClr val="tx1">
              <a:alpha val="90000"/>
            </a:schemeClr>
          </a:solidFill>
          <a:ln w="38100">
            <a:noFill/>
          </a:ln>
          <a:effectLst>
            <a:softEdge rad="292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sz="2315" err="1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04EEA5B-8EBA-4286-AF88-ABCE13D777A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" y="-1039674"/>
            <a:ext cx="13452746" cy="8968497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B015C62D-C58A-4202-8D8E-69CE210C25E9}"/>
              </a:ext>
            </a:extLst>
          </p:cNvPr>
          <p:cNvSpPr txBox="1"/>
          <p:nvPr/>
        </p:nvSpPr>
        <p:spPr>
          <a:xfrm>
            <a:off x="928008" y="1056486"/>
            <a:ext cx="10679750" cy="322955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485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pen Source </a:t>
            </a:r>
            <a:r>
              <a:rPr lang="de-CH" sz="4851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has</a:t>
            </a:r>
            <a:r>
              <a:rPr lang="de-CH" sz="485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CH" sz="4851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no</a:t>
            </a:r>
            <a:r>
              <a:rPr lang="de-CH" sz="485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CH" sz="4851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usiness</a:t>
            </a:r>
            <a:r>
              <a:rPr lang="de-CH" sz="485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CH" sz="4851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odel</a:t>
            </a:r>
            <a:endParaRPr lang="de-CH" sz="485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endParaRPr lang="de-CH" sz="485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l"/>
            <a:r>
              <a:rPr lang="de-CH" sz="485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Source </a:t>
            </a:r>
            <a:r>
              <a:rPr lang="de-CH" sz="4851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is</a:t>
            </a:r>
            <a:r>
              <a:rPr lang="de-CH" sz="485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not </a:t>
            </a:r>
            <a:r>
              <a:rPr lang="de-CH" sz="4851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ur</a:t>
            </a:r>
            <a:r>
              <a:rPr lang="de-CH" sz="485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CH" sz="4851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usiness</a:t>
            </a:r>
            <a:endParaRPr lang="de-CH" sz="485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l"/>
            <a:endParaRPr lang="de-CH" sz="485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l"/>
            <a:endParaRPr lang="de-CH" sz="485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C2008F-BB0C-4B97-95C0-1E59BE98B4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31E45F6-6F00-4EFB-BEA4-D2BD1E602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83775B-5CE2-49E5-BDB9-17523AD53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6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5567656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FB028756-7CE3-45A5-AD54-7F99D23695A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"/>
                    </a14:imgEffect>
                    <a14:imgEffect>
                      <a14:brightnessContrast bright="-6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" y="0"/>
            <a:ext cx="13625760" cy="7708287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D473DAAB-785A-4FDA-87F6-4BB4A7CBE07A}"/>
              </a:ext>
            </a:extLst>
          </p:cNvPr>
          <p:cNvSpPr txBox="1"/>
          <p:nvPr/>
        </p:nvSpPr>
        <p:spPr>
          <a:xfrm>
            <a:off x="1247500" y="331477"/>
            <a:ext cx="7075423" cy="20310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6615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gile</a:t>
            </a:r>
          </a:p>
          <a:p>
            <a:pPr algn="l"/>
            <a:endParaRPr lang="de-CH" sz="6615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l"/>
            <a:endParaRPr lang="de-CH" sz="6615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l">
              <a:lnSpc>
                <a:spcPct val="100000"/>
              </a:lnSpc>
            </a:pPr>
            <a:r>
              <a:rPr lang="de-CH" sz="6615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 	</a:t>
            </a:r>
            <a:r>
              <a:rPr lang="de-CH" sz="6615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ransparency</a:t>
            </a:r>
            <a:endParaRPr lang="de-CH" sz="6615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l">
              <a:lnSpc>
                <a:spcPct val="100000"/>
              </a:lnSpc>
            </a:pPr>
            <a:r>
              <a:rPr lang="de-CH" sz="6615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 	</a:t>
            </a:r>
            <a:r>
              <a:rPr lang="de-CH" sz="6615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eedback</a:t>
            </a:r>
            <a:endParaRPr lang="de-CH" sz="6615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l">
              <a:lnSpc>
                <a:spcPct val="100000"/>
              </a:lnSpc>
            </a:pPr>
            <a:r>
              <a:rPr lang="de-CH" sz="6615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 	</a:t>
            </a:r>
            <a:r>
              <a:rPr lang="de-CH" sz="485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llaboration</a:t>
            </a:r>
            <a:r>
              <a:rPr lang="de-CH" sz="485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en-US" sz="4851" i="1" dirty="0">
                <a:solidFill>
                  <a:schemeClr val="bg1"/>
                </a:solidFill>
              </a:rPr>
              <a:t>over   	contract negotiation</a:t>
            </a:r>
            <a:endParaRPr lang="de-CH" sz="485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3CEFFA1-0B17-4A1F-9BE0-B13797BD0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526BB61-7489-49C0-9798-FA5B86CC4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D1DF1C-16BC-41F0-85E9-4E0B6B722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6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1914566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4FC7233-6162-40D2-98AB-0B4D75E8706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" y="-1367478"/>
            <a:ext cx="13442244" cy="892874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FF11C1EC-89FB-4D9A-B08F-85A479935991}"/>
              </a:ext>
            </a:extLst>
          </p:cNvPr>
          <p:cNvSpPr txBox="1"/>
          <p:nvPr/>
        </p:nvSpPr>
        <p:spPr>
          <a:xfrm>
            <a:off x="-8282667" y="551076"/>
            <a:ext cx="10679750" cy="322955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r>
              <a:rPr lang="de-CH" sz="485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rus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55CDB1A-7540-4181-812A-A4825C878CB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22202" y="1582626"/>
            <a:ext cx="1992741" cy="1668653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7CB88E0-7152-4F07-A3CC-0EE9EB10298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01717" y="536961"/>
            <a:ext cx="3346226" cy="2802013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C7AD45C-8EE5-4FC0-B0B2-4EB8E840A5A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09569" y="1888656"/>
            <a:ext cx="2257249" cy="31917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04C8C5A0-6496-4367-AE94-7375AA49745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07201" y="3865058"/>
            <a:ext cx="1564236" cy="1869088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4EECE24-298E-4C6F-8DEB-C879DFDD9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3F2422-22F6-46C8-A661-F5B33A2A04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DA55BA8-4785-46D1-B8FD-050E31661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6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6850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B8B6F26-7E75-454C-8C22-FBF13CB773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6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" y="0"/>
            <a:ext cx="13624919" cy="7708287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60025E5-97A0-46E9-8997-7C1DC4F4FCC8}"/>
              </a:ext>
            </a:extLst>
          </p:cNvPr>
          <p:cNvSpPr txBox="1"/>
          <p:nvPr/>
        </p:nvSpPr>
        <p:spPr>
          <a:xfrm>
            <a:off x="928008" y="1056486"/>
            <a:ext cx="10679750" cy="322955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485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xcellenc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07639BE-D1FF-4872-873F-48BD41864FE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01774" y="1423625"/>
            <a:ext cx="2275325" cy="2621957"/>
          </a:xfrm>
          <a:prstGeom prst="rect">
            <a:avLst/>
          </a:prstGeom>
          <a:effectLst>
            <a:glow rad="254000">
              <a:schemeClr val="tx1">
                <a:alpha val="44000"/>
              </a:schemeClr>
            </a:glow>
          </a:effec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D915EB5-DC35-4EF5-BEF5-FFFCC6CD07A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09323" y="396612"/>
            <a:ext cx="1758559" cy="156621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FC21F9A-33A9-4542-8E5D-F8E1C8E4066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71516" y="182139"/>
            <a:ext cx="1781264" cy="189259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06A8E28-17BE-4326-AA7B-94044C24A3F9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334076" y="4945913"/>
            <a:ext cx="1857960" cy="1807157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FAF683B9-80BF-4960-A0F1-00D3E2C3907A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00053" y="4945913"/>
            <a:ext cx="2273919" cy="1909736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1CBCD3E5-95FD-4B3B-94AC-6D6A79C9A9F0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491632" y="3494507"/>
            <a:ext cx="1738420" cy="1799536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A581AAF6-6535-486F-9A1B-E343274347F3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528311" y="1046412"/>
            <a:ext cx="1781264" cy="1788222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44C5A14B-6572-43DE-9EA9-362793B58EBD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221635" y="2671263"/>
            <a:ext cx="3072931" cy="648197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F04AC21C-D42B-4E69-83D1-1A402504434C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537925" y="3852105"/>
            <a:ext cx="1666327" cy="3332653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EF44469-A4E0-4BC3-9D1F-0FE56B76F1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3AF77C-79C1-4E8C-AFB2-C879F0CF3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909AE4-B986-4E4A-94D1-C37C81232C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6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3664598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19DB162-B25F-460C-9402-E1E9E5F4CAB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77000" contrast="-3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" y="-1"/>
            <a:ext cx="13589269" cy="7561263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CF13D0FF-19ED-41D4-B320-98288F4C7CF0}"/>
              </a:ext>
            </a:extLst>
          </p:cNvPr>
          <p:cNvSpPr txBox="1"/>
          <p:nvPr/>
        </p:nvSpPr>
        <p:spPr>
          <a:xfrm>
            <a:off x="3951772" y="1329531"/>
            <a:ext cx="7075423" cy="20310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6615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alent</a:t>
            </a:r>
            <a:br>
              <a:rPr lang="de-CH" sz="6615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endParaRPr lang="de-CH" sz="6615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lvl="1" algn="l">
              <a:lnSpc>
                <a:spcPct val="100000"/>
              </a:lnSpc>
            </a:pPr>
            <a:r>
              <a:rPr lang="de-CH" sz="6174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CH" sz="6174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ttract</a:t>
            </a:r>
            <a:endParaRPr lang="de-CH" sz="6174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lvl="1" algn="l">
              <a:lnSpc>
                <a:spcPct val="100000"/>
              </a:lnSpc>
            </a:pPr>
            <a:r>
              <a:rPr lang="de-CH" sz="6174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CH" sz="6174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uild</a:t>
            </a:r>
            <a:endParaRPr lang="de-CH" sz="6174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lvl="1" algn="l">
              <a:lnSpc>
                <a:spcPct val="100000"/>
              </a:lnSpc>
            </a:pPr>
            <a:r>
              <a:rPr lang="de-CH" sz="6174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CH" sz="6174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tain</a:t>
            </a:r>
            <a:br>
              <a:rPr lang="de-CH" sz="6174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endParaRPr lang="de-CH" sz="6174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l"/>
            <a:endParaRPr lang="de-CH" sz="6615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l"/>
            <a:endParaRPr lang="de-CH" sz="6615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l"/>
            <a:endParaRPr lang="de-CH" sz="6615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5F5306-0FCC-4178-8D3D-68CCEA262A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4F163E-A1F3-4E1D-84BB-517681D7A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Institut für Finanzmanagement IFF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9451F5C-C897-4E21-8549-1B233D1BF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6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5148568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hlinkClick r:id="rId2"/>
            <a:extLst>
              <a:ext uri="{FF2B5EF4-FFF2-40B4-BE49-F238E27FC236}">
                <a16:creationId xmlns:a16="http://schemas.microsoft.com/office/drawing/2014/main" id="{3C54B316-BAA5-4191-871D-A04363A2EA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10" y="2886819"/>
            <a:ext cx="2859689" cy="2907486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BF3CC9E0-4346-4233-8D0A-0395D20E5A4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0" y="938382"/>
            <a:ext cx="11593936" cy="1461490"/>
          </a:xfrm>
        </p:spPr>
        <p:txBody>
          <a:bodyPr anchorCtr="1"/>
          <a:lstStyle/>
          <a:p>
            <a:pPr lvl="0" algn="ctr"/>
            <a:r>
              <a:rPr lang="de-CH" b="1">
                <a:solidFill>
                  <a:srgbClr val="4472C4"/>
                </a:solidFill>
              </a:rPr>
              <a:t>Geteiltes Wissen, geteilte Macht?</a:t>
            </a:r>
          </a:p>
        </p:txBody>
      </p:sp>
      <p:sp>
        <p:nvSpPr>
          <p:cNvPr id="4" name="Rechteck 6">
            <a:extLst>
              <a:ext uri="{FF2B5EF4-FFF2-40B4-BE49-F238E27FC236}">
                <a16:creationId xmlns:a16="http://schemas.microsoft.com/office/drawing/2014/main" id="{56A3D5EE-719A-43CD-AE2C-3A0E4DF8D9BC}"/>
              </a:ext>
            </a:extLst>
          </p:cNvPr>
          <p:cNvSpPr/>
          <p:nvPr/>
        </p:nvSpPr>
        <p:spPr>
          <a:xfrm>
            <a:off x="503892" y="1425328"/>
            <a:ext cx="5490307" cy="848287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100817" tIns="50408" rIns="100817" bIns="50408" anchor="t" anchorCtr="0" compatLnSpc="1">
            <a:spAutoFit/>
          </a:bodyPr>
          <a:lstStyle/>
          <a:p>
            <a:pPr algn="l" defTabSz="1008126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CH" sz="4851" b="1" i="1">
                <a:solidFill>
                  <a:srgbClr val="000000"/>
                </a:solidFill>
                <a:latin typeface="Calibri"/>
              </a:rPr>
              <a:t>Scientia potentia est</a:t>
            </a:r>
            <a:endParaRPr lang="de-CH" sz="4851" b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Rechteck 7">
            <a:extLst>
              <a:ext uri="{FF2B5EF4-FFF2-40B4-BE49-F238E27FC236}">
                <a16:creationId xmlns:a16="http://schemas.microsoft.com/office/drawing/2014/main" id="{E9A6FF45-8BF1-4092-A4B4-CC0C8B905D91}"/>
              </a:ext>
            </a:extLst>
          </p:cNvPr>
          <p:cNvSpPr/>
          <p:nvPr/>
        </p:nvSpPr>
        <p:spPr>
          <a:xfrm>
            <a:off x="6206486" y="1491735"/>
            <a:ext cx="7029170" cy="1323417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100817" tIns="50408" rIns="100817" bIns="50408" anchor="t" anchorCtr="0" compatLnSpc="1">
            <a:spAutoFit/>
          </a:bodyPr>
          <a:lstStyle/>
          <a:p>
            <a:pPr algn="l" defTabSz="1008126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CH" sz="3969">
                <a:solidFill>
                  <a:srgbClr val="4472C4"/>
                </a:solidFill>
                <a:latin typeface="Calibri"/>
              </a:rPr>
              <a:t>Knowledge Shared</a:t>
            </a:r>
            <a:r>
              <a:rPr lang="de-CH" sz="3969">
                <a:solidFill>
                  <a:srgbClr val="000000"/>
                </a:solidFill>
                <a:latin typeface="Calibri"/>
              </a:rPr>
              <a:t> = </a:t>
            </a:r>
            <a:r>
              <a:rPr lang="de-CH" sz="3969" b="1" i="1">
                <a:solidFill>
                  <a:srgbClr val="70AD47"/>
                </a:solidFill>
                <a:latin typeface="Calibri"/>
              </a:rPr>
              <a:t>Knowledge</a:t>
            </a:r>
            <a:r>
              <a:rPr lang="de-CH" sz="4851" b="1" i="1" baseline="30000">
                <a:solidFill>
                  <a:srgbClr val="70AD47"/>
                </a:solidFill>
                <a:latin typeface="Calibri"/>
              </a:rPr>
              <a:t>2</a:t>
            </a:r>
            <a:endParaRPr lang="de-CH" sz="3969" b="1" i="1" baseline="30000">
              <a:solidFill>
                <a:srgbClr val="70AD47"/>
              </a:solidFill>
              <a:latin typeface="Calibri"/>
            </a:endParaRPr>
          </a:p>
        </p:txBody>
      </p:sp>
      <p:sp>
        <p:nvSpPr>
          <p:cNvPr id="6" name="Rechteck 8">
            <a:extLst>
              <a:ext uri="{FF2B5EF4-FFF2-40B4-BE49-F238E27FC236}">
                <a16:creationId xmlns:a16="http://schemas.microsoft.com/office/drawing/2014/main" id="{16C8B149-1745-4F83-8E49-5CC6B2323299}"/>
              </a:ext>
            </a:extLst>
          </p:cNvPr>
          <p:cNvSpPr/>
          <p:nvPr/>
        </p:nvSpPr>
        <p:spPr>
          <a:xfrm>
            <a:off x="3234889" y="7953238"/>
            <a:ext cx="6721126" cy="712737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100817" tIns="50408" rIns="100817" bIns="50408" anchor="t" anchorCtr="0" compatLnSpc="1">
            <a:spAutoFit/>
          </a:bodyPr>
          <a:lstStyle/>
          <a:p>
            <a:pPr algn="l" defTabSz="1008126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CH" sz="1985">
                <a:solidFill>
                  <a:srgbClr val="000000"/>
                </a:solidFill>
                <a:latin typeface="Calibri"/>
              </a:rPr>
              <a:t>By Zelena zaba - Own work, CC BY-SA 4.0, https://commons.wikimedia.org/w/index.php?curid=36483382</a:t>
            </a:r>
          </a:p>
        </p:txBody>
      </p:sp>
      <p:pic>
        <p:nvPicPr>
          <p:cNvPr id="7" name="Grafik 10">
            <a:hlinkClick r:id="rId4"/>
            <a:extLst>
              <a:ext uri="{FF2B5EF4-FFF2-40B4-BE49-F238E27FC236}">
                <a16:creationId xmlns:a16="http://schemas.microsoft.com/office/drawing/2014/main" id="{A720BCDF-090D-4089-9612-C2EF65F97C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10" y="2792505"/>
            <a:ext cx="2365486" cy="334342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Grafik 13">
            <a:hlinkClick r:id="rId6"/>
            <a:extLst>
              <a:ext uri="{FF2B5EF4-FFF2-40B4-BE49-F238E27FC236}">
                <a16:creationId xmlns:a16="http://schemas.microsoft.com/office/drawing/2014/main" id="{98501AE5-C5D8-4E7D-A02B-5C1F0DA6E20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1394" y="2792505"/>
            <a:ext cx="4290754" cy="331744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" name="Grafik 14">
            <a:hlinkClick r:id="rId8"/>
            <a:extLst>
              <a:ext uri="{FF2B5EF4-FFF2-40B4-BE49-F238E27FC236}">
                <a16:creationId xmlns:a16="http://schemas.microsoft.com/office/drawing/2014/main" id="{3CE8114C-D922-453B-8B4E-F38083C99E7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400245" y="2781667"/>
            <a:ext cx="3392415" cy="339241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B0AA0D8-90CD-42F7-978A-721195409E33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87CCA43-613A-4AA8-A860-1BA988ADDCBF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E7C1B456-B5E5-4C15-8C6B-51A6ECFF2BC0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68</a:t>
            </a:fld>
            <a:endParaRPr lang="en-GB"/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19483646-35DF-43A9-9684-592798C2AC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3271" y="807408"/>
            <a:ext cx="8856408" cy="5946445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454398B-F3F2-44D4-96E3-6CC8EA0F10EF}"/>
              </a:ext>
            </a:extLst>
          </p:cNvPr>
          <p:cNvSpPr>
            <a:spLocks noGrp="1"/>
          </p:cNvSpPr>
          <p:nvPr>
            <p:ph type="dt" sz="half" idx="7"/>
          </p:nvPr>
        </p:nvSpPr>
        <p:spPr/>
        <p:txBody>
          <a:bodyPr/>
          <a:lstStyle/>
          <a:p>
            <a:pPr lvl="0"/>
            <a:r>
              <a:rPr lang="en-US" u="sng" dirty="0">
                <a:solidFill>
                  <a:srgbClr val="000000"/>
                </a:solidFill>
              </a:rPr>
              <a:t>20.04.2021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299F43-BB9F-4637-9862-56D444F03BBE}"/>
              </a:ext>
            </a:extLst>
          </p:cNvPr>
          <p:cNvSpPr>
            <a:spLocks noGrp="1"/>
          </p:cNvSpPr>
          <p:nvPr>
            <p:ph type="ftr" sz="quarter" idx="9"/>
          </p:nvPr>
        </p:nvSpPr>
        <p:spPr/>
        <p:txBody>
          <a:bodyPr/>
          <a:lstStyle/>
          <a:p>
            <a:pPr lvl="0"/>
            <a:r>
              <a:rPr lang="de-CH"/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8171531-6F82-4B93-B52B-6DA6E96E61C7}"/>
              </a:ext>
            </a:extLst>
          </p:cNvPr>
          <p:cNvSpPr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9A3351B6-6F56-4BD2-ADAD-8AE2EAEFFAEF}" type="slidenum">
              <a:rPr lang="en-GB" smtClean="0"/>
              <a:t>6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51749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56E916-8CBE-4936-AC51-1E1045006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498C45F-22F4-4B3D-9357-E0D0C9246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4C556-72F4-414F-B940-1E322AEFB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3514E-FF0B-4619-AA18-8F9E33EC021F}" type="slidenum">
              <a:rPr lang="de-CH" smtClean="0">
                <a:solidFill>
                  <a:srgbClr val="000000"/>
                </a:solidFill>
              </a:rPr>
              <a:pPr/>
              <a:t>7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7814807-4F23-4048-A735-F362A19F95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FCAC69D-3B20-434E-A836-F7E86C5719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Innovation und Fertigung in der Automobilindustrie</a:t>
            </a:r>
          </a:p>
          <a:p>
            <a:r>
              <a:rPr lang="de-CH" dirty="0"/>
              <a:t>Lagerung / Lieferung / Verkauf </a:t>
            </a:r>
            <a:endParaRPr lang="en-GB" dirty="0"/>
          </a:p>
        </p:txBody>
      </p:sp>
      <p:pic>
        <p:nvPicPr>
          <p:cNvPr id="14" name="Grafik 13" descr="Ein Bild, das Gras, Rollbahn enthält.&#10;&#10;Automatisch generierte Beschreibung">
            <a:extLst>
              <a:ext uri="{FF2B5EF4-FFF2-40B4-BE49-F238E27FC236}">
                <a16:creationId xmlns:a16="http://schemas.microsoft.com/office/drawing/2014/main" id="{76F4272F-53A9-40A6-BDA9-AA8F83E914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0742" y="2854638"/>
            <a:ext cx="6779139" cy="3816000"/>
          </a:xfrm>
          <a:prstGeom prst="rect">
            <a:avLst/>
          </a:prstGeom>
        </p:spPr>
      </p:pic>
      <p:pic>
        <p:nvPicPr>
          <p:cNvPr id="12" name="Grafik 11" descr="Ein Bild, das Boden, draußen, gefüttert, Linie enthält.&#10;&#10;Automatisch generierte Beschreibung">
            <a:extLst>
              <a:ext uri="{FF2B5EF4-FFF2-40B4-BE49-F238E27FC236}">
                <a16:creationId xmlns:a16="http://schemas.microsoft.com/office/drawing/2014/main" id="{F8BB179E-FB5F-41FC-B0A3-740418938E7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8808" y="2843999"/>
            <a:ext cx="3355202" cy="3816000"/>
          </a:xfrm>
          <a:prstGeom prst="rect">
            <a:avLst/>
          </a:prstGeom>
        </p:spPr>
      </p:pic>
      <p:pic>
        <p:nvPicPr>
          <p:cNvPr id="16" name="Grafik 15" descr="Ein Bild, das Licht, Nacht, Tasse, Glas enthält.&#10;&#10;Automatisch generierte Beschreibung">
            <a:extLst>
              <a:ext uri="{FF2B5EF4-FFF2-40B4-BE49-F238E27FC236}">
                <a16:creationId xmlns:a16="http://schemas.microsoft.com/office/drawing/2014/main" id="{70939EDB-6DCD-4F28-9C44-69B9D96EF9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0647" y="2864577"/>
            <a:ext cx="3217309" cy="38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86311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6755550-4202-414A-B01F-F282A5CBAF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59D92A86-91BE-4C00-9CF9-E1C61D62771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0000" lnSpcReduction="20000"/>
          </a:bodyPr>
          <a:lstStyle/>
          <a:p>
            <a:endParaRPr lang="en-GB" dirty="0"/>
          </a:p>
        </p:txBody>
      </p:sp>
      <p:pic>
        <p:nvPicPr>
          <p:cNvPr id="6" name="Grafik 5" descr="Ein Bild, das Essen, Gericht enthält.&#10;&#10;Automatisch generierte Beschreibung">
            <a:extLst>
              <a:ext uri="{FF2B5EF4-FFF2-40B4-BE49-F238E27FC236}">
                <a16:creationId xmlns:a16="http://schemas.microsoft.com/office/drawing/2014/main" id="{E2C5AEF6-1743-430D-A0BD-49F5A122B91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999" y="3276001"/>
            <a:ext cx="4655034" cy="308159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F5DADEB-E66B-4EC6-8F87-AA9245F039B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81033" y="3276001"/>
            <a:ext cx="2115167" cy="30846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0A3E61-14F9-4617-82DE-4E82BC77E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666637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71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Innovation und Fertigung in der Automobilindustrie </a:t>
            </a:r>
            <a:r>
              <a:rPr lang="de-CH" dirty="0" err="1"/>
              <a:t>vs</a:t>
            </a:r>
            <a:r>
              <a:rPr lang="de-CH" dirty="0"/>
              <a:t> Softwareindustri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  <a:p>
            <a:endParaRPr lang="de-CH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C76825FD-09C9-4680-A5B9-C82E6313A961}"/>
              </a:ext>
            </a:extLst>
          </p:cNvPr>
          <p:cNvGraphicFramePr>
            <a:graphicFrameLocks noGrp="1"/>
          </p:cNvGraphicFramePr>
          <p:nvPr/>
        </p:nvGraphicFramePr>
        <p:xfrm>
          <a:off x="836857" y="2865963"/>
          <a:ext cx="8961498" cy="1112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214">
                  <a:extLst>
                    <a:ext uri="{9D8B030D-6E8A-4147-A177-3AD203B41FA5}">
                      <a16:colId xmlns:a16="http://schemas.microsoft.com/office/drawing/2014/main" val="67568215"/>
                    </a:ext>
                  </a:extLst>
                </a:gridCol>
                <a:gridCol w="1280214">
                  <a:extLst>
                    <a:ext uri="{9D8B030D-6E8A-4147-A177-3AD203B41FA5}">
                      <a16:colId xmlns:a16="http://schemas.microsoft.com/office/drawing/2014/main" val="4102024967"/>
                    </a:ext>
                  </a:extLst>
                </a:gridCol>
                <a:gridCol w="1280214">
                  <a:extLst>
                    <a:ext uri="{9D8B030D-6E8A-4147-A177-3AD203B41FA5}">
                      <a16:colId xmlns:a16="http://schemas.microsoft.com/office/drawing/2014/main" val="1429234335"/>
                    </a:ext>
                  </a:extLst>
                </a:gridCol>
                <a:gridCol w="1280214">
                  <a:extLst>
                    <a:ext uri="{9D8B030D-6E8A-4147-A177-3AD203B41FA5}">
                      <a16:colId xmlns:a16="http://schemas.microsoft.com/office/drawing/2014/main" val="599071787"/>
                    </a:ext>
                  </a:extLst>
                </a:gridCol>
                <a:gridCol w="1280214">
                  <a:extLst>
                    <a:ext uri="{9D8B030D-6E8A-4147-A177-3AD203B41FA5}">
                      <a16:colId xmlns:a16="http://schemas.microsoft.com/office/drawing/2014/main" val="195388044"/>
                    </a:ext>
                  </a:extLst>
                </a:gridCol>
                <a:gridCol w="1280214">
                  <a:extLst>
                    <a:ext uri="{9D8B030D-6E8A-4147-A177-3AD203B41FA5}">
                      <a16:colId xmlns:a16="http://schemas.microsoft.com/office/drawing/2014/main" val="414946423"/>
                    </a:ext>
                  </a:extLst>
                </a:gridCol>
                <a:gridCol w="1280214">
                  <a:extLst>
                    <a:ext uri="{9D8B030D-6E8A-4147-A177-3AD203B41FA5}">
                      <a16:colId xmlns:a16="http://schemas.microsoft.com/office/drawing/2014/main" val="2255796222"/>
                    </a:ext>
                  </a:extLst>
                </a:gridCol>
              </a:tblGrid>
              <a:tr h="370820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R&amp;D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Rohstoffe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Fertigung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Lagerung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Lieferung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Verkauf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extLst>
                  <a:ext uri="{0D108BD9-81ED-4DB2-BD59-A6C34878D82A}">
                    <a16:rowId xmlns:a16="http://schemas.microsoft.com/office/drawing/2014/main" val="3883447142"/>
                  </a:ext>
                </a:extLst>
              </a:tr>
              <a:tr h="370820">
                <a:tc>
                  <a:txBody>
                    <a:bodyPr/>
                    <a:lstStyle/>
                    <a:p>
                      <a:r>
                        <a:rPr lang="de-CH" sz="1800" dirty="0"/>
                        <a:t>Auto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X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X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X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X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X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X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extLst>
                  <a:ext uri="{0D108BD9-81ED-4DB2-BD59-A6C34878D82A}">
                    <a16:rowId xmlns:a16="http://schemas.microsoft.com/office/drawing/2014/main" val="2125372591"/>
                  </a:ext>
                </a:extLst>
              </a:tr>
              <a:tr h="370820">
                <a:tc>
                  <a:txBody>
                    <a:bodyPr/>
                    <a:lstStyle/>
                    <a:p>
                      <a:r>
                        <a:rPr lang="de-CH" sz="1800" dirty="0"/>
                        <a:t>Software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X</a:t>
                      </a:r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endParaRPr lang="en-GB" sz="180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5" marR="91435" marT="45717" marB="45717"/>
                </a:tc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marL="91435" marR="91435" marT="45717" marB="45717"/>
                </a:tc>
                <a:extLst>
                  <a:ext uri="{0D108BD9-81ED-4DB2-BD59-A6C34878D82A}">
                    <a16:rowId xmlns:a16="http://schemas.microsoft.com/office/drawing/2014/main" val="41431339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391612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72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Welches Geschäftsmodell ist in der Softwareindustrie zukunftsweisend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Produkt verkaufen ( Kunde = Eigentümer)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 err="1"/>
              <a:t>Subscription</a:t>
            </a:r>
            <a:r>
              <a:rPr lang="de-CH" dirty="0"/>
              <a:t> Modelle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Sharing Economy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Second Hand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Support / Reparatur</a:t>
            </a:r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3471030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73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Welches Geschäftsmodell ist in der Softwareindustrie zukunftsweisend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Produkt verkaufen ( Kunde = Eigentümer)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b="1" dirty="0" err="1"/>
              <a:t>Subscription</a:t>
            </a:r>
            <a:r>
              <a:rPr lang="de-CH" b="1" dirty="0"/>
              <a:t> Modelle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Sharing Economy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Second Hand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Support / Reparatur</a:t>
            </a:r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3364521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74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Innovationsgeschwindigkeit und Halbwertszei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Was besagt Moores Law?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Wie nimmt der Wert von Wissen, Hard- und Software ab?</a:t>
            </a:r>
          </a:p>
          <a:p>
            <a:pPr marL="695276" lvl="1" indent="-342851">
              <a:buFont typeface="Arial" panose="020B0604020202020204" pitchFamily="34" charset="0"/>
              <a:buChar char="•"/>
            </a:pPr>
            <a:r>
              <a:rPr lang="de-CH" dirty="0"/>
              <a:t>linear </a:t>
            </a:r>
          </a:p>
          <a:p>
            <a:pPr marL="695276" lvl="1" indent="-342851">
              <a:buFont typeface="Arial" panose="020B0604020202020204" pitchFamily="34" charset="0"/>
              <a:buChar char="•"/>
            </a:pPr>
            <a:r>
              <a:rPr lang="de-CH" dirty="0"/>
              <a:t>Exponentiell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Welche Metrik ist daher wichtig?</a:t>
            </a:r>
          </a:p>
          <a:p>
            <a:pPr marL="695276" lvl="1" indent="-342851">
              <a:buFont typeface="Arial" panose="020B0604020202020204" pitchFamily="34" charset="0"/>
              <a:buChar char="•"/>
            </a:pPr>
            <a:r>
              <a:rPr lang="de-CH" dirty="0"/>
              <a:t>Lines </a:t>
            </a:r>
            <a:r>
              <a:rPr lang="de-CH" dirty="0" err="1"/>
              <a:t>of</a:t>
            </a:r>
            <a:r>
              <a:rPr lang="de-CH" dirty="0"/>
              <a:t> Code</a:t>
            </a:r>
          </a:p>
          <a:p>
            <a:pPr marL="695276" lvl="1" indent="-342851">
              <a:buFont typeface="Arial" panose="020B0604020202020204" pitchFamily="34" charset="0"/>
              <a:buChar char="•"/>
            </a:pPr>
            <a:r>
              <a:rPr lang="de-CH" dirty="0" err="1"/>
              <a:t>Cyclomatic</a:t>
            </a:r>
            <a:r>
              <a:rPr lang="de-CH" dirty="0"/>
              <a:t> </a:t>
            </a:r>
            <a:r>
              <a:rPr lang="de-CH" dirty="0" err="1"/>
              <a:t>Complexity</a:t>
            </a:r>
            <a:endParaRPr lang="de-CH" dirty="0"/>
          </a:p>
          <a:p>
            <a:pPr marL="695276" lvl="1" indent="-342851">
              <a:buFont typeface="Arial" panose="020B0604020202020204" pitchFamily="34" charset="0"/>
              <a:buChar char="•"/>
            </a:pPr>
            <a:r>
              <a:rPr lang="de-CH" dirty="0"/>
              <a:t>Time </a:t>
            </a:r>
            <a:r>
              <a:rPr lang="de-CH" dirty="0" err="1"/>
              <a:t>to</a:t>
            </a:r>
            <a:r>
              <a:rPr lang="de-CH" dirty="0"/>
              <a:t> Market</a:t>
            </a:r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333797907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75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Was ist der Unterschied zwischen Invention und Innovation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dirty="0"/>
          </a:p>
          <a:p>
            <a:pPr marL="342851" indent="-342851">
              <a:buFont typeface="Arial" panose="020B0604020202020204" pitchFamily="34" charset="0"/>
              <a:buChar char="•"/>
            </a:pPr>
            <a:endParaRPr lang="de-CH" dirty="0"/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136546520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76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Was ist der Unterschied zwischen Invention und Innovation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Invention -&gt; Idee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Innovation -&gt; Umsetzung</a:t>
            </a:r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358201800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77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Wie entsteht Invention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Durch inkrementelle Planung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Sprunghaft 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Spontan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First time </a:t>
            </a:r>
            <a:r>
              <a:rPr lang="de-CH" dirty="0" err="1"/>
              <a:t>right</a:t>
            </a:r>
            <a:endParaRPr lang="de-CH" dirty="0"/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Ungeplant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Durch Fehler</a:t>
            </a:r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3009513974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78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Wie entsteht Invention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Durch inkrementelle Planung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b="1" dirty="0"/>
              <a:t>Sprunghaft 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b="1" dirty="0"/>
              <a:t>Spontan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First time </a:t>
            </a:r>
            <a:r>
              <a:rPr lang="de-CH" dirty="0" err="1"/>
              <a:t>right</a:t>
            </a:r>
            <a:endParaRPr lang="de-CH" dirty="0"/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b="1" dirty="0"/>
              <a:t>Ungeplant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b="1" dirty="0"/>
              <a:t>Durch Fehler</a:t>
            </a:r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2647558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79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Nenne drei Arten von Slack Time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Green Card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Gold Card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Entwickler Freitag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 err="1"/>
              <a:t>Friday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Future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Code Camp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 err="1"/>
              <a:t>Les</a:t>
            </a:r>
            <a:r>
              <a:rPr lang="de-CH" dirty="0"/>
              <a:t> Gilets </a:t>
            </a:r>
            <a:r>
              <a:rPr lang="de-CH" dirty="0" err="1"/>
              <a:t>Jaunes</a:t>
            </a:r>
            <a:endParaRPr lang="de-CH" dirty="0"/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Hackathon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Innovation Sprint</a:t>
            </a:r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12851970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56E916-8CBE-4936-AC51-1E1045006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498C45F-22F4-4B3D-9357-E0D0C9246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4C556-72F4-414F-B940-1E322AEFB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3514E-FF0B-4619-AA18-8F9E33EC021F}" type="slidenum">
              <a:rPr lang="de-CH" smtClean="0">
                <a:solidFill>
                  <a:srgbClr val="000000"/>
                </a:solidFill>
              </a:rPr>
              <a:pPr/>
              <a:t>8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7814807-4F23-4048-A735-F362A19F95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solidFill>
            <a:schemeClr val="accent5"/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FCAC69D-3B20-434E-A836-F7E86C5719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Innovation und Fertigung in der Softwareindustrie – immaterielles Gut</a:t>
            </a:r>
          </a:p>
          <a:p>
            <a:r>
              <a:rPr lang="de-CH" b="1" dirty="0"/>
              <a:t>Research &amp; Development</a:t>
            </a:r>
            <a:r>
              <a:rPr lang="de-CH" dirty="0"/>
              <a:t> / Rohstoffe / Fertigung</a:t>
            </a:r>
            <a:endParaRPr lang="en-GB" dirty="0"/>
          </a:p>
        </p:txBody>
      </p:sp>
      <p:pic>
        <p:nvPicPr>
          <p:cNvPr id="9" name="Grafik 8" descr="Ein Bild, das Text, drinnen, Computer enthält.&#10;&#10;Automatisch generierte Beschreibung">
            <a:extLst>
              <a:ext uri="{FF2B5EF4-FFF2-40B4-BE49-F238E27FC236}">
                <a16:creationId xmlns:a16="http://schemas.microsoft.com/office/drawing/2014/main" id="{99E6FB2A-8393-45A3-A5E0-3C8915DF9DC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5420" y="2840751"/>
            <a:ext cx="4331217" cy="3816000"/>
          </a:xfrm>
          <a:prstGeom prst="rect">
            <a:avLst/>
          </a:prstGeom>
        </p:spPr>
      </p:pic>
      <p:pic>
        <p:nvPicPr>
          <p:cNvPr id="12" name="Grafik 11" descr="Ein Bild, das Text, Elektronik, verschieden, mehrere enthält.&#10;&#10;Automatisch generierte Beschreibung">
            <a:extLst>
              <a:ext uri="{FF2B5EF4-FFF2-40B4-BE49-F238E27FC236}">
                <a16:creationId xmlns:a16="http://schemas.microsoft.com/office/drawing/2014/main" id="{B67AB5EB-3D01-461D-9AA9-FC161155B02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8"/>
          <a:stretch/>
        </p:blipFill>
        <p:spPr>
          <a:xfrm>
            <a:off x="8909847" y="3618326"/>
            <a:ext cx="3419782" cy="2240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99412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80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Nenne drei Arten von Slack Time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Green Card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b="1" dirty="0"/>
              <a:t>Gold Card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b="1" dirty="0"/>
              <a:t>Entwickler Freitag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 err="1"/>
              <a:t>Friday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Future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b="1" dirty="0"/>
              <a:t>Code Camp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 err="1"/>
              <a:t>Les</a:t>
            </a:r>
            <a:r>
              <a:rPr lang="de-CH" dirty="0"/>
              <a:t> Gilets </a:t>
            </a:r>
            <a:r>
              <a:rPr lang="de-CH" dirty="0" err="1"/>
              <a:t>Jaunes</a:t>
            </a:r>
            <a:endParaRPr lang="de-CH" dirty="0"/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b="1" dirty="0"/>
              <a:t>Hackathon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b="1" dirty="0"/>
              <a:t>Innovation Sprint</a:t>
            </a:r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28926836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81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Opensource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Wieso wurde Free Software in Open Source umbenannt?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Wofür steht FLOSS?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Welche sind die 4 Freiheiten in FLOSS?</a:t>
            </a:r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218445081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82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Opensource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Wieso wurde Free Software in Open Source umbenannt?</a:t>
            </a:r>
          </a:p>
          <a:p>
            <a:pPr marL="695276" lvl="1" indent="-342851">
              <a:buFont typeface="Arial" panose="020B0604020202020204" pitchFamily="34" charset="0"/>
              <a:buChar char="•"/>
            </a:pPr>
            <a:r>
              <a:rPr lang="de-CH" dirty="0"/>
              <a:t>Free != Gratis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Wofür steht FLOSS?</a:t>
            </a:r>
          </a:p>
          <a:p>
            <a:pPr marL="695276" lvl="1" indent="-342851">
              <a:buFont typeface="Arial" panose="020B0604020202020204" pitchFamily="34" charset="0"/>
              <a:buChar char="•"/>
            </a:pPr>
            <a:r>
              <a:rPr lang="de-CH" dirty="0"/>
              <a:t>Free / Libre Open Source Software</a:t>
            </a:r>
          </a:p>
          <a:p>
            <a:pPr marL="342851" indent="-342851">
              <a:buFont typeface="Arial" panose="020B0604020202020204" pitchFamily="34" charset="0"/>
              <a:buChar char="•"/>
            </a:pPr>
            <a:r>
              <a:rPr lang="de-CH" dirty="0"/>
              <a:t>Welche sind die 4 Freiheiten in FLOSS?</a:t>
            </a:r>
          </a:p>
          <a:p>
            <a:pPr marL="695276" lvl="1" indent="-342851">
              <a:buFont typeface="Arial" panose="020B0604020202020204" pitchFamily="34" charset="0"/>
              <a:buChar char="•"/>
            </a:pPr>
            <a:r>
              <a:rPr lang="de-CH" dirty="0"/>
              <a:t>Use</a:t>
            </a:r>
          </a:p>
          <a:p>
            <a:pPr marL="695276" lvl="1" indent="-342851">
              <a:buFont typeface="Arial" panose="020B0604020202020204" pitchFamily="34" charset="0"/>
              <a:buChar char="•"/>
            </a:pPr>
            <a:r>
              <a:rPr lang="de-CH" dirty="0"/>
              <a:t>Change</a:t>
            </a:r>
          </a:p>
          <a:p>
            <a:pPr marL="695276" lvl="1" indent="-342851">
              <a:buFont typeface="Arial" panose="020B0604020202020204" pitchFamily="34" charset="0"/>
              <a:buChar char="•"/>
            </a:pPr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copies</a:t>
            </a:r>
            <a:endParaRPr lang="de-CH" dirty="0"/>
          </a:p>
          <a:p>
            <a:pPr marL="695276" lvl="1" indent="-342851">
              <a:buFont typeface="Arial" panose="020B0604020202020204" pitchFamily="34" charset="0"/>
              <a:buChar char="•"/>
            </a:pPr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changes</a:t>
            </a:r>
            <a:endParaRPr lang="de-CH" dirty="0"/>
          </a:p>
          <a:p>
            <a:pPr marL="695276" lvl="1" indent="-342851">
              <a:buFont typeface="Arial" panose="020B0604020202020204" pitchFamily="34" charset="0"/>
              <a:buChar char="•"/>
            </a:pPr>
            <a:endParaRPr lang="de-CH" dirty="0"/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156270631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83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Nenne die fünf Stufen des Open Source </a:t>
            </a:r>
            <a:r>
              <a:rPr lang="de-CH" dirty="0" err="1"/>
              <a:t>Maturity</a:t>
            </a:r>
            <a:r>
              <a:rPr lang="de-CH" dirty="0"/>
              <a:t> Model nach </a:t>
            </a:r>
            <a:r>
              <a:rPr lang="de-CH" dirty="0" err="1"/>
              <a:t>Eclipse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 indent="0">
              <a:buNone/>
            </a:pPr>
            <a:r>
              <a:rPr lang="de-CH" dirty="0"/>
              <a:t>0)</a:t>
            </a:r>
          </a:p>
          <a:p>
            <a:pPr marL="809625" lvl="1" indent="-457200">
              <a:buAutoNum type="arabicParenR"/>
            </a:pPr>
            <a:r>
              <a:rPr lang="de-CH" dirty="0"/>
              <a:t> </a:t>
            </a:r>
          </a:p>
          <a:p>
            <a:pPr marL="809625" lvl="1" indent="-457200">
              <a:buAutoNum type="arabicParenR"/>
            </a:pPr>
            <a:r>
              <a:rPr lang="de-CH" dirty="0"/>
              <a:t> </a:t>
            </a:r>
          </a:p>
          <a:p>
            <a:pPr marL="809625" lvl="1" indent="-457200">
              <a:buAutoNum type="arabicParenR"/>
            </a:pPr>
            <a:r>
              <a:rPr lang="de-CH" dirty="0"/>
              <a:t> </a:t>
            </a:r>
          </a:p>
          <a:p>
            <a:pPr marL="809625" lvl="1" indent="-457200">
              <a:buAutoNum type="arabicParenR"/>
            </a:pPr>
            <a:r>
              <a:rPr lang="de-CH" dirty="0"/>
              <a:t> </a:t>
            </a:r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250681590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84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Nenne die fünf Stufen des Open Source </a:t>
            </a:r>
            <a:r>
              <a:rPr lang="de-CH" dirty="0" err="1"/>
              <a:t>Maturity</a:t>
            </a:r>
            <a:r>
              <a:rPr lang="de-CH" dirty="0"/>
              <a:t> Model nach </a:t>
            </a:r>
            <a:r>
              <a:rPr lang="de-CH" dirty="0" err="1"/>
              <a:t>Eclipse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 indent="0">
              <a:buNone/>
            </a:pPr>
            <a:r>
              <a:rPr lang="de-CH" dirty="0"/>
              <a:t>0)   </a:t>
            </a:r>
            <a:r>
              <a:rPr lang="de-CH" dirty="0" err="1"/>
              <a:t>Deny</a:t>
            </a:r>
            <a:endParaRPr lang="de-CH" dirty="0"/>
          </a:p>
          <a:p>
            <a:pPr marL="809625" lvl="1" indent="-457200">
              <a:buAutoNum type="arabicParenR"/>
            </a:pPr>
            <a:r>
              <a:rPr lang="de-CH" dirty="0"/>
              <a:t>Use</a:t>
            </a:r>
          </a:p>
          <a:p>
            <a:pPr marL="809625" lvl="1" indent="-457200">
              <a:buAutoNum type="arabicParenR"/>
            </a:pPr>
            <a:r>
              <a:rPr lang="de-CH" dirty="0" err="1"/>
              <a:t>Contribute</a:t>
            </a:r>
            <a:endParaRPr lang="de-CH" dirty="0"/>
          </a:p>
          <a:p>
            <a:pPr marL="809625" lvl="1" indent="-457200">
              <a:buAutoNum type="arabicParenR"/>
            </a:pPr>
            <a:r>
              <a:rPr lang="de-CH" dirty="0"/>
              <a:t>Champion</a:t>
            </a:r>
          </a:p>
          <a:p>
            <a:pPr marL="809625" lvl="1" indent="-457200">
              <a:buAutoNum type="arabicParenR"/>
            </a:pPr>
            <a:r>
              <a:rPr lang="de-CH" dirty="0"/>
              <a:t>Strategic </a:t>
            </a:r>
            <a:r>
              <a:rPr lang="de-CH" dirty="0" err="1"/>
              <a:t>Invest</a:t>
            </a:r>
            <a:endParaRPr lang="de-CH" dirty="0"/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421044544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85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Welche Kosten verursacht das Verbergen von Information im Unternehmen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268440709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86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Welche Kosten verursacht das Verbergen von Information im Unternehmen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09625" lvl="1" indent="-457200"/>
            <a:r>
              <a:rPr lang="de-CH" dirty="0"/>
              <a:t>Teurere Systeme</a:t>
            </a:r>
          </a:p>
          <a:p>
            <a:pPr marL="809625" lvl="1" indent="-457200"/>
            <a:r>
              <a:rPr lang="de-CH" dirty="0"/>
              <a:t>Erhöhte Kommunikationskosten</a:t>
            </a:r>
          </a:p>
          <a:p>
            <a:pPr marL="809625" lvl="1" indent="-457200"/>
            <a:r>
              <a:rPr lang="de-CH" dirty="0"/>
              <a:t>Verlangsamte Innovation</a:t>
            </a:r>
          </a:p>
          <a:p>
            <a:pPr marL="809625" lvl="1" indent="-457200"/>
            <a:r>
              <a:rPr lang="de-CH" dirty="0"/>
              <a:t>Schlechtere Entscheidungen</a:t>
            </a:r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647887435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87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Wieso sollte ein (Start-Up) Unternehmen sich mit Open Source beschäftigen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 indent="0">
              <a:buNone/>
            </a:pPr>
            <a:endParaRPr lang="de-CH" dirty="0"/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290601192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7ED107-0FD0-46A3-BD24-8C14A3674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xx.xx.xxxx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8DC3EE-FBE7-4EAB-97C4-DE1FF8463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78DB629-A05C-413A-82E2-AC05DC69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88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990C12C-8BBF-4942-9080-F6258E958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Wieso sollte ein (Start-Up) Unternehmen sich mit Open Source beschäftigen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3734651-F16D-40CB-847E-5EC02C6C7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09625" lvl="1" indent="-457200"/>
            <a:r>
              <a:rPr lang="de-CH" dirty="0"/>
              <a:t>Man kommt gar nicht umhin</a:t>
            </a:r>
          </a:p>
          <a:p>
            <a:pPr marL="809625" lvl="1" indent="-457200"/>
            <a:r>
              <a:rPr lang="de-CH" dirty="0"/>
              <a:t>Es ist ein Angriffsvektor mit dem mehrere Davids sich auf neutralem Grund gegen einen Goliath verbünden können</a:t>
            </a:r>
          </a:p>
          <a:p>
            <a:pPr marL="809625" lvl="1" indent="-457200"/>
            <a:r>
              <a:rPr lang="de-CH" dirty="0"/>
              <a:t>Open Source fördert Agilität und Innovation</a:t>
            </a:r>
          </a:p>
          <a:p>
            <a:pPr marL="809625" lvl="1" indent="-457200"/>
            <a:r>
              <a:rPr lang="de-CH" dirty="0"/>
              <a:t>Open Source steht für Vertrauen und Exzellenz </a:t>
            </a:r>
          </a:p>
          <a:p>
            <a:pPr marL="809625" lvl="1" indent="-457200"/>
            <a:r>
              <a:rPr lang="de-CH" dirty="0"/>
              <a:t>Es ist Ausdruck einer Firmenkultur und zieht Talent an</a:t>
            </a:r>
          </a:p>
          <a:p>
            <a:pPr marL="809625" lvl="1" indent="-457200"/>
            <a:endParaRPr lang="de-CH" dirty="0"/>
          </a:p>
          <a:p>
            <a:pPr lvl="1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DE28C1-B250-4708-80B1-CFE709F687A2}"/>
              </a:ext>
            </a:extLst>
          </p:cNvPr>
          <p:cNvSpPr/>
          <p:nvPr/>
        </p:nvSpPr>
        <p:spPr>
          <a:xfrm>
            <a:off x="926303" y="2721021"/>
            <a:ext cx="6721122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51" indent="-342851">
              <a:buFont typeface="Arial" panose="020B0604020202020204" pitchFamily="34" charset="0"/>
              <a:buChar char="•"/>
            </a:pPr>
            <a:endParaRPr lang="de-CH" sz="1799" dirty="0"/>
          </a:p>
        </p:txBody>
      </p:sp>
    </p:spTree>
    <p:extLst>
      <p:ext uri="{BB962C8B-B14F-4D97-AF65-F5344CB8AC3E}">
        <p14:creationId xmlns:p14="http://schemas.microsoft.com/office/powerpoint/2010/main" val="168771407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C5B4391-8D7F-4882-BAD2-2BD00AA497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13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073FBF-8E50-4E49-B623-0AC5C9203B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A88AF0-01DC-450C-A72C-BDE07E89F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89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79D9D6-CE8B-4EE0-97B7-422E931C0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icens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A2ECD2-56EA-4ED1-BD92-3C17067DAD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defTabSz="914400" ea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en-US" dirty="0">
                <a:latin typeface="Arial" panose="020B0604020202020204" pitchFamily="34" charset="0"/>
              </a:rPr>
              <a:t>               </a:t>
            </a:r>
          </a:p>
          <a:p>
            <a:pPr lvl="0" defTabSz="914400" ea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en-US" dirty="0">
                <a:latin typeface="Arial" panose="020B0604020202020204" pitchFamily="34" charset="0"/>
              </a:rPr>
              <a:t>To the extent possible under law, the person who associated CC0 with this work has waived all copyright and related or neighboring rights to this work.</a:t>
            </a:r>
            <a:endParaRPr lang="en-GB" dirty="0"/>
          </a:p>
        </p:txBody>
      </p:sp>
      <p:pic>
        <p:nvPicPr>
          <p:cNvPr id="19458" name="Picture 2" descr="CC0 logo">
            <a:hlinkClick r:id="rId2"/>
            <a:extLst>
              <a:ext uri="{FF2B5EF4-FFF2-40B4-BE49-F238E27FC236}">
                <a16:creationId xmlns:a16="http://schemas.microsoft.com/office/drawing/2014/main" id="{A5372D29-2727-46A9-96B3-74F71CA332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999" y="3485355"/>
            <a:ext cx="1479576" cy="52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55689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56E916-8CBE-4936-AC51-1E1045006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04.2021</a:t>
            </a:r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498C45F-22F4-4B3D-9357-E0D0C9246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/>
                </a:solidFill>
              </a:rPr>
              <a:t>Institut für Finanzmanagement IF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4C556-72F4-414F-B940-1E322AEFB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3514E-FF0B-4619-AA18-8F9E33EC021F}" type="slidenum">
              <a:rPr lang="de-CH" smtClean="0">
                <a:solidFill>
                  <a:srgbClr val="000000"/>
                </a:solidFill>
              </a:rPr>
              <a:pPr/>
              <a:t>9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7814807-4F23-4048-A735-F362A19F95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solidFill>
            <a:schemeClr val="tx2"/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FCAC69D-3B20-434E-A836-F7E86C5719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Innovation und Fertigung in der Softwareindustrie – immaterielles Gut</a:t>
            </a:r>
          </a:p>
          <a:p>
            <a:r>
              <a:rPr lang="de-CH" dirty="0"/>
              <a:t>Lagerung / Lieferung / Verkauf </a:t>
            </a:r>
            <a:endParaRPr lang="en-GB" dirty="0"/>
          </a:p>
        </p:txBody>
      </p:sp>
      <p:pic>
        <p:nvPicPr>
          <p:cNvPr id="9" name="Grafik 8" descr="Ein Bild, das grün, Licht, farbig, Outdoorobjekt enthält.&#10;&#10;Automatisch generierte Beschreibung">
            <a:extLst>
              <a:ext uri="{FF2B5EF4-FFF2-40B4-BE49-F238E27FC236}">
                <a16:creationId xmlns:a16="http://schemas.microsoft.com/office/drawing/2014/main" id="{9E31B242-9D44-4562-B588-33350E32A8F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350" y="2889074"/>
            <a:ext cx="3765241" cy="376524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74B2189-FDB2-4F08-9ED0-6ABBA4198F3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801" y="3805180"/>
            <a:ext cx="3847582" cy="192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691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PS-PP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ächste Schritte.potx" id="{58E37857-B8D4-4744-847D-8FF713D67E1C}" vid="{57128146-EBAA-45EC-B67E-ED699EE5942D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6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0D235BE6556F4ABE1BCD77D4D2DF8E" ma:contentTypeVersion="8" ma:contentTypeDescription="Create a new document." ma:contentTypeScope="" ma:versionID="8afc6645d73dd664cd9f1310709d00d8">
  <xsd:schema xmlns:xsd="http://www.w3.org/2001/XMLSchema" xmlns:xs="http://www.w3.org/2001/XMLSchema" xmlns:p="http://schemas.microsoft.com/office/2006/metadata/properties" xmlns:ns3="14aef0e4-e445-485d-a9f1-64e383dd5592" xmlns:ns4="b86d8ed5-88cb-41ac-956f-c50ea5d87e7b" targetNamespace="http://schemas.microsoft.com/office/2006/metadata/properties" ma:root="true" ma:fieldsID="ee5aa3484af9525728353718dd74722a" ns3:_="" ns4:_="">
    <xsd:import namespace="14aef0e4-e445-485d-a9f1-64e383dd5592"/>
    <xsd:import namespace="b86d8ed5-88cb-41ac-956f-c50ea5d87e7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aef0e4-e445-485d-a9f1-64e383dd559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6d8ed5-88cb-41ac-956f-c50ea5d87e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B2BFE82-22B7-498B-B8BB-C0B4EFB876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D70B0F2-A8D4-44F2-B01E-46D0F91C0FFA}">
  <ds:schemaRefs>
    <ds:schemaRef ds:uri="http://purl.org/dc/dcmitype/"/>
    <ds:schemaRef ds:uri="http://schemas.openxmlformats.org/package/2006/metadata/core-properties"/>
    <ds:schemaRef ds:uri="b86d8ed5-88cb-41ac-956f-c50ea5d87e7b"/>
    <ds:schemaRef ds:uri="http://purl.org/dc/elements/1.1/"/>
    <ds:schemaRef ds:uri="http://schemas.microsoft.com/office/2006/metadata/properties"/>
    <ds:schemaRef ds:uri="14aef0e4-e445-485d-a9f1-64e383dd5592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D83996B-56D7-45A6-A610-B4A40659F9DF}">
  <ds:schemaRefs>
    <ds:schemaRef ds:uri="14aef0e4-e445-485d-a9f1-64e383dd5592"/>
    <ds:schemaRef ds:uri="b86d8ed5-88cb-41ac-956f-c50ea5d87e7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ächste Schritte</Template>
  <TotalTime>0</TotalTime>
  <Words>2337</Words>
  <Application>Microsoft Office PowerPoint</Application>
  <PresentationFormat>Custom</PresentationFormat>
  <Paragraphs>685</Paragraphs>
  <Slides>89</Slides>
  <Notes>14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9</vt:i4>
      </vt:variant>
    </vt:vector>
  </HeadingPairs>
  <TitlesOfParts>
    <vt:vector size="98" baseType="lpstr">
      <vt:lpstr>Calibri Light</vt:lpstr>
      <vt:lpstr>Arial</vt:lpstr>
      <vt:lpstr>Ubuntu</vt:lpstr>
      <vt:lpstr>Calibri</vt:lpstr>
      <vt:lpstr>Verdana, Geneva,Arial,Helvetica,Sans-Serif</vt:lpstr>
      <vt:lpstr>APS-PP</vt:lpstr>
      <vt:lpstr>Larissa</vt:lpstr>
      <vt:lpstr>6_Larissa</vt:lpstr>
      <vt:lpstr>think-cell Folie</vt:lpstr>
      <vt:lpstr>Fachmodul Digital Banking &amp; Insurance, FS21</vt:lpstr>
      <vt:lpstr>Modulbeschreibung</vt:lpstr>
      <vt:lpstr>Wer sind wir?</vt:lpstr>
      <vt:lpstr>Lernziele</vt:lpstr>
      <vt:lpstr>Softwareengineering ist and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novation</vt:lpstr>
      <vt:lpstr>Auto 1936</vt:lpstr>
      <vt:lpstr>Auto 2020</vt:lpstr>
      <vt:lpstr>Computer 1936</vt:lpstr>
      <vt:lpstr>Computer 2020</vt:lpstr>
      <vt:lpstr>Computer 1984 - Ergonomie</vt:lpstr>
      <vt:lpstr>Computer 2014 - Ergonomie</vt:lpstr>
      <vt:lpstr>PowerPoint Presentation</vt:lpstr>
      <vt:lpstr>Mooresches Gesetz </vt:lpstr>
      <vt:lpstr>PowerPoint Presentation</vt:lpstr>
      <vt:lpstr>PowerPoint Presentation</vt:lpstr>
      <vt:lpstr>PowerPoint Presentation</vt:lpstr>
      <vt:lpstr>Wie gross ist die Halbwertszeit?</vt:lpstr>
      <vt:lpstr>Wie gross ist die Halbwertszeit?</vt:lpstr>
      <vt:lpstr>Wie gross ist die Halbwertszeit?</vt:lpstr>
      <vt:lpstr>continuous release</vt:lpstr>
      <vt:lpstr>PowerPoint Presentation</vt:lpstr>
      <vt:lpstr>Innovation fördern</vt:lpstr>
      <vt:lpstr>PowerPoint Presentation</vt:lpstr>
      <vt:lpstr>PowerPoint Presentation</vt:lpstr>
      <vt:lpstr>Projekt: Presales / Kickoff / Vorstudie / Entwicklung / Abnahme / Bugfixing</vt:lpstr>
      <vt:lpstr> … when SRUM lied to me</vt:lpstr>
      <vt:lpstr>5 Wege, Slack-Time zu schaffen </vt:lpstr>
      <vt:lpstr>5 Wege, Slack-Time zu schaffen </vt:lpstr>
      <vt:lpstr>PowerPoint Presentation</vt:lpstr>
      <vt:lpstr>PowerPoint Presentation</vt:lpstr>
      <vt:lpstr>PowerPoint Presentation</vt:lpstr>
      <vt:lpstr>Baloise Code Camp</vt:lpstr>
      <vt:lpstr>PowerPoint Presentation</vt:lpstr>
      <vt:lpstr>PowerPoint Presentation</vt:lpstr>
      <vt:lpstr>PowerPoint Presentation</vt:lpstr>
      <vt:lpstr>Open Source</vt:lpstr>
      <vt:lpstr>PowerPoint Presentation</vt:lpstr>
      <vt:lpstr>PowerPoint Presentation</vt:lpstr>
      <vt:lpstr>PowerPoint Presentation</vt:lpstr>
      <vt:lpstr>PowerPoint Presentation</vt:lpstr>
      <vt:lpstr>The 4 freedoms: Use, Modify, Copy, Distribute</vt:lpstr>
      <vt:lpstr>PowerPoint Presentation</vt:lpstr>
      <vt:lpstr>Bill of Material</vt:lpstr>
      <vt:lpstr>Wer hat Angst vorm Lizenztroll?</vt:lpstr>
      <vt:lpstr>PowerPoint Presentation</vt:lpstr>
      <vt:lpstr>Open Source</vt:lpstr>
      <vt:lpstr>Datenklassifizieru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pen Source</vt:lpstr>
      <vt:lpstr>Innov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eteiltes Wissen, geteilte Macht?</vt:lpstr>
      <vt:lpstr>PowerPoint Presentation</vt:lpstr>
      <vt:lpstr>PowerPoint Presentation</vt:lpstr>
      <vt:lpstr>Innovation und Fertigung in der Automobilindustrie vs Softwareindustrie</vt:lpstr>
      <vt:lpstr>Welches Geschäftsmodell ist in der Softwareindustrie zukunftsweisend?</vt:lpstr>
      <vt:lpstr>Welches Geschäftsmodell ist in der Softwareindustrie zukunftsweisend?</vt:lpstr>
      <vt:lpstr>Innovationsgeschwindigkeit und Halbwertszeit</vt:lpstr>
      <vt:lpstr>Was ist der Unterschied zwischen Invention und Innovation?</vt:lpstr>
      <vt:lpstr>Was ist der Unterschied zwischen Invention und Innovation?</vt:lpstr>
      <vt:lpstr>Wie entsteht Invention?</vt:lpstr>
      <vt:lpstr>Wie entsteht Invention?</vt:lpstr>
      <vt:lpstr>Nenne drei Arten von Slack Time?</vt:lpstr>
      <vt:lpstr>Nenne drei Arten von Slack Time?</vt:lpstr>
      <vt:lpstr>Opensource</vt:lpstr>
      <vt:lpstr>Opensource</vt:lpstr>
      <vt:lpstr>Nenne die fünf Stufen des Open Source Maturity Model nach Eclipse</vt:lpstr>
      <vt:lpstr>Nenne die fünf Stufen des Open Source Maturity Model nach Eclipse</vt:lpstr>
      <vt:lpstr>Welche Kosten verursacht das Verbergen von Information im Unternehmen?</vt:lpstr>
      <vt:lpstr>Welche Kosten verursacht das Verbergen von Information im Unternehmen?</vt:lpstr>
      <vt:lpstr>Wieso sollte ein (Start-Up) Unternehmen sich mit Open Source beschäftigen?</vt:lpstr>
      <vt:lpstr>Wieso sollte ein (Start-Up) Unternehmen sich mit Open Source beschäftigen?</vt:lpstr>
      <vt:lpstr>License</vt:lpstr>
    </vt:vector>
  </TitlesOfParts>
  <Company>Fachhochschule Nordwestschwei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modul Digital Banking &amp; Insurance, ab 21FS</dc:title>
  <dc:creator>Härri Matthias</dc:creator>
  <cp:lastModifiedBy>Cullmann, Matthias</cp:lastModifiedBy>
  <cp:revision>4</cp:revision>
  <dcterms:created xsi:type="dcterms:W3CDTF">2020-08-18T07:41:02Z</dcterms:created>
  <dcterms:modified xsi:type="dcterms:W3CDTF">2021-04-20T15:4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0D235BE6556F4ABE1BCD77D4D2DF8E</vt:lpwstr>
  </property>
  <property fmtid="{D5CDD505-2E9C-101B-9397-08002B2CF9AE}" pid="3" name="MSIP_Label_378055ef-7607-46e5-9564-5469035a1b2e_Enabled">
    <vt:lpwstr>true</vt:lpwstr>
  </property>
  <property fmtid="{D5CDD505-2E9C-101B-9397-08002B2CF9AE}" pid="4" name="MSIP_Label_378055ef-7607-46e5-9564-5469035a1b2e_SetDate">
    <vt:lpwstr>2021-02-15T13:18:18Z</vt:lpwstr>
  </property>
  <property fmtid="{D5CDD505-2E9C-101B-9397-08002B2CF9AE}" pid="5" name="MSIP_Label_378055ef-7607-46e5-9564-5469035a1b2e_Method">
    <vt:lpwstr>Standard</vt:lpwstr>
  </property>
  <property fmtid="{D5CDD505-2E9C-101B-9397-08002B2CF9AE}" pid="6" name="MSIP_Label_378055ef-7607-46e5-9564-5469035a1b2e_Name">
    <vt:lpwstr>378055ef-7607-46e5-9564-5469035a1b2e</vt:lpwstr>
  </property>
  <property fmtid="{D5CDD505-2E9C-101B-9397-08002B2CF9AE}" pid="7" name="MSIP_Label_378055ef-7607-46e5-9564-5469035a1b2e_SiteId">
    <vt:lpwstr>eb3c68b9-0935-4046-8550-8bcaa4167e2e</vt:lpwstr>
  </property>
  <property fmtid="{D5CDD505-2E9C-101B-9397-08002B2CF9AE}" pid="8" name="MSIP_Label_378055ef-7607-46e5-9564-5469035a1b2e_ActionId">
    <vt:lpwstr>5916142a-0747-4f10-98f3-98f9628d37cc</vt:lpwstr>
  </property>
  <property fmtid="{D5CDD505-2E9C-101B-9397-08002B2CF9AE}" pid="9" name="MSIP_Label_378055ef-7607-46e5-9564-5469035a1b2e_ContentBits">
    <vt:lpwstr>0</vt:lpwstr>
  </property>
</Properties>
</file>